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Lst>
  <p:notesMasterIdLst>
    <p:notesMasterId r:id="rId52"/>
  </p:notesMasterIdLst>
  <p:sldIdLst>
    <p:sldId id="298" r:id="rId2"/>
    <p:sldId id="299" r:id="rId3"/>
    <p:sldId id="300" r:id="rId4"/>
    <p:sldId id="301" r:id="rId5"/>
    <p:sldId id="304" r:id="rId6"/>
    <p:sldId id="291" r:id="rId7"/>
    <p:sldId id="292" r:id="rId8"/>
    <p:sldId id="261" r:id="rId9"/>
    <p:sldId id="263" r:id="rId10"/>
    <p:sldId id="264" r:id="rId11"/>
    <p:sldId id="265" r:id="rId12"/>
    <p:sldId id="266" r:id="rId13"/>
    <p:sldId id="646" r:id="rId14"/>
    <p:sldId id="642" r:id="rId15"/>
    <p:sldId id="643" r:id="rId16"/>
    <p:sldId id="644" r:id="rId17"/>
    <p:sldId id="645" r:id="rId18"/>
    <p:sldId id="302"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67" r:id="rId32"/>
    <p:sldId id="281" r:id="rId33"/>
    <p:sldId id="303" r:id="rId34"/>
    <p:sldId id="282" r:id="rId35"/>
    <p:sldId id="283" r:id="rId36"/>
    <p:sldId id="285" r:id="rId37"/>
    <p:sldId id="286" r:id="rId38"/>
    <p:sldId id="659" r:id="rId39"/>
    <p:sldId id="654" r:id="rId40"/>
    <p:sldId id="656" r:id="rId41"/>
    <p:sldId id="657" r:id="rId42"/>
    <p:sldId id="660" r:id="rId43"/>
    <p:sldId id="658" r:id="rId44"/>
    <p:sldId id="293" r:id="rId45"/>
    <p:sldId id="294" r:id="rId46"/>
    <p:sldId id="295" r:id="rId47"/>
    <p:sldId id="296" r:id="rId48"/>
    <p:sldId id="297" r:id="rId49"/>
    <p:sldId id="290" r:id="rId50"/>
    <p:sldId id="661" r:id="rId51"/>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89F8E4-3B11-44EC-BF56-408DF8153FC1}" v="91" dt="2020-07-27T07:52:17.0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3" d="100"/>
          <a:sy n="63" d="100"/>
        </p:scale>
        <p:origin x="780" y="48"/>
      </p:cViewPr>
      <p:guideLst>
        <p:guide orient="horz" pos="288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customXml" Target="../customXml/item3.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microsoft.com/office/2016/11/relationships/changesInfo" Target="changesInfos/changesInfo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dal, Tanmay" userId="83c199d5-d146-4e16-b08e-fa47ebac23d7" providerId="ADAL" clId="{7889F8E4-3B11-44EC-BF56-408DF8153FC1}"/>
    <pc:docChg chg="undo custSel addSld delSld modSld delMainMaster modMainMaster">
      <pc:chgData name="Mondal, Tanmay" userId="83c199d5-d146-4e16-b08e-fa47ebac23d7" providerId="ADAL" clId="{7889F8E4-3B11-44EC-BF56-408DF8153FC1}" dt="2020-07-27T07:53:08.579" v="822" actId="478"/>
      <pc:docMkLst>
        <pc:docMk/>
      </pc:docMkLst>
      <pc:sldChg chg="addSp delSp modSp">
        <pc:chgData name="Mondal, Tanmay" userId="83c199d5-d146-4e16-b08e-fa47ebac23d7" providerId="ADAL" clId="{7889F8E4-3B11-44EC-BF56-408DF8153FC1}" dt="2020-07-27T07:11:23.499" v="255" actId="478"/>
        <pc:sldMkLst>
          <pc:docMk/>
          <pc:sldMk cId="0" sldId="261"/>
        </pc:sldMkLst>
        <pc:spChg chg="mod">
          <ac:chgData name="Mondal, Tanmay" userId="83c199d5-d146-4e16-b08e-fa47ebac23d7" providerId="ADAL" clId="{7889F8E4-3B11-44EC-BF56-408DF8153FC1}" dt="2020-07-27T07:11:13.962" v="253" actId="1076"/>
          <ac:spMkLst>
            <pc:docMk/>
            <pc:sldMk cId="0" sldId="261"/>
            <ac:spMk id="2" creationId="{00000000-0000-0000-0000-000000000000}"/>
          </ac:spMkLst>
        </pc:spChg>
        <pc:spChg chg="add del mod">
          <ac:chgData name="Mondal, Tanmay" userId="83c199d5-d146-4e16-b08e-fa47ebac23d7" providerId="ADAL" clId="{7889F8E4-3B11-44EC-BF56-408DF8153FC1}" dt="2020-07-27T07:11:23.499" v="255" actId="478"/>
          <ac:spMkLst>
            <pc:docMk/>
            <pc:sldMk cId="0" sldId="261"/>
            <ac:spMk id="3" creationId="{63C72358-58D1-4548-8749-1DCAF24EFBF9}"/>
          </ac:spMkLst>
        </pc:spChg>
        <pc:spChg chg="mod">
          <ac:chgData name="Mondal, Tanmay" userId="83c199d5-d146-4e16-b08e-fa47ebac23d7" providerId="ADAL" clId="{7889F8E4-3B11-44EC-BF56-408DF8153FC1}" dt="2020-07-27T05:54:12.536" v="19"/>
          <ac:spMkLst>
            <pc:docMk/>
            <pc:sldMk cId="0" sldId="261"/>
            <ac:spMk id="4" creationId="{00000000-0000-0000-0000-000000000000}"/>
          </ac:spMkLst>
        </pc:spChg>
        <pc:spChg chg="mod">
          <ac:chgData name="Mondal, Tanmay" userId="83c199d5-d146-4e16-b08e-fa47ebac23d7" providerId="ADAL" clId="{7889F8E4-3B11-44EC-BF56-408DF8153FC1}" dt="2020-07-27T05:54:12.536" v="19"/>
          <ac:spMkLst>
            <pc:docMk/>
            <pc:sldMk cId="0" sldId="261"/>
            <ac:spMk id="5" creationId="{00000000-0000-0000-0000-000000000000}"/>
          </ac:spMkLst>
        </pc:spChg>
        <pc:spChg chg="add del mod">
          <ac:chgData name="Mondal, Tanmay" userId="83c199d5-d146-4e16-b08e-fa47ebac23d7" providerId="ADAL" clId="{7889F8E4-3B11-44EC-BF56-408DF8153FC1}" dt="2020-07-27T07:10:59.240" v="250" actId="478"/>
          <ac:spMkLst>
            <pc:docMk/>
            <pc:sldMk cId="0" sldId="261"/>
            <ac:spMk id="6" creationId="{C0C738C8-74F3-436A-8FFA-2926D9612B6A}"/>
          </ac:spMkLst>
        </pc:spChg>
        <pc:spChg chg="mod">
          <ac:chgData name="Mondal, Tanmay" userId="83c199d5-d146-4e16-b08e-fa47ebac23d7" providerId="ADAL" clId="{7889F8E4-3B11-44EC-BF56-408DF8153FC1}" dt="2020-07-27T05:54:12.536" v="19"/>
          <ac:spMkLst>
            <pc:docMk/>
            <pc:sldMk cId="0" sldId="261"/>
            <ac:spMk id="10" creationId="{00000000-0000-0000-0000-000000000000}"/>
          </ac:spMkLst>
        </pc:spChg>
        <pc:spChg chg="mod">
          <ac:chgData name="Mondal, Tanmay" userId="83c199d5-d146-4e16-b08e-fa47ebac23d7" providerId="ADAL" clId="{7889F8E4-3B11-44EC-BF56-408DF8153FC1}" dt="2020-07-27T05:54:12.536" v="19"/>
          <ac:spMkLst>
            <pc:docMk/>
            <pc:sldMk cId="0" sldId="261"/>
            <ac:spMk id="11" creationId="{00000000-0000-0000-0000-000000000000}"/>
          </ac:spMkLst>
        </pc:spChg>
        <pc:spChg chg="mod">
          <ac:chgData name="Mondal, Tanmay" userId="83c199d5-d146-4e16-b08e-fa47ebac23d7" providerId="ADAL" clId="{7889F8E4-3B11-44EC-BF56-408DF8153FC1}" dt="2020-07-27T05:54:12.536" v="19"/>
          <ac:spMkLst>
            <pc:docMk/>
            <pc:sldMk cId="0" sldId="261"/>
            <ac:spMk id="12" creationId="{00000000-0000-0000-0000-000000000000}"/>
          </ac:spMkLst>
        </pc:spChg>
        <pc:spChg chg="mod">
          <ac:chgData name="Mondal, Tanmay" userId="83c199d5-d146-4e16-b08e-fa47ebac23d7" providerId="ADAL" clId="{7889F8E4-3B11-44EC-BF56-408DF8153FC1}" dt="2020-07-27T05:54:12.536" v="19"/>
          <ac:spMkLst>
            <pc:docMk/>
            <pc:sldMk cId="0" sldId="261"/>
            <ac:spMk id="13" creationId="{00000000-0000-0000-0000-000000000000}"/>
          </ac:spMkLst>
        </pc:spChg>
        <pc:spChg chg="mod">
          <ac:chgData name="Mondal, Tanmay" userId="83c199d5-d146-4e16-b08e-fa47ebac23d7" providerId="ADAL" clId="{7889F8E4-3B11-44EC-BF56-408DF8153FC1}" dt="2020-07-27T05:54:12.536" v="19"/>
          <ac:spMkLst>
            <pc:docMk/>
            <pc:sldMk cId="0" sldId="261"/>
            <ac:spMk id="14" creationId="{00000000-0000-0000-0000-000000000000}"/>
          </ac:spMkLst>
        </pc:spChg>
        <pc:spChg chg="mod">
          <ac:chgData name="Mondal, Tanmay" userId="83c199d5-d146-4e16-b08e-fa47ebac23d7" providerId="ADAL" clId="{7889F8E4-3B11-44EC-BF56-408DF8153FC1}" dt="2020-07-27T05:54:12.536" v="19"/>
          <ac:spMkLst>
            <pc:docMk/>
            <pc:sldMk cId="0" sldId="261"/>
            <ac:spMk id="15" creationId="{00000000-0000-0000-0000-000000000000}"/>
          </ac:spMkLst>
        </pc:spChg>
        <pc:spChg chg="mod">
          <ac:chgData name="Mondal, Tanmay" userId="83c199d5-d146-4e16-b08e-fa47ebac23d7" providerId="ADAL" clId="{7889F8E4-3B11-44EC-BF56-408DF8153FC1}" dt="2020-07-27T05:54:12.536" v="19"/>
          <ac:spMkLst>
            <pc:docMk/>
            <pc:sldMk cId="0" sldId="261"/>
            <ac:spMk id="16" creationId="{00000000-0000-0000-0000-000000000000}"/>
          </ac:spMkLst>
        </pc:spChg>
        <pc:spChg chg="mod">
          <ac:chgData name="Mondal, Tanmay" userId="83c199d5-d146-4e16-b08e-fa47ebac23d7" providerId="ADAL" clId="{7889F8E4-3B11-44EC-BF56-408DF8153FC1}" dt="2020-07-27T05:54:12.536" v="19"/>
          <ac:spMkLst>
            <pc:docMk/>
            <pc:sldMk cId="0" sldId="261"/>
            <ac:spMk id="17" creationId="{00000000-0000-0000-0000-000000000000}"/>
          </ac:spMkLst>
        </pc:spChg>
        <pc:spChg chg="mod">
          <ac:chgData name="Mondal, Tanmay" userId="83c199d5-d146-4e16-b08e-fa47ebac23d7" providerId="ADAL" clId="{7889F8E4-3B11-44EC-BF56-408DF8153FC1}" dt="2020-07-27T05:54:12.536" v="19"/>
          <ac:spMkLst>
            <pc:docMk/>
            <pc:sldMk cId="0" sldId="261"/>
            <ac:spMk id="18" creationId="{00000000-0000-0000-0000-000000000000}"/>
          </ac:spMkLst>
        </pc:spChg>
        <pc:spChg chg="mod">
          <ac:chgData name="Mondal, Tanmay" userId="83c199d5-d146-4e16-b08e-fa47ebac23d7" providerId="ADAL" clId="{7889F8E4-3B11-44EC-BF56-408DF8153FC1}" dt="2020-07-27T05:54:12.536" v="19"/>
          <ac:spMkLst>
            <pc:docMk/>
            <pc:sldMk cId="0" sldId="261"/>
            <ac:spMk id="19" creationId="{00000000-0000-0000-0000-000000000000}"/>
          </ac:spMkLst>
        </pc:spChg>
        <pc:spChg chg="mod">
          <ac:chgData name="Mondal, Tanmay" userId="83c199d5-d146-4e16-b08e-fa47ebac23d7" providerId="ADAL" clId="{7889F8E4-3B11-44EC-BF56-408DF8153FC1}" dt="2020-07-27T05:54:12.536" v="19"/>
          <ac:spMkLst>
            <pc:docMk/>
            <pc:sldMk cId="0" sldId="261"/>
            <ac:spMk id="20" creationId="{00000000-0000-0000-0000-000000000000}"/>
          </ac:spMkLst>
        </pc:spChg>
        <pc:spChg chg="mod">
          <ac:chgData name="Mondal, Tanmay" userId="83c199d5-d146-4e16-b08e-fa47ebac23d7" providerId="ADAL" clId="{7889F8E4-3B11-44EC-BF56-408DF8153FC1}" dt="2020-07-27T05:54:12.536" v="19"/>
          <ac:spMkLst>
            <pc:docMk/>
            <pc:sldMk cId="0" sldId="261"/>
            <ac:spMk id="21" creationId="{00000000-0000-0000-0000-000000000000}"/>
          </ac:spMkLst>
        </pc:spChg>
        <pc:spChg chg="mod">
          <ac:chgData name="Mondal, Tanmay" userId="83c199d5-d146-4e16-b08e-fa47ebac23d7" providerId="ADAL" clId="{7889F8E4-3B11-44EC-BF56-408DF8153FC1}" dt="2020-07-27T05:54:12.536" v="19"/>
          <ac:spMkLst>
            <pc:docMk/>
            <pc:sldMk cId="0" sldId="261"/>
            <ac:spMk id="22" creationId="{00000000-0000-0000-0000-000000000000}"/>
          </ac:spMkLst>
        </pc:spChg>
        <pc:spChg chg="mod">
          <ac:chgData name="Mondal, Tanmay" userId="83c199d5-d146-4e16-b08e-fa47ebac23d7" providerId="ADAL" clId="{7889F8E4-3B11-44EC-BF56-408DF8153FC1}" dt="2020-07-27T05:54:12.536" v="19"/>
          <ac:spMkLst>
            <pc:docMk/>
            <pc:sldMk cId="0" sldId="261"/>
            <ac:spMk id="23" creationId="{00000000-0000-0000-0000-000000000000}"/>
          </ac:spMkLst>
        </pc:spChg>
        <pc:spChg chg="mod">
          <ac:chgData name="Mondal, Tanmay" userId="83c199d5-d146-4e16-b08e-fa47ebac23d7" providerId="ADAL" clId="{7889F8E4-3B11-44EC-BF56-408DF8153FC1}" dt="2020-07-27T05:54:12.536" v="19"/>
          <ac:spMkLst>
            <pc:docMk/>
            <pc:sldMk cId="0" sldId="261"/>
            <ac:spMk id="24" creationId="{00000000-0000-0000-0000-000000000000}"/>
          </ac:spMkLst>
        </pc:spChg>
        <pc:spChg chg="mod">
          <ac:chgData name="Mondal, Tanmay" userId="83c199d5-d146-4e16-b08e-fa47ebac23d7" providerId="ADAL" clId="{7889F8E4-3B11-44EC-BF56-408DF8153FC1}" dt="2020-07-27T05:54:12.536" v="19"/>
          <ac:spMkLst>
            <pc:docMk/>
            <pc:sldMk cId="0" sldId="261"/>
            <ac:spMk id="25" creationId="{00000000-0000-0000-0000-000000000000}"/>
          </ac:spMkLst>
        </pc:spChg>
        <pc:spChg chg="mod">
          <ac:chgData name="Mondal, Tanmay" userId="83c199d5-d146-4e16-b08e-fa47ebac23d7" providerId="ADAL" clId="{7889F8E4-3B11-44EC-BF56-408DF8153FC1}" dt="2020-07-27T05:54:12.536" v="19"/>
          <ac:spMkLst>
            <pc:docMk/>
            <pc:sldMk cId="0" sldId="261"/>
            <ac:spMk id="26" creationId="{00000000-0000-0000-0000-000000000000}"/>
          </ac:spMkLst>
        </pc:spChg>
        <pc:spChg chg="mod">
          <ac:chgData name="Mondal, Tanmay" userId="83c199d5-d146-4e16-b08e-fa47ebac23d7" providerId="ADAL" clId="{7889F8E4-3B11-44EC-BF56-408DF8153FC1}" dt="2020-07-27T05:54:12.536" v="19"/>
          <ac:spMkLst>
            <pc:docMk/>
            <pc:sldMk cId="0" sldId="261"/>
            <ac:spMk id="27" creationId="{00000000-0000-0000-0000-000000000000}"/>
          </ac:spMkLst>
        </pc:spChg>
        <pc:spChg chg="mod">
          <ac:chgData name="Mondal, Tanmay" userId="83c199d5-d146-4e16-b08e-fa47ebac23d7" providerId="ADAL" clId="{7889F8E4-3B11-44EC-BF56-408DF8153FC1}" dt="2020-07-27T05:54:12.536" v="19"/>
          <ac:spMkLst>
            <pc:docMk/>
            <pc:sldMk cId="0" sldId="261"/>
            <ac:spMk id="28" creationId="{00000000-0000-0000-0000-000000000000}"/>
          </ac:spMkLst>
        </pc:spChg>
        <pc:spChg chg="mod">
          <ac:chgData name="Mondal, Tanmay" userId="83c199d5-d146-4e16-b08e-fa47ebac23d7" providerId="ADAL" clId="{7889F8E4-3B11-44EC-BF56-408DF8153FC1}" dt="2020-07-27T05:54:12.536" v="19"/>
          <ac:spMkLst>
            <pc:docMk/>
            <pc:sldMk cId="0" sldId="261"/>
            <ac:spMk id="29" creationId="{00000000-0000-0000-0000-000000000000}"/>
          </ac:spMkLst>
        </pc:spChg>
        <pc:spChg chg="mod">
          <ac:chgData name="Mondal, Tanmay" userId="83c199d5-d146-4e16-b08e-fa47ebac23d7" providerId="ADAL" clId="{7889F8E4-3B11-44EC-BF56-408DF8153FC1}" dt="2020-07-27T05:54:12.536" v="19"/>
          <ac:spMkLst>
            <pc:docMk/>
            <pc:sldMk cId="0" sldId="261"/>
            <ac:spMk id="30" creationId="{00000000-0000-0000-0000-000000000000}"/>
          </ac:spMkLst>
        </pc:spChg>
        <pc:spChg chg="mod">
          <ac:chgData name="Mondal, Tanmay" userId="83c199d5-d146-4e16-b08e-fa47ebac23d7" providerId="ADAL" clId="{7889F8E4-3B11-44EC-BF56-408DF8153FC1}" dt="2020-07-27T05:54:12.536" v="19"/>
          <ac:spMkLst>
            <pc:docMk/>
            <pc:sldMk cId="0" sldId="261"/>
            <ac:spMk id="31" creationId="{00000000-0000-0000-0000-000000000000}"/>
          </ac:spMkLst>
        </pc:spChg>
        <pc:spChg chg="mod">
          <ac:chgData name="Mondal, Tanmay" userId="83c199d5-d146-4e16-b08e-fa47ebac23d7" providerId="ADAL" clId="{7889F8E4-3B11-44EC-BF56-408DF8153FC1}" dt="2020-07-27T05:54:12.536" v="19"/>
          <ac:spMkLst>
            <pc:docMk/>
            <pc:sldMk cId="0" sldId="261"/>
            <ac:spMk id="32" creationId="{00000000-0000-0000-0000-000000000000}"/>
          </ac:spMkLst>
        </pc:spChg>
        <pc:spChg chg="mod">
          <ac:chgData name="Mondal, Tanmay" userId="83c199d5-d146-4e16-b08e-fa47ebac23d7" providerId="ADAL" clId="{7889F8E4-3B11-44EC-BF56-408DF8153FC1}" dt="2020-07-27T05:54:12.536" v="19"/>
          <ac:spMkLst>
            <pc:docMk/>
            <pc:sldMk cId="0" sldId="261"/>
            <ac:spMk id="33" creationId="{00000000-0000-0000-0000-000000000000}"/>
          </ac:spMkLst>
        </pc:spChg>
        <pc:spChg chg="mod">
          <ac:chgData name="Mondal, Tanmay" userId="83c199d5-d146-4e16-b08e-fa47ebac23d7" providerId="ADAL" clId="{7889F8E4-3B11-44EC-BF56-408DF8153FC1}" dt="2020-07-27T05:54:12.536" v="19"/>
          <ac:spMkLst>
            <pc:docMk/>
            <pc:sldMk cId="0" sldId="261"/>
            <ac:spMk id="34" creationId="{00000000-0000-0000-0000-000000000000}"/>
          </ac:spMkLst>
        </pc:spChg>
        <pc:spChg chg="mod">
          <ac:chgData name="Mondal, Tanmay" userId="83c199d5-d146-4e16-b08e-fa47ebac23d7" providerId="ADAL" clId="{7889F8E4-3B11-44EC-BF56-408DF8153FC1}" dt="2020-07-27T05:54:12.536" v="19"/>
          <ac:spMkLst>
            <pc:docMk/>
            <pc:sldMk cId="0" sldId="261"/>
            <ac:spMk id="35" creationId="{00000000-0000-0000-0000-000000000000}"/>
          </ac:spMkLst>
        </pc:spChg>
        <pc:spChg chg="mod">
          <ac:chgData name="Mondal, Tanmay" userId="83c199d5-d146-4e16-b08e-fa47ebac23d7" providerId="ADAL" clId="{7889F8E4-3B11-44EC-BF56-408DF8153FC1}" dt="2020-07-27T05:54:12.536" v="19"/>
          <ac:spMkLst>
            <pc:docMk/>
            <pc:sldMk cId="0" sldId="261"/>
            <ac:spMk id="36" creationId="{00000000-0000-0000-0000-000000000000}"/>
          </ac:spMkLst>
        </pc:spChg>
        <pc:spChg chg="mod">
          <ac:chgData name="Mondal, Tanmay" userId="83c199d5-d146-4e16-b08e-fa47ebac23d7" providerId="ADAL" clId="{7889F8E4-3B11-44EC-BF56-408DF8153FC1}" dt="2020-07-27T05:54:12.536" v="19"/>
          <ac:spMkLst>
            <pc:docMk/>
            <pc:sldMk cId="0" sldId="261"/>
            <ac:spMk id="37" creationId="{00000000-0000-0000-0000-000000000000}"/>
          </ac:spMkLst>
        </pc:spChg>
        <pc:spChg chg="mod">
          <ac:chgData name="Mondal, Tanmay" userId="83c199d5-d146-4e16-b08e-fa47ebac23d7" providerId="ADAL" clId="{7889F8E4-3B11-44EC-BF56-408DF8153FC1}" dt="2020-07-27T05:54:12.536" v="19"/>
          <ac:spMkLst>
            <pc:docMk/>
            <pc:sldMk cId="0" sldId="261"/>
            <ac:spMk id="38" creationId="{00000000-0000-0000-0000-000000000000}"/>
          </ac:spMkLst>
        </pc:spChg>
        <pc:spChg chg="mod">
          <ac:chgData name="Mondal, Tanmay" userId="83c199d5-d146-4e16-b08e-fa47ebac23d7" providerId="ADAL" clId="{7889F8E4-3B11-44EC-BF56-408DF8153FC1}" dt="2020-07-27T05:54:12.536" v="19"/>
          <ac:spMkLst>
            <pc:docMk/>
            <pc:sldMk cId="0" sldId="261"/>
            <ac:spMk id="39" creationId="{00000000-0000-0000-0000-000000000000}"/>
          </ac:spMkLst>
        </pc:spChg>
        <pc:spChg chg="mod">
          <ac:chgData name="Mondal, Tanmay" userId="83c199d5-d146-4e16-b08e-fa47ebac23d7" providerId="ADAL" clId="{7889F8E4-3B11-44EC-BF56-408DF8153FC1}" dt="2020-07-27T05:54:12.536" v="19"/>
          <ac:spMkLst>
            <pc:docMk/>
            <pc:sldMk cId="0" sldId="261"/>
            <ac:spMk id="40" creationId="{00000000-0000-0000-0000-000000000000}"/>
          </ac:spMkLst>
        </pc:spChg>
        <pc:spChg chg="mod">
          <ac:chgData name="Mondal, Tanmay" userId="83c199d5-d146-4e16-b08e-fa47ebac23d7" providerId="ADAL" clId="{7889F8E4-3B11-44EC-BF56-408DF8153FC1}" dt="2020-07-27T05:54:12.536" v="19"/>
          <ac:spMkLst>
            <pc:docMk/>
            <pc:sldMk cId="0" sldId="261"/>
            <ac:spMk id="41" creationId="{00000000-0000-0000-0000-000000000000}"/>
          </ac:spMkLst>
        </pc:spChg>
        <pc:spChg chg="mod">
          <ac:chgData name="Mondal, Tanmay" userId="83c199d5-d146-4e16-b08e-fa47ebac23d7" providerId="ADAL" clId="{7889F8E4-3B11-44EC-BF56-408DF8153FC1}" dt="2020-07-27T05:54:12.536" v="19"/>
          <ac:spMkLst>
            <pc:docMk/>
            <pc:sldMk cId="0" sldId="261"/>
            <ac:spMk id="42" creationId="{00000000-0000-0000-0000-000000000000}"/>
          </ac:spMkLst>
        </pc:spChg>
        <pc:spChg chg="mod">
          <ac:chgData name="Mondal, Tanmay" userId="83c199d5-d146-4e16-b08e-fa47ebac23d7" providerId="ADAL" clId="{7889F8E4-3B11-44EC-BF56-408DF8153FC1}" dt="2020-07-27T05:54:12.536" v="19"/>
          <ac:spMkLst>
            <pc:docMk/>
            <pc:sldMk cId="0" sldId="261"/>
            <ac:spMk id="43" creationId="{00000000-0000-0000-0000-000000000000}"/>
          </ac:spMkLst>
        </pc:spChg>
        <pc:spChg chg="mod">
          <ac:chgData name="Mondal, Tanmay" userId="83c199d5-d146-4e16-b08e-fa47ebac23d7" providerId="ADAL" clId="{7889F8E4-3B11-44EC-BF56-408DF8153FC1}" dt="2020-07-27T05:54:12.536" v="19"/>
          <ac:spMkLst>
            <pc:docMk/>
            <pc:sldMk cId="0" sldId="261"/>
            <ac:spMk id="44" creationId="{00000000-0000-0000-0000-000000000000}"/>
          </ac:spMkLst>
        </pc:spChg>
        <pc:spChg chg="mod">
          <ac:chgData name="Mondal, Tanmay" userId="83c199d5-d146-4e16-b08e-fa47ebac23d7" providerId="ADAL" clId="{7889F8E4-3B11-44EC-BF56-408DF8153FC1}" dt="2020-07-27T05:54:12.536" v="19"/>
          <ac:spMkLst>
            <pc:docMk/>
            <pc:sldMk cId="0" sldId="261"/>
            <ac:spMk id="45" creationId="{00000000-0000-0000-0000-000000000000}"/>
          </ac:spMkLst>
        </pc:spChg>
        <pc:spChg chg="mod">
          <ac:chgData name="Mondal, Tanmay" userId="83c199d5-d146-4e16-b08e-fa47ebac23d7" providerId="ADAL" clId="{7889F8E4-3B11-44EC-BF56-408DF8153FC1}" dt="2020-07-27T05:54:12.536" v="19"/>
          <ac:spMkLst>
            <pc:docMk/>
            <pc:sldMk cId="0" sldId="261"/>
            <ac:spMk id="46" creationId="{00000000-0000-0000-0000-000000000000}"/>
          </ac:spMkLst>
        </pc:spChg>
        <pc:spChg chg="mod">
          <ac:chgData name="Mondal, Tanmay" userId="83c199d5-d146-4e16-b08e-fa47ebac23d7" providerId="ADAL" clId="{7889F8E4-3B11-44EC-BF56-408DF8153FC1}" dt="2020-07-27T05:54:12.536" v="19"/>
          <ac:spMkLst>
            <pc:docMk/>
            <pc:sldMk cId="0" sldId="261"/>
            <ac:spMk id="47" creationId="{00000000-0000-0000-0000-000000000000}"/>
          </ac:spMkLst>
        </pc:spChg>
        <pc:spChg chg="mod">
          <ac:chgData name="Mondal, Tanmay" userId="83c199d5-d146-4e16-b08e-fa47ebac23d7" providerId="ADAL" clId="{7889F8E4-3B11-44EC-BF56-408DF8153FC1}" dt="2020-07-27T05:54:12.536" v="19"/>
          <ac:spMkLst>
            <pc:docMk/>
            <pc:sldMk cId="0" sldId="261"/>
            <ac:spMk id="48" creationId="{00000000-0000-0000-0000-000000000000}"/>
          </ac:spMkLst>
        </pc:spChg>
        <pc:spChg chg="mod">
          <ac:chgData name="Mondal, Tanmay" userId="83c199d5-d146-4e16-b08e-fa47ebac23d7" providerId="ADAL" clId="{7889F8E4-3B11-44EC-BF56-408DF8153FC1}" dt="2020-07-27T05:54:12.536" v="19"/>
          <ac:spMkLst>
            <pc:docMk/>
            <pc:sldMk cId="0" sldId="261"/>
            <ac:spMk id="49" creationId="{00000000-0000-0000-0000-000000000000}"/>
          </ac:spMkLst>
        </pc:spChg>
        <pc:spChg chg="mod">
          <ac:chgData name="Mondal, Tanmay" userId="83c199d5-d146-4e16-b08e-fa47ebac23d7" providerId="ADAL" clId="{7889F8E4-3B11-44EC-BF56-408DF8153FC1}" dt="2020-07-27T05:54:12.536" v="19"/>
          <ac:spMkLst>
            <pc:docMk/>
            <pc:sldMk cId="0" sldId="261"/>
            <ac:spMk id="50" creationId="{00000000-0000-0000-0000-000000000000}"/>
          </ac:spMkLst>
        </pc:spChg>
        <pc:spChg chg="mod">
          <ac:chgData name="Mondal, Tanmay" userId="83c199d5-d146-4e16-b08e-fa47ebac23d7" providerId="ADAL" clId="{7889F8E4-3B11-44EC-BF56-408DF8153FC1}" dt="2020-07-27T05:54:12.536" v="19"/>
          <ac:spMkLst>
            <pc:docMk/>
            <pc:sldMk cId="0" sldId="261"/>
            <ac:spMk id="51" creationId="{00000000-0000-0000-0000-000000000000}"/>
          </ac:spMkLst>
        </pc:spChg>
        <pc:spChg chg="mod">
          <ac:chgData name="Mondal, Tanmay" userId="83c199d5-d146-4e16-b08e-fa47ebac23d7" providerId="ADAL" clId="{7889F8E4-3B11-44EC-BF56-408DF8153FC1}" dt="2020-07-27T05:54:12.536" v="19"/>
          <ac:spMkLst>
            <pc:docMk/>
            <pc:sldMk cId="0" sldId="261"/>
            <ac:spMk id="52" creationId="{00000000-0000-0000-0000-000000000000}"/>
          </ac:spMkLst>
        </pc:spChg>
        <pc:spChg chg="mod">
          <ac:chgData name="Mondal, Tanmay" userId="83c199d5-d146-4e16-b08e-fa47ebac23d7" providerId="ADAL" clId="{7889F8E4-3B11-44EC-BF56-408DF8153FC1}" dt="2020-07-27T05:54:12.536" v="19"/>
          <ac:spMkLst>
            <pc:docMk/>
            <pc:sldMk cId="0" sldId="261"/>
            <ac:spMk id="53" creationId="{00000000-0000-0000-0000-000000000000}"/>
          </ac:spMkLst>
        </pc:spChg>
        <pc:spChg chg="mod">
          <ac:chgData name="Mondal, Tanmay" userId="83c199d5-d146-4e16-b08e-fa47ebac23d7" providerId="ADAL" clId="{7889F8E4-3B11-44EC-BF56-408DF8153FC1}" dt="2020-07-27T05:54:12.536" v="19"/>
          <ac:spMkLst>
            <pc:docMk/>
            <pc:sldMk cId="0" sldId="261"/>
            <ac:spMk id="54" creationId="{00000000-0000-0000-0000-000000000000}"/>
          </ac:spMkLst>
        </pc:spChg>
        <pc:spChg chg="mod">
          <ac:chgData name="Mondal, Tanmay" userId="83c199d5-d146-4e16-b08e-fa47ebac23d7" providerId="ADAL" clId="{7889F8E4-3B11-44EC-BF56-408DF8153FC1}" dt="2020-07-27T05:54:12.536" v="19"/>
          <ac:spMkLst>
            <pc:docMk/>
            <pc:sldMk cId="0" sldId="261"/>
            <ac:spMk id="55" creationId="{00000000-0000-0000-0000-000000000000}"/>
          </ac:spMkLst>
        </pc:spChg>
        <pc:spChg chg="mod">
          <ac:chgData name="Mondal, Tanmay" userId="83c199d5-d146-4e16-b08e-fa47ebac23d7" providerId="ADAL" clId="{7889F8E4-3B11-44EC-BF56-408DF8153FC1}" dt="2020-07-27T05:54:12.536" v="19"/>
          <ac:spMkLst>
            <pc:docMk/>
            <pc:sldMk cId="0" sldId="261"/>
            <ac:spMk id="56" creationId="{00000000-0000-0000-0000-000000000000}"/>
          </ac:spMkLst>
        </pc:spChg>
        <pc:spChg chg="mod">
          <ac:chgData name="Mondal, Tanmay" userId="83c199d5-d146-4e16-b08e-fa47ebac23d7" providerId="ADAL" clId="{7889F8E4-3B11-44EC-BF56-408DF8153FC1}" dt="2020-07-27T05:54:12.536" v="19"/>
          <ac:spMkLst>
            <pc:docMk/>
            <pc:sldMk cId="0" sldId="261"/>
            <ac:spMk id="57" creationId="{00000000-0000-0000-0000-000000000000}"/>
          </ac:spMkLst>
        </pc:spChg>
        <pc:spChg chg="mod">
          <ac:chgData name="Mondal, Tanmay" userId="83c199d5-d146-4e16-b08e-fa47ebac23d7" providerId="ADAL" clId="{7889F8E4-3B11-44EC-BF56-408DF8153FC1}" dt="2020-07-27T05:54:12.536" v="19"/>
          <ac:spMkLst>
            <pc:docMk/>
            <pc:sldMk cId="0" sldId="261"/>
            <ac:spMk id="58" creationId="{00000000-0000-0000-0000-000000000000}"/>
          </ac:spMkLst>
        </pc:spChg>
        <pc:spChg chg="mod">
          <ac:chgData name="Mondal, Tanmay" userId="83c199d5-d146-4e16-b08e-fa47ebac23d7" providerId="ADAL" clId="{7889F8E4-3B11-44EC-BF56-408DF8153FC1}" dt="2020-07-27T05:54:12.536" v="19"/>
          <ac:spMkLst>
            <pc:docMk/>
            <pc:sldMk cId="0" sldId="261"/>
            <ac:spMk id="59" creationId="{00000000-0000-0000-0000-000000000000}"/>
          </ac:spMkLst>
        </pc:spChg>
        <pc:spChg chg="mod">
          <ac:chgData name="Mondal, Tanmay" userId="83c199d5-d146-4e16-b08e-fa47ebac23d7" providerId="ADAL" clId="{7889F8E4-3B11-44EC-BF56-408DF8153FC1}" dt="2020-07-27T05:54:12.536" v="19"/>
          <ac:spMkLst>
            <pc:docMk/>
            <pc:sldMk cId="0" sldId="261"/>
            <ac:spMk id="60" creationId="{00000000-0000-0000-0000-000000000000}"/>
          </ac:spMkLst>
        </pc:spChg>
        <pc:spChg chg="mod">
          <ac:chgData name="Mondal, Tanmay" userId="83c199d5-d146-4e16-b08e-fa47ebac23d7" providerId="ADAL" clId="{7889F8E4-3B11-44EC-BF56-408DF8153FC1}" dt="2020-07-27T05:54:12.536" v="19"/>
          <ac:spMkLst>
            <pc:docMk/>
            <pc:sldMk cId="0" sldId="261"/>
            <ac:spMk id="61" creationId="{00000000-0000-0000-0000-000000000000}"/>
          </ac:spMkLst>
        </pc:spChg>
        <pc:spChg chg="mod">
          <ac:chgData name="Mondal, Tanmay" userId="83c199d5-d146-4e16-b08e-fa47ebac23d7" providerId="ADAL" clId="{7889F8E4-3B11-44EC-BF56-408DF8153FC1}" dt="2020-07-27T05:54:12.536" v="19"/>
          <ac:spMkLst>
            <pc:docMk/>
            <pc:sldMk cId="0" sldId="261"/>
            <ac:spMk id="62" creationId="{00000000-0000-0000-0000-000000000000}"/>
          </ac:spMkLst>
        </pc:spChg>
        <pc:spChg chg="mod">
          <ac:chgData name="Mondal, Tanmay" userId="83c199d5-d146-4e16-b08e-fa47ebac23d7" providerId="ADAL" clId="{7889F8E4-3B11-44EC-BF56-408DF8153FC1}" dt="2020-07-27T05:54:12.536" v="19"/>
          <ac:spMkLst>
            <pc:docMk/>
            <pc:sldMk cId="0" sldId="261"/>
            <ac:spMk id="63" creationId="{00000000-0000-0000-0000-000000000000}"/>
          </ac:spMkLst>
        </pc:spChg>
        <pc:spChg chg="mod">
          <ac:chgData name="Mondal, Tanmay" userId="83c199d5-d146-4e16-b08e-fa47ebac23d7" providerId="ADAL" clId="{7889F8E4-3B11-44EC-BF56-408DF8153FC1}" dt="2020-07-27T05:54:12.536" v="19"/>
          <ac:spMkLst>
            <pc:docMk/>
            <pc:sldMk cId="0" sldId="261"/>
            <ac:spMk id="64" creationId="{00000000-0000-0000-0000-000000000000}"/>
          </ac:spMkLst>
        </pc:spChg>
        <pc:spChg chg="mod">
          <ac:chgData name="Mondal, Tanmay" userId="83c199d5-d146-4e16-b08e-fa47ebac23d7" providerId="ADAL" clId="{7889F8E4-3B11-44EC-BF56-408DF8153FC1}" dt="2020-07-27T05:54:12.536" v="19"/>
          <ac:spMkLst>
            <pc:docMk/>
            <pc:sldMk cId="0" sldId="261"/>
            <ac:spMk id="65" creationId="{00000000-0000-0000-0000-000000000000}"/>
          </ac:spMkLst>
        </pc:spChg>
        <pc:spChg chg="mod">
          <ac:chgData name="Mondal, Tanmay" userId="83c199d5-d146-4e16-b08e-fa47ebac23d7" providerId="ADAL" clId="{7889F8E4-3B11-44EC-BF56-408DF8153FC1}" dt="2020-07-27T05:54:12.536" v="19"/>
          <ac:spMkLst>
            <pc:docMk/>
            <pc:sldMk cId="0" sldId="261"/>
            <ac:spMk id="66" creationId="{00000000-0000-0000-0000-000000000000}"/>
          </ac:spMkLst>
        </pc:spChg>
        <pc:spChg chg="mod">
          <ac:chgData name="Mondal, Tanmay" userId="83c199d5-d146-4e16-b08e-fa47ebac23d7" providerId="ADAL" clId="{7889F8E4-3B11-44EC-BF56-408DF8153FC1}" dt="2020-07-27T05:54:12.536" v="19"/>
          <ac:spMkLst>
            <pc:docMk/>
            <pc:sldMk cId="0" sldId="261"/>
            <ac:spMk id="67" creationId="{00000000-0000-0000-0000-000000000000}"/>
          </ac:spMkLst>
        </pc:spChg>
        <pc:spChg chg="mod">
          <ac:chgData name="Mondal, Tanmay" userId="83c199d5-d146-4e16-b08e-fa47ebac23d7" providerId="ADAL" clId="{7889F8E4-3B11-44EC-BF56-408DF8153FC1}" dt="2020-07-27T05:54:12.536" v="19"/>
          <ac:spMkLst>
            <pc:docMk/>
            <pc:sldMk cId="0" sldId="261"/>
            <ac:spMk id="68" creationId="{00000000-0000-0000-0000-000000000000}"/>
          </ac:spMkLst>
        </pc:spChg>
        <pc:spChg chg="mod">
          <ac:chgData name="Mondal, Tanmay" userId="83c199d5-d146-4e16-b08e-fa47ebac23d7" providerId="ADAL" clId="{7889F8E4-3B11-44EC-BF56-408DF8153FC1}" dt="2020-07-27T05:54:12.536" v="19"/>
          <ac:spMkLst>
            <pc:docMk/>
            <pc:sldMk cId="0" sldId="261"/>
            <ac:spMk id="69" creationId="{00000000-0000-0000-0000-000000000000}"/>
          </ac:spMkLst>
        </pc:spChg>
        <pc:spChg chg="mod">
          <ac:chgData name="Mondal, Tanmay" userId="83c199d5-d146-4e16-b08e-fa47ebac23d7" providerId="ADAL" clId="{7889F8E4-3B11-44EC-BF56-408DF8153FC1}" dt="2020-07-27T05:54:12.536" v="19"/>
          <ac:spMkLst>
            <pc:docMk/>
            <pc:sldMk cId="0" sldId="261"/>
            <ac:spMk id="70" creationId="{00000000-0000-0000-0000-000000000000}"/>
          </ac:spMkLst>
        </pc:spChg>
        <pc:spChg chg="mod">
          <ac:chgData name="Mondal, Tanmay" userId="83c199d5-d146-4e16-b08e-fa47ebac23d7" providerId="ADAL" clId="{7889F8E4-3B11-44EC-BF56-408DF8153FC1}" dt="2020-07-27T05:54:12.536" v="19"/>
          <ac:spMkLst>
            <pc:docMk/>
            <pc:sldMk cId="0" sldId="261"/>
            <ac:spMk id="71" creationId="{00000000-0000-0000-0000-000000000000}"/>
          </ac:spMkLst>
        </pc:spChg>
        <pc:spChg chg="mod">
          <ac:chgData name="Mondal, Tanmay" userId="83c199d5-d146-4e16-b08e-fa47ebac23d7" providerId="ADAL" clId="{7889F8E4-3B11-44EC-BF56-408DF8153FC1}" dt="2020-07-27T05:54:12.536" v="19"/>
          <ac:spMkLst>
            <pc:docMk/>
            <pc:sldMk cId="0" sldId="261"/>
            <ac:spMk id="72" creationId="{00000000-0000-0000-0000-000000000000}"/>
          </ac:spMkLst>
        </pc:spChg>
        <pc:spChg chg="mod">
          <ac:chgData name="Mondal, Tanmay" userId="83c199d5-d146-4e16-b08e-fa47ebac23d7" providerId="ADAL" clId="{7889F8E4-3B11-44EC-BF56-408DF8153FC1}" dt="2020-07-27T05:54:12.536" v="19"/>
          <ac:spMkLst>
            <pc:docMk/>
            <pc:sldMk cId="0" sldId="261"/>
            <ac:spMk id="73" creationId="{00000000-0000-0000-0000-000000000000}"/>
          </ac:spMkLst>
        </pc:spChg>
        <pc:spChg chg="mod">
          <ac:chgData name="Mondal, Tanmay" userId="83c199d5-d146-4e16-b08e-fa47ebac23d7" providerId="ADAL" clId="{7889F8E4-3B11-44EC-BF56-408DF8153FC1}" dt="2020-07-27T05:54:12.536" v="19"/>
          <ac:spMkLst>
            <pc:docMk/>
            <pc:sldMk cId="0" sldId="261"/>
            <ac:spMk id="74" creationId="{00000000-0000-0000-0000-000000000000}"/>
          </ac:spMkLst>
        </pc:spChg>
        <pc:spChg chg="mod">
          <ac:chgData name="Mondal, Tanmay" userId="83c199d5-d146-4e16-b08e-fa47ebac23d7" providerId="ADAL" clId="{7889F8E4-3B11-44EC-BF56-408DF8153FC1}" dt="2020-07-27T05:54:12.536" v="19"/>
          <ac:spMkLst>
            <pc:docMk/>
            <pc:sldMk cId="0" sldId="261"/>
            <ac:spMk id="75" creationId="{00000000-0000-0000-0000-000000000000}"/>
          </ac:spMkLst>
        </pc:spChg>
        <pc:spChg chg="mod">
          <ac:chgData name="Mondal, Tanmay" userId="83c199d5-d146-4e16-b08e-fa47ebac23d7" providerId="ADAL" clId="{7889F8E4-3B11-44EC-BF56-408DF8153FC1}" dt="2020-07-27T05:54:12.536" v="19"/>
          <ac:spMkLst>
            <pc:docMk/>
            <pc:sldMk cId="0" sldId="261"/>
            <ac:spMk id="76" creationId="{00000000-0000-0000-0000-000000000000}"/>
          </ac:spMkLst>
        </pc:spChg>
        <pc:spChg chg="mod">
          <ac:chgData name="Mondal, Tanmay" userId="83c199d5-d146-4e16-b08e-fa47ebac23d7" providerId="ADAL" clId="{7889F8E4-3B11-44EC-BF56-408DF8153FC1}" dt="2020-07-27T05:54:12.536" v="19"/>
          <ac:spMkLst>
            <pc:docMk/>
            <pc:sldMk cId="0" sldId="261"/>
            <ac:spMk id="77" creationId="{00000000-0000-0000-0000-000000000000}"/>
          </ac:spMkLst>
        </pc:spChg>
        <pc:spChg chg="mod">
          <ac:chgData name="Mondal, Tanmay" userId="83c199d5-d146-4e16-b08e-fa47ebac23d7" providerId="ADAL" clId="{7889F8E4-3B11-44EC-BF56-408DF8153FC1}" dt="2020-07-27T05:54:12.536" v="19"/>
          <ac:spMkLst>
            <pc:docMk/>
            <pc:sldMk cId="0" sldId="261"/>
            <ac:spMk id="78" creationId="{00000000-0000-0000-0000-000000000000}"/>
          </ac:spMkLst>
        </pc:spChg>
        <pc:spChg chg="mod">
          <ac:chgData name="Mondal, Tanmay" userId="83c199d5-d146-4e16-b08e-fa47ebac23d7" providerId="ADAL" clId="{7889F8E4-3B11-44EC-BF56-408DF8153FC1}" dt="2020-07-27T05:54:12.536" v="19"/>
          <ac:spMkLst>
            <pc:docMk/>
            <pc:sldMk cId="0" sldId="261"/>
            <ac:spMk id="79" creationId="{00000000-0000-0000-0000-000000000000}"/>
          </ac:spMkLst>
        </pc:spChg>
        <pc:spChg chg="mod">
          <ac:chgData name="Mondal, Tanmay" userId="83c199d5-d146-4e16-b08e-fa47ebac23d7" providerId="ADAL" clId="{7889F8E4-3B11-44EC-BF56-408DF8153FC1}" dt="2020-07-27T05:54:12.536" v="19"/>
          <ac:spMkLst>
            <pc:docMk/>
            <pc:sldMk cId="0" sldId="261"/>
            <ac:spMk id="80" creationId="{00000000-0000-0000-0000-000000000000}"/>
          </ac:spMkLst>
        </pc:spChg>
        <pc:spChg chg="mod">
          <ac:chgData name="Mondal, Tanmay" userId="83c199d5-d146-4e16-b08e-fa47ebac23d7" providerId="ADAL" clId="{7889F8E4-3B11-44EC-BF56-408DF8153FC1}" dt="2020-07-27T05:54:12.536" v="19"/>
          <ac:spMkLst>
            <pc:docMk/>
            <pc:sldMk cId="0" sldId="261"/>
            <ac:spMk id="81" creationId="{00000000-0000-0000-0000-000000000000}"/>
          </ac:spMkLst>
        </pc:spChg>
        <pc:spChg chg="mod">
          <ac:chgData name="Mondal, Tanmay" userId="83c199d5-d146-4e16-b08e-fa47ebac23d7" providerId="ADAL" clId="{7889F8E4-3B11-44EC-BF56-408DF8153FC1}" dt="2020-07-27T05:54:12.536" v="19"/>
          <ac:spMkLst>
            <pc:docMk/>
            <pc:sldMk cId="0" sldId="261"/>
            <ac:spMk id="82" creationId="{00000000-0000-0000-0000-000000000000}"/>
          </ac:spMkLst>
        </pc:spChg>
        <pc:spChg chg="mod">
          <ac:chgData name="Mondal, Tanmay" userId="83c199d5-d146-4e16-b08e-fa47ebac23d7" providerId="ADAL" clId="{7889F8E4-3B11-44EC-BF56-408DF8153FC1}" dt="2020-07-27T05:54:12.536" v="19"/>
          <ac:spMkLst>
            <pc:docMk/>
            <pc:sldMk cId="0" sldId="261"/>
            <ac:spMk id="83" creationId="{00000000-0000-0000-0000-000000000000}"/>
          </ac:spMkLst>
        </pc:spChg>
        <pc:spChg chg="mod">
          <ac:chgData name="Mondal, Tanmay" userId="83c199d5-d146-4e16-b08e-fa47ebac23d7" providerId="ADAL" clId="{7889F8E4-3B11-44EC-BF56-408DF8153FC1}" dt="2020-07-27T05:54:12.536" v="19"/>
          <ac:spMkLst>
            <pc:docMk/>
            <pc:sldMk cId="0" sldId="261"/>
            <ac:spMk id="84" creationId="{00000000-0000-0000-0000-000000000000}"/>
          </ac:spMkLst>
        </pc:spChg>
        <pc:spChg chg="mod">
          <ac:chgData name="Mondal, Tanmay" userId="83c199d5-d146-4e16-b08e-fa47ebac23d7" providerId="ADAL" clId="{7889F8E4-3B11-44EC-BF56-408DF8153FC1}" dt="2020-07-27T05:54:12.536" v="19"/>
          <ac:spMkLst>
            <pc:docMk/>
            <pc:sldMk cId="0" sldId="261"/>
            <ac:spMk id="85" creationId="{00000000-0000-0000-0000-000000000000}"/>
          </ac:spMkLst>
        </pc:spChg>
        <pc:spChg chg="mod">
          <ac:chgData name="Mondal, Tanmay" userId="83c199d5-d146-4e16-b08e-fa47ebac23d7" providerId="ADAL" clId="{7889F8E4-3B11-44EC-BF56-408DF8153FC1}" dt="2020-07-27T05:54:12.536" v="19"/>
          <ac:spMkLst>
            <pc:docMk/>
            <pc:sldMk cId="0" sldId="261"/>
            <ac:spMk id="86" creationId="{00000000-0000-0000-0000-000000000000}"/>
          </ac:spMkLst>
        </pc:spChg>
        <pc:spChg chg="mod">
          <ac:chgData name="Mondal, Tanmay" userId="83c199d5-d146-4e16-b08e-fa47ebac23d7" providerId="ADAL" clId="{7889F8E4-3B11-44EC-BF56-408DF8153FC1}" dt="2020-07-27T05:54:12.536" v="19"/>
          <ac:spMkLst>
            <pc:docMk/>
            <pc:sldMk cId="0" sldId="261"/>
            <ac:spMk id="87" creationId="{00000000-0000-0000-0000-000000000000}"/>
          </ac:spMkLst>
        </pc:spChg>
        <pc:spChg chg="mod">
          <ac:chgData name="Mondal, Tanmay" userId="83c199d5-d146-4e16-b08e-fa47ebac23d7" providerId="ADAL" clId="{7889F8E4-3B11-44EC-BF56-408DF8153FC1}" dt="2020-07-27T05:54:12.536" v="19"/>
          <ac:spMkLst>
            <pc:docMk/>
            <pc:sldMk cId="0" sldId="261"/>
            <ac:spMk id="88" creationId="{00000000-0000-0000-0000-000000000000}"/>
          </ac:spMkLst>
        </pc:spChg>
        <pc:spChg chg="mod">
          <ac:chgData name="Mondal, Tanmay" userId="83c199d5-d146-4e16-b08e-fa47ebac23d7" providerId="ADAL" clId="{7889F8E4-3B11-44EC-BF56-408DF8153FC1}" dt="2020-07-27T05:54:12.536" v="19"/>
          <ac:spMkLst>
            <pc:docMk/>
            <pc:sldMk cId="0" sldId="261"/>
            <ac:spMk id="89" creationId="{00000000-0000-0000-0000-000000000000}"/>
          </ac:spMkLst>
        </pc:spChg>
        <pc:spChg chg="mod">
          <ac:chgData name="Mondal, Tanmay" userId="83c199d5-d146-4e16-b08e-fa47ebac23d7" providerId="ADAL" clId="{7889F8E4-3B11-44EC-BF56-408DF8153FC1}" dt="2020-07-27T05:54:12.536" v="19"/>
          <ac:spMkLst>
            <pc:docMk/>
            <pc:sldMk cId="0" sldId="261"/>
            <ac:spMk id="90" creationId="{00000000-0000-0000-0000-000000000000}"/>
          </ac:spMkLst>
        </pc:spChg>
        <pc:spChg chg="mod">
          <ac:chgData name="Mondal, Tanmay" userId="83c199d5-d146-4e16-b08e-fa47ebac23d7" providerId="ADAL" clId="{7889F8E4-3B11-44EC-BF56-408DF8153FC1}" dt="2020-07-27T05:54:12.536" v="19"/>
          <ac:spMkLst>
            <pc:docMk/>
            <pc:sldMk cId="0" sldId="261"/>
            <ac:spMk id="91" creationId="{00000000-0000-0000-0000-000000000000}"/>
          </ac:spMkLst>
        </pc:spChg>
        <pc:spChg chg="mod">
          <ac:chgData name="Mondal, Tanmay" userId="83c199d5-d146-4e16-b08e-fa47ebac23d7" providerId="ADAL" clId="{7889F8E4-3B11-44EC-BF56-408DF8153FC1}" dt="2020-07-27T05:54:12.536" v="19"/>
          <ac:spMkLst>
            <pc:docMk/>
            <pc:sldMk cId="0" sldId="261"/>
            <ac:spMk id="92" creationId="{00000000-0000-0000-0000-000000000000}"/>
          </ac:spMkLst>
        </pc:spChg>
        <pc:spChg chg="mod">
          <ac:chgData name="Mondal, Tanmay" userId="83c199d5-d146-4e16-b08e-fa47ebac23d7" providerId="ADAL" clId="{7889F8E4-3B11-44EC-BF56-408DF8153FC1}" dt="2020-07-27T07:11:08.059" v="252" actId="1076"/>
          <ac:spMkLst>
            <pc:docMk/>
            <pc:sldMk cId="0" sldId="261"/>
            <ac:spMk id="93" creationId="{00000000-0000-0000-0000-000000000000}"/>
          </ac:spMkLst>
        </pc:spChg>
        <pc:spChg chg="mod">
          <ac:chgData name="Mondal, Tanmay" userId="83c199d5-d146-4e16-b08e-fa47ebac23d7" providerId="ADAL" clId="{7889F8E4-3B11-44EC-BF56-408DF8153FC1}" dt="2020-07-27T05:54:12.536" v="19"/>
          <ac:spMkLst>
            <pc:docMk/>
            <pc:sldMk cId="0" sldId="261"/>
            <ac:spMk id="94" creationId="{00000000-0000-0000-0000-000000000000}"/>
          </ac:spMkLst>
        </pc:spChg>
        <pc:spChg chg="mod">
          <ac:chgData name="Mondal, Tanmay" userId="83c199d5-d146-4e16-b08e-fa47ebac23d7" providerId="ADAL" clId="{7889F8E4-3B11-44EC-BF56-408DF8153FC1}" dt="2020-07-27T05:54:12.536" v="19"/>
          <ac:spMkLst>
            <pc:docMk/>
            <pc:sldMk cId="0" sldId="261"/>
            <ac:spMk id="95" creationId="{00000000-0000-0000-0000-000000000000}"/>
          </ac:spMkLst>
        </pc:spChg>
        <pc:spChg chg="mod">
          <ac:chgData name="Mondal, Tanmay" userId="83c199d5-d146-4e16-b08e-fa47ebac23d7" providerId="ADAL" clId="{7889F8E4-3B11-44EC-BF56-408DF8153FC1}" dt="2020-07-27T05:54:12.536" v="19"/>
          <ac:spMkLst>
            <pc:docMk/>
            <pc:sldMk cId="0" sldId="261"/>
            <ac:spMk id="96" creationId="{00000000-0000-0000-0000-000000000000}"/>
          </ac:spMkLst>
        </pc:spChg>
        <pc:spChg chg="mod">
          <ac:chgData name="Mondal, Tanmay" userId="83c199d5-d146-4e16-b08e-fa47ebac23d7" providerId="ADAL" clId="{7889F8E4-3B11-44EC-BF56-408DF8153FC1}" dt="2020-07-27T05:54:12.536" v="19"/>
          <ac:spMkLst>
            <pc:docMk/>
            <pc:sldMk cId="0" sldId="261"/>
            <ac:spMk id="97" creationId="{00000000-0000-0000-0000-000000000000}"/>
          </ac:spMkLst>
        </pc:spChg>
        <pc:spChg chg="mod">
          <ac:chgData name="Mondal, Tanmay" userId="83c199d5-d146-4e16-b08e-fa47ebac23d7" providerId="ADAL" clId="{7889F8E4-3B11-44EC-BF56-408DF8153FC1}" dt="2020-07-27T05:54:12.536" v="19"/>
          <ac:spMkLst>
            <pc:docMk/>
            <pc:sldMk cId="0" sldId="261"/>
            <ac:spMk id="98" creationId="{00000000-0000-0000-0000-000000000000}"/>
          </ac:spMkLst>
        </pc:spChg>
        <pc:spChg chg="mod">
          <ac:chgData name="Mondal, Tanmay" userId="83c199d5-d146-4e16-b08e-fa47ebac23d7" providerId="ADAL" clId="{7889F8E4-3B11-44EC-BF56-408DF8153FC1}" dt="2020-07-27T05:54:12.536" v="19"/>
          <ac:spMkLst>
            <pc:docMk/>
            <pc:sldMk cId="0" sldId="261"/>
            <ac:spMk id="99" creationId="{00000000-0000-0000-0000-000000000000}"/>
          </ac:spMkLst>
        </pc:spChg>
        <pc:spChg chg="mod">
          <ac:chgData name="Mondal, Tanmay" userId="83c199d5-d146-4e16-b08e-fa47ebac23d7" providerId="ADAL" clId="{7889F8E4-3B11-44EC-BF56-408DF8153FC1}" dt="2020-07-27T05:54:12.536" v="19"/>
          <ac:spMkLst>
            <pc:docMk/>
            <pc:sldMk cId="0" sldId="261"/>
            <ac:spMk id="100" creationId="{00000000-0000-0000-0000-000000000000}"/>
          </ac:spMkLst>
        </pc:spChg>
        <pc:spChg chg="mod">
          <ac:chgData name="Mondal, Tanmay" userId="83c199d5-d146-4e16-b08e-fa47ebac23d7" providerId="ADAL" clId="{7889F8E4-3B11-44EC-BF56-408DF8153FC1}" dt="2020-07-27T05:54:12.536" v="19"/>
          <ac:spMkLst>
            <pc:docMk/>
            <pc:sldMk cId="0" sldId="261"/>
            <ac:spMk id="101" creationId="{00000000-0000-0000-0000-000000000000}"/>
          </ac:spMkLst>
        </pc:spChg>
        <pc:spChg chg="mod">
          <ac:chgData name="Mondal, Tanmay" userId="83c199d5-d146-4e16-b08e-fa47ebac23d7" providerId="ADAL" clId="{7889F8E4-3B11-44EC-BF56-408DF8153FC1}" dt="2020-07-27T05:54:12.536" v="19"/>
          <ac:spMkLst>
            <pc:docMk/>
            <pc:sldMk cId="0" sldId="261"/>
            <ac:spMk id="102" creationId="{00000000-0000-0000-0000-000000000000}"/>
          </ac:spMkLst>
        </pc:spChg>
        <pc:spChg chg="mod">
          <ac:chgData name="Mondal, Tanmay" userId="83c199d5-d146-4e16-b08e-fa47ebac23d7" providerId="ADAL" clId="{7889F8E4-3B11-44EC-BF56-408DF8153FC1}" dt="2020-07-27T05:54:12.536" v="19"/>
          <ac:spMkLst>
            <pc:docMk/>
            <pc:sldMk cId="0" sldId="261"/>
            <ac:spMk id="103" creationId="{00000000-0000-0000-0000-000000000000}"/>
          </ac:spMkLst>
        </pc:spChg>
        <pc:spChg chg="mod">
          <ac:chgData name="Mondal, Tanmay" userId="83c199d5-d146-4e16-b08e-fa47ebac23d7" providerId="ADAL" clId="{7889F8E4-3B11-44EC-BF56-408DF8153FC1}" dt="2020-07-27T05:54:12.536" v="19"/>
          <ac:spMkLst>
            <pc:docMk/>
            <pc:sldMk cId="0" sldId="261"/>
            <ac:spMk id="104" creationId="{00000000-0000-0000-0000-000000000000}"/>
          </ac:spMkLst>
        </pc:spChg>
      </pc:sldChg>
      <pc:sldChg chg="addSp delSp modSp">
        <pc:chgData name="Mondal, Tanmay" userId="83c199d5-d146-4e16-b08e-fa47ebac23d7" providerId="ADAL" clId="{7889F8E4-3B11-44EC-BF56-408DF8153FC1}" dt="2020-07-27T07:12:20.404" v="269" actId="14100"/>
        <pc:sldMkLst>
          <pc:docMk/>
          <pc:sldMk cId="0" sldId="263"/>
        </pc:sldMkLst>
        <pc:spChg chg="mod">
          <ac:chgData name="Mondal, Tanmay" userId="83c199d5-d146-4e16-b08e-fa47ebac23d7" providerId="ADAL" clId="{7889F8E4-3B11-44EC-BF56-408DF8153FC1}" dt="2020-07-27T05:54:12.536" v="19"/>
          <ac:spMkLst>
            <pc:docMk/>
            <pc:sldMk cId="0" sldId="263"/>
            <ac:spMk id="2" creationId="{00000000-0000-0000-0000-000000000000}"/>
          </ac:spMkLst>
        </pc:spChg>
        <pc:spChg chg="mod">
          <ac:chgData name="Mondal, Tanmay" userId="83c199d5-d146-4e16-b08e-fa47ebac23d7" providerId="ADAL" clId="{7889F8E4-3B11-44EC-BF56-408DF8153FC1}" dt="2020-07-27T05:54:12.536" v="19"/>
          <ac:spMkLst>
            <pc:docMk/>
            <pc:sldMk cId="0" sldId="263"/>
            <ac:spMk id="3" creationId="{00000000-0000-0000-0000-000000000000}"/>
          </ac:spMkLst>
        </pc:spChg>
        <pc:spChg chg="mod">
          <ac:chgData name="Mondal, Tanmay" userId="83c199d5-d146-4e16-b08e-fa47ebac23d7" providerId="ADAL" clId="{7889F8E4-3B11-44EC-BF56-408DF8153FC1}" dt="2020-07-27T05:54:12.536" v="19"/>
          <ac:spMkLst>
            <pc:docMk/>
            <pc:sldMk cId="0" sldId="263"/>
            <ac:spMk id="4" creationId="{00000000-0000-0000-0000-000000000000}"/>
          </ac:spMkLst>
        </pc:spChg>
        <pc:spChg chg="mod">
          <ac:chgData name="Mondal, Tanmay" userId="83c199d5-d146-4e16-b08e-fa47ebac23d7" providerId="ADAL" clId="{7889F8E4-3B11-44EC-BF56-408DF8153FC1}" dt="2020-07-27T05:54:12.536" v="19"/>
          <ac:spMkLst>
            <pc:docMk/>
            <pc:sldMk cId="0" sldId="263"/>
            <ac:spMk id="5" creationId="{00000000-0000-0000-0000-000000000000}"/>
          </ac:spMkLst>
        </pc:spChg>
        <pc:spChg chg="mod">
          <ac:chgData name="Mondal, Tanmay" userId="83c199d5-d146-4e16-b08e-fa47ebac23d7" providerId="ADAL" clId="{7889F8E4-3B11-44EC-BF56-408DF8153FC1}" dt="2020-07-27T05:54:12.536" v="19"/>
          <ac:spMkLst>
            <pc:docMk/>
            <pc:sldMk cId="0" sldId="263"/>
            <ac:spMk id="6" creationId="{00000000-0000-0000-0000-000000000000}"/>
          </ac:spMkLst>
        </pc:spChg>
        <pc:spChg chg="mod">
          <ac:chgData name="Mondal, Tanmay" userId="83c199d5-d146-4e16-b08e-fa47ebac23d7" providerId="ADAL" clId="{7889F8E4-3B11-44EC-BF56-408DF8153FC1}" dt="2020-07-27T05:54:12.536" v="19"/>
          <ac:spMkLst>
            <pc:docMk/>
            <pc:sldMk cId="0" sldId="263"/>
            <ac:spMk id="7" creationId="{00000000-0000-0000-0000-000000000000}"/>
          </ac:spMkLst>
        </pc:spChg>
        <pc:spChg chg="mod">
          <ac:chgData name="Mondal, Tanmay" userId="83c199d5-d146-4e16-b08e-fa47ebac23d7" providerId="ADAL" clId="{7889F8E4-3B11-44EC-BF56-408DF8153FC1}" dt="2020-07-27T05:54:12.536" v="19"/>
          <ac:spMkLst>
            <pc:docMk/>
            <pc:sldMk cId="0" sldId="263"/>
            <ac:spMk id="8" creationId="{00000000-0000-0000-0000-000000000000}"/>
          </ac:spMkLst>
        </pc:spChg>
        <pc:spChg chg="mod">
          <ac:chgData name="Mondal, Tanmay" userId="83c199d5-d146-4e16-b08e-fa47ebac23d7" providerId="ADAL" clId="{7889F8E4-3B11-44EC-BF56-408DF8153FC1}" dt="2020-07-27T05:54:12.536" v="19"/>
          <ac:spMkLst>
            <pc:docMk/>
            <pc:sldMk cId="0" sldId="263"/>
            <ac:spMk id="9" creationId="{00000000-0000-0000-0000-000000000000}"/>
          </ac:spMkLst>
        </pc:spChg>
        <pc:spChg chg="mod">
          <ac:chgData name="Mondal, Tanmay" userId="83c199d5-d146-4e16-b08e-fa47ebac23d7" providerId="ADAL" clId="{7889F8E4-3B11-44EC-BF56-408DF8153FC1}" dt="2020-07-27T05:54:12.536" v="19"/>
          <ac:spMkLst>
            <pc:docMk/>
            <pc:sldMk cId="0" sldId="263"/>
            <ac:spMk id="10" creationId="{00000000-0000-0000-0000-000000000000}"/>
          </ac:spMkLst>
        </pc:spChg>
        <pc:spChg chg="mod">
          <ac:chgData name="Mondal, Tanmay" userId="83c199d5-d146-4e16-b08e-fa47ebac23d7" providerId="ADAL" clId="{7889F8E4-3B11-44EC-BF56-408DF8153FC1}" dt="2020-07-27T05:54:12.536" v="19"/>
          <ac:spMkLst>
            <pc:docMk/>
            <pc:sldMk cId="0" sldId="263"/>
            <ac:spMk id="11" creationId="{00000000-0000-0000-0000-000000000000}"/>
          </ac:spMkLst>
        </pc:spChg>
        <pc:spChg chg="mod">
          <ac:chgData name="Mondal, Tanmay" userId="83c199d5-d146-4e16-b08e-fa47ebac23d7" providerId="ADAL" clId="{7889F8E4-3B11-44EC-BF56-408DF8153FC1}" dt="2020-07-27T05:54:12.536" v="19"/>
          <ac:spMkLst>
            <pc:docMk/>
            <pc:sldMk cId="0" sldId="263"/>
            <ac:spMk id="12" creationId="{00000000-0000-0000-0000-000000000000}"/>
          </ac:spMkLst>
        </pc:spChg>
        <pc:spChg chg="mod">
          <ac:chgData name="Mondal, Tanmay" userId="83c199d5-d146-4e16-b08e-fa47ebac23d7" providerId="ADAL" clId="{7889F8E4-3B11-44EC-BF56-408DF8153FC1}" dt="2020-07-27T05:54:12.536" v="19"/>
          <ac:spMkLst>
            <pc:docMk/>
            <pc:sldMk cId="0" sldId="263"/>
            <ac:spMk id="13" creationId="{00000000-0000-0000-0000-000000000000}"/>
          </ac:spMkLst>
        </pc:spChg>
        <pc:spChg chg="mod">
          <ac:chgData name="Mondal, Tanmay" userId="83c199d5-d146-4e16-b08e-fa47ebac23d7" providerId="ADAL" clId="{7889F8E4-3B11-44EC-BF56-408DF8153FC1}" dt="2020-07-27T05:54:12.536" v="19"/>
          <ac:spMkLst>
            <pc:docMk/>
            <pc:sldMk cId="0" sldId="263"/>
            <ac:spMk id="14" creationId="{00000000-0000-0000-0000-000000000000}"/>
          </ac:spMkLst>
        </pc:spChg>
        <pc:spChg chg="mod">
          <ac:chgData name="Mondal, Tanmay" userId="83c199d5-d146-4e16-b08e-fa47ebac23d7" providerId="ADAL" clId="{7889F8E4-3B11-44EC-BF56-408DF8153FC1}" dt="2020-07-27T05:54:12.536" v="19"/>
          <ac:spMkLst>
            <pc:docMk/>
            <pc:sldMk cId="0" sldId="263"/>
            <ac:spMk id="15" creationId="{00000000-0000-0000-0000-000000000000}"/>
          </ac:spMkLst>
        </pc:spChg>
        <pc:spChg chg="mod">
          <ac:chgData name="Mondal, Tanmay" userId="83c199d5-d146-4e16-b08e-fa47ebac23d7" providerId="ADAL" clId="{7889F8E4-3B11-44EC-BF56-408DF8153FC1}" dt="2020-07-27T05:54:12.536" v="19"/>
          <ac:spMkLst>
            <pc:docMk/>
            <pc:sldMk cId="0" sldId="263"/>
            <ac:spMk id="16" creationId="{00000000-0000-0000-0000-000000000000}"/>
          </ac:spMkLst>
        </pc:spChg>
        <pc:spChg chg="mod">
          <ac:chgData name="Mondal, Tanmay" userId="83c199d5-d146-4e16-b08e-fa47ebac23d7" providerId="ADAL" clId="{7889F8E4-3B11-44EC-BF56-408DF8153FC1}" dt="2020-07-27T05:54:12.536" v="19"/>
          <ac:spMkLst>
            <pc:docMk/>
            <pc:sldMk cId="0" sldId="263"/>
            <ac:spMk id="17" creationId="{00000000-0000-0000-0000-000000000000}"/>
          </ac:spMkLst>
        </pc:spChg>
        <pc:spChg chg="mod">
          <ac:chgData name="Mondal, Tanmay" userId="83c199d5-d146-4e16-b08e-fa47ebac23d7" providerId="ADAL" clId="{7889F8E4-3B11-44EC-BF56-408DF8153FC1}" dt="2020-07-27T05:54:12.536" v="19"/>
          <ac:spMkLst>
            <pc:docMk/>
            <pc:sldMk cId="0" sldId="263"/>
            <ac:spMk id="18" creationId="{00000000-0000-0000-0000-000000000000}"/>
          </ac:spMkLst>
        </pc:spChg>
        <pc:spChg chg="mod">
          <ac:chgData name="Mondal, Tanmay" userId="83c199d5-d146-4e16-b08e-fa47ebac23d7" providerId="ADAL" clId="{7889F8E4-3B11-44EC-BF56-408DF8153FC1}" dt="2020-07-27T05:54:12.536" v="19"/>
          <ac:spMkLst>
            <pc:docMk/>
            <pc:sldMk cId="0" sldId="263"/>
            <ac:spMk id="19" creationId="{00000000-0000-0000-0000-000000000000}"/>
          </ac:spMkLst>
        </pc:spChg>
        <pc:spChg chg="mod">
          <ac:chgData name="Mondal, Tanmay" userId="83c199d5-d146-4e16-b08e-fa47ebac23d7" providerId="ADAL" clId="{7889F8E4-3B11-44EC-BF56-408DF8153FC1}" dt="2020-07-27T05:54:12.536" v="19"/>
          <ac:spMkLst>
            <pc:docMk/>
            <pc:sldMk cId="0" sldId="263"/>
            <ac:spMk id="20" creationId="{00000000-0000-0000-0000-000000000000}"/>
          </ac:spMkLst>
        </pc:spChg>
        <pc:spChg chg="mod">
          <ac:chgData name="Mondal, Tanmay" userId="83c199d5-d146-4e16-b08e-fa47ebac23d7" providerId="ADAL" clId="{7889F8E4-3B11-44EC-BF56-408DF8153FC1}" dt="2020-07-27T05:54:12.536" v="19"/>
          <ac:spMkLst>
            <pc:docMk/>
            <pc:sldMk cId="0" sldId="263"/>
            <ac:spMk id="21" creationId="{00000000-0000-0000-0000-000000000000}"/>
          </ac:spMkLst>
        </pc:spChg>
        <pc:spChg chg="mod">
          <ac:chgData name="Mondal, Tanmay" userId="83c199d5-d146-4e16-b08e-fa47ebac23d7" providerId="ADAL" clId="{7889F8E4-3B11-44EC-BF56-408DF8153FC1}" dt="2020-07-27T05:54:12.536" v="19"/>
          <ac:spMkLst>
            <pc:docMk/>
            <pc:sldMk cId="0" sldId="263"/>
            <ac:spMk id="22" creationId="{00000000-0000-0000-0000-000000000000}"/>
          </ac:spMkLst>
        </pc:spChg>
        <pc:spChg chg="mod">
          <ac:chgData name="Mondal, Tanmay" userId="83c199d5-d146-4e16-b08e-fa47ebac23d7" providerId="ADAL" clId="{7889F8E4-3B11-44EC-BF56-408DF8153FC1}" dt="2020-07-27T05:54:12.536" v="19"/>
          <ac:spMkLst>
            <pc:docMk/>
            <pc:sldMk cId="0" sldId="263"/>
            <ac:spMk id="23" creationId="{00000000-0000-0000-0000-000000000000}"/>
          </ac:spMkLst>
        </pc:spChg>
        <pc:spChg chg="mod">
          <ac:chgData name="Mondal, Tanmay" userId="83c199d5-d146-4e16-b08e-fa47ebac23d7" providerId="ADAL" clId="{7889F8E4-3B11-44EC-BF56-408DF8153FC1}" dt="2020-07-27T05:54:12.536" v="19"/>
          <ac:spMkLst>
            <pc:docMk/>
            <pc:sldMk cId="0" sldId="263"/>
            <ac:spMk id="24" creationId="{00000000-0000-0000-0000-000000000000}"/>
          </ac:spMkLst>
        </pc:spChg>
        <pc:spChg chg="mod">
          <ac:chgData name="Mondal, Tanmay" userId="83c199d5-d146-4e16-b08e-fa47ebac23d7" providerId="ADAL" clId="{7889F8E4-3B11-44EC-BF56-408DF8153FC1}" dt="2020-07-27T05:54:12.536" v="19"/>
          <ac:spMkLst>
            <pc:docMk/>
            <pc:sldMk cId="0" sldId="263"/>
            <ac:spMk id="25" creationId="{00000000-0000-0000-0000-000000000000}"/>
          </ac:spMkLst>
        </pc:spChg>
        <pc:spChg chg="mod">
          <ac:chgData name="Mondal, Tanmay" userId="83c199d5-d146-4e16-b08e-fa47ebac23d7" providerId="ADAL" clId="{7889F8E4-3B11-44EC-BF56-408DF8153FC1}" dt="2020-07-27T05:54:12.536" v="19"/>
          <ac:spMkLst>
            <pc:docMk/>
            <pc:sldMk cId="0" sldId="263"/>
            <ac:spMk id="26" creationId="{00000000-0000-0000-0000-000000000000}"/>
          </ac:spMkLst>
        </pc:spChg>
        <pc:spChg chg="mod">
          <ac:chgData name="Mondal, Tanmay" userId="83c199d5-d146-4e16-b08e-fa47ebac23d7" providerId="ADAL" clId="{7889F8E4-3B11-44EC-BF56-408DF8153FC1}" dt="2020-07-27T05:54:12.536" v="19"/>
          <ac:spMkLst>
            <pc:docMk/>
            <pc:sldMk cId="0" sldId="263"/>
            <ac:spMk id="27" creationId="{00000000-0000-0000-0000-000000000000}"/>
          </ac:spMkLst>
        </pc:spChg>
        <pc:spChg chg="mod">
          <ac:chgData name="Mondal, Tanmay" userId="83c199d5-d146-4e16-b08e-fa47ebac23d7" providerId="ADAL" clId="{7889F8E4-3B11-44EC-BF56-408DF8153FC1}" dt="2020-07-27T05:54:12.536" v="19"/>
          <ac:spMkLst>
            <pc:docMk/>
            <pc:sldMk cId="0" sldId="263"/>
            <ac:spMk id="28" creationId="{00000000-0000-0000-0000-000000000000}"/>
          </ac:spMkLst>
        </pc:spChg>
        <pc:spChg chg="mod">
          <ac:chgData name="Mondal, Tanmay" userId="83c199d5-d146-4e16-b08e-fa47ebac23d7" providerId="ADAL" clId="{7889F8E4-3B11-44EC-BF56-408DF8153FC1}" dt="2020-07-27T05:54:12.536" v="19"/>
          <ac:spMkLst>
            <pc:docMk/>
            <pc:sldMk cId="0" sldId="263"/>
            <ac:spMk id="29" creationId="{00000000-0000-0000-0000-000000000000}"/>
          </ac:spMkLst>
        </pc:spChg>
        <pc:spChg chg="mod">
          <ac:chgData name="Mondal, Tanmay" userId="83c199d5-d146-4e16-b08e-fa47ebac23d7" providerId="ADAL" clId="{7889F8E4-3B11-44EC-BF56-408DF8153FC1}" dt="2020-07-27T05:54:12.536" v="19"/>
          <ac:spMkLst>
            <pc:docMk/>
            <pc:sldMk cId="0" sldId="263"/>
            <ac:spMk id="30" creationId="{00000000-0000-0000-0000-000000000000}"/>
          </ac:spMkLst>
        </pc:spChg>
        <pc:spChg chg="mod">
          <ac:chgData name="Mondal, Tanmay" userId="83c199d5-d146-4e16-b08e-fa47ebac23d7" providerId="ADAL" clId="{7889F8E4-3B11-44EC-BF56-408DF8153FC1}" dt="2020-07-27T05:54:12.536" v="19"/>
          <ac:spMkLst>
            <pc:docMk/>
            <pc:sldMk cId="0" sldId="263"/>
            <ac:spMk id="31" creationId="{00000000-0000-0000-0000-000000000000}"/>
          </ac:spMkLst>
        </pc:spChg>
        <pc:spChg chg="mod">
          <ac:chgData name="Mondal, Tanmay" userId="83c199d5-d146-4e16-b08e-fa47ebac23d7" providerId="ADAL" clId="{7889F8E4-3B11-44EC-BF56-408DF8153FC1}" dt="2020-07-27T05:54:12.536" v="19"/>
          <ac:spMkLst>
            <pc:docMk/>
            <pc:sldMk cId="0" sldId="263"/>
            <ac:spMk id="32" creationId="{00000000-0000-0000-0000-000000000000}"/>
          </ac:spMkLst>
        </pc:spChg>
        <pc:spChg chg="mod">
          <ac:chgData name="Mondal, Tanmay" userId="83c199d5-d146-4e16-b08e-fa47ebac23d7" providerId="ADAL" clId="{7889F8E4-3B11-44EC-BF56-408DF8153FC1}" dt="2020-07-27T05:54:12.536" v="19"/>
          <ac:spMkLst>
            <pc:docMk/>
            <pc:sldMk cId="0" sldId="263"/>
            <ac:spMk id="33" creationId="{00000000-0000-0000-0000-000000000000}"/>
          </ac:spMkLst>
        </pc:spChg>
        <pc:spChg chg="mod">
          <ac:chgData name="Mondal, Tanmay" userId="83c199d5-d146-4e16-b08e-fa47ebac23d7" providerId="ADAL" clId="{7889F8E4-3B11-44EC-BF56-408DF8153FC1}" dt="2020-07-27T05:54:12.536" v="19"/>
          <ac:spMkLst>
            <pc:docMk/>
            <pc:sldMk cId="0" sldId="263"/>
            <ac:spMk id="34" creationId="{00000000-0000-0000-0000-000000000000}"/>
          </ac:spMkLst>
        </pc:spChg>
        <pc:spChg chg="mod">
          <ac:chgData name="Mondal, Tanmay" userId="83c199d5-d146-4e16-b08e-fa47ebac23d7" providerId="ADAL" clId="{7889F8E4-3B11-44EC-BF56-408DF8153FC1}" dt="2020-07-27T05:54:12.536" v="19"/>
          <ac:spMkLst>
            <pc:docMk/>
            <pc:sldMk cId="0" sldId="263"/>
            <ac:spMk id="35" creationId="{00000000-0000-0000-0000-000000000000}"/>
          </ac:spMkLst>
        </pc:spChg>
        <pc:spChg chg="mod">
          <ac:chgData name="Mondal, Tanmay" userId="83c199d5-d146-4e16-b08e-fa47ebac23d7" providerId="ADAL" clId="{7889F8E4-3B11-44EC-BF56-408DF8153FC1}" dt="2020-07-27T05:54:12.536" v="19"/>
          <ac:spMkLst>
            <pc:docMk/>
            <pc:sldMk cId="0" sldId="263"/>
            <ac:spMk id="36" creationId="{00000000-0000-0000-0000-000000000000}"/>
          </ac:spMkLst>
        </pc:spChg>
        <pc:spChg chg="mod">
          <ac:chgData name="Mondal, Tanmay" userId="83c199d5-d146-4e16-b08e-fa47ebac23d7" providerId="ADAL" clId="{7889F8E4-3B11-44EC-BF56-408DF8153FC1}" dt="2020-07-27T05:54:12.536" v="19"/>
          <ac:spMkLst>
            <pc:docMk/>
            <pc:sldMk cId="0" sldId="263"/>
            <ac:spMk id="37" creationId="{00000000-0000-0000-0000-000000000000}"/>
          </ac:spMkLst>
        </pc:spChg>
        <pc:spChg chg="mod">
          <ac:chgData name="Mondal, Tanmay" userId="83c199d5-d146-4e16-b08e-fa47ebac23d7" providerId="ADAL" clId="{7889F8E4-3B11-44EC-BF56-408DF8153FC1}" dt="2020-07-27T05:54:12.536" v="19"/>
          <ac:spMkLst>
            <pc:docMk/>
            <pc:sldMk cId="0" sldId="263"/>
            <ac:spMk id="38" creationId="{00000000-0000-0000-0000-000000000000}"/>
          </ac:spMkLst>
        </pc:spChg>
        <pc:spChg chg="mod">
          <ac:chgData name="Mondal, Tanmay" userId="83c199d5-d146-4e16-b08e-fa47ebac23d7" providerId="ADAL" clId="{7889F8E4-3B11-44EC-BF56-408DF8153FC1}" dt="2020-07-27T05:54:12.536" v="19"/>
          <ac:spMkLst>
            <pc:docMk/>
            <pc:sldMk cId="0" sldId="263"/>
            <ac:spMk id="39" creationId="{00000000-0000-0000-0000-000000000000}"/>
          </ac:spMkLst>
        </pc:spChg>
        <pc:spChg chg="mod">
          <ac:chgData name="Mondal, Tanmay" userId="83c199d5-d146-4e16-b08e-fa47ebac23d7" providerId="ADAL" clId="{7889F8E4-3B11-44EC-BF56-408DF8153FC1}" dt="2020-07-27T05:54:12.536" v="19"/>
          <ac:spMkLst>
            <pc:docMk/>
            <pc:sldMk cId="0" sldId="263"/>
            <ac:spMk id="40" creationId="{00000000-0000-0000-0000-000000000000}"/>
          </ac:spMkLst>
        </pc:spChg>
        <pc:spChg chg="mod">
          <ac:chgData name="Mondal, Tanmay" userId="83c199d5-d146-4e16-b08e-fa47ebac23d7" providerId="ADAL" clId="{7889F8E4-3B11-44EC-BF56-408DF8153FC1}" dt="2020-07-27T05:54:12.536" v="19"/>
          <ac:spMkLst>
            <pc:docMk/>
            <pc:sldMk cId="0" sldId="263"/>
            <ac:spMk id="41" creationId="{00000000-0000-0000-0000-000000000000}"/>
          </ac:spMkLst>
        </pc:spChg>
        <pc:spChg chg="mod">
          <ac:chgData name="Mondal, Tanmay" userId="83c199d5-d146-4e16-b08e-fa47ebac23d7" providerId="ADAL" clId="{7889F8E4-3B11-44EC-BF56-408DF8153FC1}" dt="2020-07-27T05:54:12.536" v="19"/>
          <ac:spMkLst>
            <pc:docMk/>
            <pc:sldMk cId="0" sldId="263"/>
            <ac:spMk id="42" creationId="{00000000-0000-0000-0000-000000000000}"/>
          </ac:spMkLst>
        </pc:spChg>
        <pc:spChg chg="mod">
          <ac:chgData name="Mondal, Tanmay" userId="83c199d5-d146-4e16-b08e-fa47ebac23d7" providerId="ADAL" clId="{7889F8E4-3B11-44EC-BF56-408DF8153FC1}" dt="2020-07-27T05:54:12.536" v="19"/>
          <ac:spMkLst>
            <pc:docMk/>
            <pc:sldMk cId="0" sldId="263"/>
            <ac:spMk id="43" creationId="{00000000-0000-0000-0000-000000000000}"/>
          </ac:spMkLst>
        </pc:spChg>
        <pc:spChg chg="mod">
          <ac:chgData name="Mondal, Tanmay" userId="83c199d5-d146-4e16-b08e-fa47ebac23d7" providerId="ADAL" clId="{7889F8E4-3B11-44EC-BF56-408DF8153FC1}" dt="2020-07-27T05:54:12.536" v="19"/>
          <ac:spMkLst>
            <pc:docMk/>
            <pc:sldMk cId="0" sldId="263"/>
            <ac:spMk id="44" creationId="{00000000-0000-0000-0000-000000000000}"/>
          </ac:spMkLst>
        </pc:spChg>
        <pc:spChg chg="mod">
          <ac:chgData name="Mondal, Tanmay" userId="83c199d5-d146-4e16-b08e-fa47ebac23d7" providerId="ADAL" clId="{7889F8E4-3B11-44EC-BF56-408DF8153FC1}" dt="2020-07-27T05:54:12.536" v="19"/>
          <ac:spMkLst>
            <pc:docMk/>
            <pc:sldMk cId="0" sldId="263"/>
            <ac:spMk id="45" creationId="{00000000-0000-0000-0000-000000000000}"/>
          </ac:spMkLst>
        </pc:spChg>
        <pc:spChg chg="add del mod">
          <ac:chgData name="Mondal, Tanmay" userId="83c199d5-d146-4e16-b08e-fa47ebac23d7" providerId="ADAL" clId="{7889F8E4-3B11-44EC-BF56-408DF8153FC1}" dt="2020-07-27T07:12:13.821" v="268" actId="478"/>
          <ac:spMkLst>
            <pc:docMk/>
            <pc:sldMk cId="0" sldId="263"/>
            <ac:spMk id="46" creationId="{9B0B564A-E90C-4D59-B850-2C007BAF3969}"/>
          </ac:spMkLst>
        </pc:spChg>
        <pc:spChg chg="mod">
          <ac:chgData name="Mondal, Tanmay" userId="83c199d5-d146-4e16-b08e-fa47ebac23d7" providerId="ADAL" clId="{7889F8E4-3B11-44EC-BF56-408DF8153FC1}" dt="2020-07-27T07:12:20.404" v="269" actId="14100"/>
          <ac:spMkLst>
            <pc:docMk/>
            <pc:sldMk cId="0" sldId="263"/>
            <ac:spMk id="47" creationId="{00000000-0000-0000-0000-000000000000}"/>
          </ac:spMkLst>
        </pc:spChg>
        <pc:spChg chg="add del mod">
          <ac:chgData name="Mondal, Tanmay" userId="83c199d5-d146-4e16-b08e-fa47ebac23d7" providerId="ADAL" clId="{7889F8E4-3B11-44EC-BF56-408DF8153FC1}" dt="2020-07-27T07:12:07.359" v="267" actId="478"/>
          <ac:spMkLst>
            <pc:docMk/>
            <pc:sldMk cId="0" sldId="263"/>
            <ac:spMk id="48" creationId="{9D9D55E6-942E-4D99-8535-30CB3AC2CA6D}"/>
          </ac:spMkLst>
        </pc:spChg>
        <pc:spChg chg="mod">
          <ac:chgData name="Mondal, Tanmay" userId="83c199d5-d146-4e16-b08e-fa47ebac23d7" providerId="ADAL" clId="{7889F8E4-3B11-44EC-BF56-408DF8153FC1}" dt="2020-07-27T05:54:12.536" v="19"/>
          <ac:spMkLst>
            <pc:docMk/>
            <pc:sldMk cId="0" sldId="263"/>
            <ac:spMk id="51" creationId="{00000000-0000-0000-0000-000000000000}"/>
          </ac:spMkLst>
        </pc:spChg>
        <pc:spChg chg="mod">
          <ac:chgData name="Mondal, Tanmay" userId="83c199d5-d146-4e16-b08e-fa47ebac23d7" providerId="ADAL" clId="{7889F8E4-3B11-44EC-BF56-408DF8153FC1}" dt="2020-07-27T05:54:12.536" v="19"/>
          <ac:spMkLst>
            <pc:docMk/>
            <pc:sldMk cId="0" sldId="263"/>
            <ac:spMk id="52" creationId="{00000000-0000-0000-0000-000000000000}"/>
          </ac:spMkLst>
        </pc:spChg>
        <pc:spChg chg="mod">
          <ac:chgData name="Mondal, Tanmay" userId="83c199d5-d146-4e16-b08e-fa47ebac23d7" providerId="ADAL" clId="{7889F8E4-3B11-44EC-BF56-408DF8153FC1}" dt="2020-07-27T05:54:12.536" v="19"/>
          <ac:spMkLst>
            <pc:docMk/>
            <pc:sldMk cId="0" sldId="263"/>
            <ac:spMk id="53" creationId="{00000000-0000-0000-0000-000000000000}"/>
          </ac:spMkLst>
        </pc:spChg>
        <pc:spChg chg="mod">
          <ac:chgData name="Mondal, Tanmay" userId="83c199d5-d146-4e16-b08e-fa47ebac23d7" providerId="ADAL" clId="{7889F8E4-3B11-44EC-BF56-408DF8153FC1}" dt="2020-07-27T05:54:12.536" v="19"/>
          <ac:spMkLst>
            <pc:docMk/>
            <pc:sldMk cId="0" sldId="263"/>
            <ac:spMk id="54" creationId="{00000000-0000-0000-0000-000000000000}"/>
          </ac:spMkLst>
        </pc:spChg>
        <pc:spChg chg="mod">
          <ac:chgData name="Mondal, Tanmay" userId="83c199d5-d146-4e16-b08e-fa47ebac23d7" providerId="ADAL" clId="{7889F8E4-3B11-44EC-BF56-408DF8153FC1}" dt="2020-07-27T05:54:12.536" v="19"/>
          <ac:spMkLst>
            <pc:docMk/>
            <pc:sldMk cId="0" sldId="263"/>
            <ac:spMk id="55" creationId="{00000000-0000-0000-0000-000000000000}"/>
          </ac:spMkLst>
        </pc:spChg>
        <pc:spChg chg="mod">
          <ac:chgData name="Mondal, Tanmay" userId="83c199d5-d146-4e16-b08e-fa47ebac23d7" providerId="ADAL" clId="{7889F8E4-3B11-44EC-BF56-408DF8153FC1}" dt="2020-07-27T05:54:12.536" v="19"/>
          <ac:spMkLst>
            <pc:docMk/>
            <pc:sldMk cId="0" sldId="263"/>
            <ac:spMk id="56" creationId="{00000000-0000-0000-0000-000000000000}"/>
          </ac:spMkLst>
        </pc:spChg>
        <pc:spChg chg="mod">
          <ac:chgData name="Mondal, Tanmay" userId="83c199d5-d146-4e16-b08e-fa47ebac23d7" providerId="ADAL" clId="{7889F8E4-3B11-44EC-BF56-408DF8153FC1}" dt="2020-07-27T05:54:12.536" v="19"/>
          <ac:spMkLst>
            <pc:docMk/>
            <pc:sldMk cId="0" sldId="263"/>
            <ac:spMk id="57" creationId="{00000000-0000-0000-0000-000000000000}"/>
          </ac:spMkLst>
        </pc:spChg>
        <pc:spChg chg="mod">
          <ac:chgData name="Mondal, Tanmay" userId="83c199d5-d146-4e16-b08e-fa47ebac23d7" providerId="ADAL" clId="{7889F8E4-3B11-44EC-BF56-408DF8153FC1}" dt="2020-07-27T05:54:12.536" v="19"/>
          <ac:spMkLst>
            <pc:docMk/>
            <pc:sldMk cId="0" sldId="263"/>
            <ac:spMk id="58" creationId="{00000000-0000-0000-0000-000000000000}"/>
          </ac:spMkLst>
        </pc:spChg>
        <pc:spChg chg="mod">
          <ac:chgData name="Mondal, Tanmay" userId="83c199d5-d146-4e16-b08e-fa47ebac23d7" providerId="ADAL" clId="{7889F8E4-3B11-44EC-BF56-408DF8153FC1}" dt="2020-07-27T05:54:12.536" v="19"/>
          <ac:spMkLst>
            <pc:docMk/>
            <pc:sldMk cId="0" sldId="263"/>
            <ac:spMk id="59" creationId="{00000000-0000-0000-0000-000000000000}"/>
          </ac:spMkLst>
        </pc:spChg>
        <pc:spChg chg="mod">
          <ac:chgData name="Mondal, Tanmay" userId="83c199d5-d146-4e16-b08e-fa47ebac23d7" providerId="ADAL" clId="{7889F8E4-3B11-44EC-BF56-408DF8153FC1}" dt="2020-07-27T05:54:12.536" v="19"/>
          <ac:spMkLst>
            <pc:docMk/>
            <pc:sldMk cId="0" sldId="263"/>
            <ac:spMk id="60" creationId="{00000000-0000-0000-0000-000000000000}"/>
          </ac:spMkLst>
        </pc:spChg>
        <pc:spChg chg="mod">
          <ac:chgData name="Mondal, Tanmay" userId="83c199d5-d146-4e16-b08e-fa47ebac23d7" providerId="ADAL" clId="{7889F8E4-3B11-44EC-BF56-408DF8153FC1}" dt="2020-07-27T05:54:12.536" v="19"/>
          <ac:spMkLst>
            <pc:docMk/>
            <pc:sldMk cId="0" sldId="263"/>
            <ac:spMk id="61" creationId="{00000000-0000-0000-0000-000000000000}"/>
          </ac:spMkLst>
        </pc:spChg>
        <pc:spChg chg="mod">
          <ac:chgData name="Mondal, Tanmay" userId="83c199d5-d146-4e16-b08e-fa47ebac23d7" providerId="ADAL" clId="{7889F8E4-3B11-44EC-BF56-408DF8153FC1}" dt="2020-07-27T05:54:12.536" v="19"/>
          <ac:spMkLst>
            <pc:docMk/>
            <pc:sldMk cId="0" sldId="263"/>
            <ac:spMk id="62" creationId="{00000000-0000-0000-0000-000000000000}"/>
          </ac:spMkLst>
        </pc:spChg>
        <pc:spChg chg="mod">
          <ac:chgData name="Mondal, Tanmay" userId="83c199d5-d146-4e16-b08e-fa47ebac23d7" providerId="ADAL" clId="{7889F8E4-3B11-44EC-BF56-408DF8153FC1}" dt="2020-07-27T05:54:12.536" v="19"/>
          <ac:spMkLst>
            <pc:docMk/>
            <pc:sldMk cId="0" sldId="263"/>
            <ac:spMk id="63" creationId="{00000000-0000-0000-0000-000000000000}"/>
          </ac:spMkLst>
        </pc:spChg>
        <pc:spChg chg="mod">
          <ac:chgData name="Mondal, Tanmay" userId="83c199d5-d146-4e16-b08e-fa47ebac23d7" providerId="ADAL" clId="{7889F8E4-3B11-44EC-BF56-408DF8153FC1}" dt="2020-07-27T05:54:12.536" v="19"/>
          <ac:spMkLst>
            <pc:docMk/>
            <pc:sldMk cId="0" sldId="263"/>
            <ac:spMk id="64" creationId="{00000000-0000-0000-0000-000000000000}"/>
          </ac:spMkLst>
        </pc:spChg>
        <pc:spChg chg="mod">
          <ac:chgData name="Mondal, Tanmay" userId="83c199d5-d146-4e16-b08e-fa47ebac23d7" providerId="ADAL" clId="{7889F8E4-3B11-44EC-BF56-408DF8153FC1}" dt="2020-07-27T05:54:12.536" v="19"/>
          <ac:spMkLst>
            <pc:docMk/>
            <pc:sldMk cId="0" sldId="263"/>
            <ac:spMk id="65" creationId="{00000000-0000-0000-0000-000000000000}"/>
          </ac:spMkLst>
        </pc:spChg>
        <pc:spChg chg="mod">
          <ac:chgData name="Mondal, Tanmay" userId="83c199d5-d146-4e16-b08e-fa47ebac23d7" providerId="ADAL" clId="{7889F8E4-3B11-44EC-BF56-408DF8153FC1}" dt="2020-07-27T05:54:12.536" v="19"/>
          <ac:spMkLst>
            <pc:docMk/>
            <pc:sldMk cId="0" sldId="263"/>
            <ac:spMk id="66" creationId="{00000000-0000-0000-0000-000000000000}"/>
          </ac:spMkLst>
        </pc:spChg>
        <pc:spChg chg="mod">
          <ac:chgData name="Mondal, Tanmay" userId="83c199d5-d146-4e16-b08e-fa47ebac23d7" providerId="ADAL" clId="{7889F8E4-3B11-44EC-BF56-408DF8153FC1}" dt="2020-07-27T05:54:12.536" v="19"/>
          <ac:spMkLst>
            <pc:docMk/>
            <pc:sldMk cId="0" sldId="263"/>
            <ac:spMk id="67" creationId="{00000000-0000-0000-0000-000000000000}"/>
          </ac:spMkLst>
        </pc:spChg>
        <pc:spChg chg="mod">
          <ac:chgData name="Mondal, Tanmay" userId="83c199d5-d146-4e16-b08e-fa47ebac23d7" providerId="ADAL" clId="{7889F8E4-3B11-44EC-BF56-408DF8153FC1}" dt="2020-07-27T05:54:12.536" v="19"/>
          <ac:spMkLst>
            <pc:docMk/>
            <pc:sldMk cId="0" sldId="263"/>
            <ac:spMk id="68" creationId="{00000000-0000-0000-0000-000000000000}"/>
          </ac:spMkLst>
        </pc:spChg>
        <pc:spChg chg="mod">
          <ac:chgData name="Mondal, Tanmay" userId="83c199d5-d146-4e16-b08e-fa47ebac23d7" providerId="ADAL" clId="{7889F8E4-3B11-44EC-BF56-408DF8153FC1}" dt="2020-07-27T05:54:12.536" v="19"/>
          <ac:spMkLst>
            <pc:docMk/>
            <pc:sldMk cId="0" sldId="263"/>
            <ac:spMk id="69" creationId="{00000000-0000-0000-0000-000000000000}"/>
          </ac:spMkLst>
        </pc:spChg>
        <pc:spChg chg="mod">
          <ac:chgData name="Mondal, Tanmay" userId="83c199d5-d146-4e16-b08e-fa47ebac23d7" providerId="ADAL" clId="{7889F8E4-3B11-44EC-BF56-408DF8153FC1}" dt="2020-07-27T05:54:12.536" v="19"/>
          <ac:spMkLst>
            <pc:docMk/>
            <pc:sldMk cId="0" sldId="263"/>
            <ac:spMk id="70" creationId="{00000000-0000-0000-0000-000000000000}"/>
          </ac:spMkLst>
        </pc:spChg>
        <pc:spChg chg="mod">
          <ac:chgData name="Mondal, Tanmay" userId="83c199d5-d146-4e16-b08e-fa47ebac23d7" providerId="ADAL" clId="{7889F8E4-3B11-44EC-BF56-408DF8153FC1}" dt="2020-07-27T05:54:12.536" v="19"/>
          <ac:spMkLst>
            <pc:docMk/>
            <pc:sldMk cId="0" sldId="263"/>
            <ac:spMk id="71" creationId="{00000000-0000-0000-0000-000000000000}"/>
          </ac:spMkLst>
        </pc:spChg>
        <pc:spChg chg="mod">
          <ac:chgData name="Mondal, Tanmay" userId="83c199d5-d146-4e16-b08e-fa47ebac23d7" providerId="ADAL" clId="{7889F8E4-3B11-44EC-BF56-408DF8153FC1}" dt="2020-07-27T05:54:12.536" v="19"/>
          <ac:spMkLst>
            <pc:docMk/>
            <pc:sldMk cId="0" sldId="263"/>
            <ac:spMk id="72" creationId="{00000000-0000-0000-0000-000000000000}"/>
          </ac:spMkLst>
        </pc:spChg>
        <pc:spChg chg="mod">
          <ac:chgData name="Mondal, Tanmay" userId="83c199d5-d146-4e16-b08e-fa47ebac23d7" providerId="ADAL" clId="{7889F8E4-3B11-44EC-BF56-408DF8153FC1}" dt="2020-07-27T05:54:12.536" v="19"/>
          <ac:spMkLst>
            <pc:docMk/>
            <pc:sldMk cId="0" sldId="263"/>
            <ac:spMk id="73" creationId="{00000000-0000-0000-0000-000000000000}"/>
          </ac:spMkLst>
        </pc:spChg>
        <pc:spChg chg="mod">
          <ac:chgData name="Mondal, Tanmay" userId="83c199d5-d146-4e16-b08e-fa47ebac23d7" providerId="ADAL" clId="{7889F8E4-3B11-44EC-BF56-408DF8153FC1}" dt="2020-07-27T05:54:12.536" v="19"/>
          <ac:spMkLst>
            <pc:docMk/>
            <pc:sldMk cId="0" sldId="263"/>
            <ac:spMk id="74" creationId="{00000000-0000-0000-0000-000000000000}"/>
          </ac:spMkLst>
        </pc:spChg>
        <pc:spChg chg="mod">
          <ac:chgData name="Mondal, Tanmay" userId="83c199d5-d146-4e16-b08e-fa47ebac23d7" providerId="ADAL" clId="{7889F8E4-3B11-44EC-BF56-408DF8153FC1}" dt="2020-07-27T05:54:12.536" v="19"/>
          <ac:spMkLst>
            <pc:docMk/>
            <pc:sldMk cId="0" sldId="263"/>
            <ac:spMk id="75" creationId="{00000000-0000-0000-0000-000000000000}"/>
          </ac:spMkLst>
        </pc:spChg>
        <pc:spChg chg="mod">
          <ac:chgData name="Mondal, Tanmay" userId="83c199d5-d146-4e16-b08e-fa47ebac23d7" providerId="ADAL" clId="{7889F8E4-3B11-44EC-BF56-408DF8153FC1}" dt="2020-07-27T05:54:12.536" v="19"/>
          <ac:spMkLst>
            <pc:docMk/>
            <pc:sldMk cId="0" sldId="263"/>
            <ac:spMk id="76" creationId="{00000000-0000-0000-0000-000000000000}"/>
          </ac:spMkLst>
        </pc:spChg>
        <pc:spChg chg="mod">
          <ac:chgData name="Mondal, Tanmay" userId="83c199d5-d146-4e16-b08e-fa47ebac23d7" providerId="ADAL" clId="{7889F8E4-3B11-44EC-BF56-408DF8153FC1}" dt="2020-07-27T05:54:12.536" v="19"/>
          <ac:spMkLst>
            <pc:docMk/>
            <pc:sldMk cId="0" sldId="263"/>
            <ac:spMk id="77" creationId="{00000000-0000-0000-0000-000000000000}"/>
          </ac:spMkLst>
        </pc:spChg>
        <pc:spChg chg="mod">
          <ac:chgData name="Mondal, Tanmay" userId="83c199d5-d146-4e16-b08e-fa47ebac23d7" providerId="ADAL" clId="{7889F8E4-3B11-44EC-BF56-408DF8153FC1}" dt="2020-07-27T05:54:12.536" v="19"/>
          <ac:spMkLst>
            <pc:docMk/>
            <pc:sldMk cId="0" sldId="263"/>
            <ac:spMk id="78" creationId="{00000000-0000-0000-0000-000000000000}"/>
          </ac:spMkLst>
        </pc:spChg>
        <pc:spChg chg="mod">
          <ac:chgData name="Mondal, Tanmay" userId="83c199d5-d146-4e16-b08e-fa47ebac23d7" providerId="ADAL" clId="{7889F8E4-3B11-44EC-BF56-408DF8153FC1}" dt="2020-07-27T05:54:12.536" v="19"/>
          <ac:spMkLst>
            <pc:docMk/>
            <pc:sldMk cId="0" sldId="263"/>
            <ac:spMk id="79" creationId="{00000000-0000-0000-0000-000000000000}"/>
          </ac:spMkLst>
        </pc:spChg>
        <pc:spChg chg="mod">
          <ac:chgData name="Mondal, Tanmay" userId="83c199d5-d146-4e16-b08e-fa47ebac23d7" providerId="ADAL" clId="{7889F8E4-3B11-44EC-BF56-408DF8153FC1}" dt="2020-07-27T05:54:12.536" v="19"/>
          <ac:spMkLst>
            <pc:docMk/>
            <pc:sldMk cId="0" sldId="263"/>
            <ac:spMk id="80" creationId="{00000000-0000-0000-0000-000000000000}"/>
          </ac:spMkLst>
        </pc:spChg>
        <pc:spChg chg="mod">
          <ac:chgData name="Mondal, Tanmay" userId="83c199d5-d146-4e16-b08e-fa47ebac23d7" providerId="ADAL" clId="{7889F8E4-3B11-44EC-BF56-408DF8153FC1}" dt="2020-07-27T05:54:12.536" v="19"/>
          <ac:spMkLst>
            <pc:docMk/>
            <pc:sldMk cId="0" sldId="263"/>
            <ac:spMk id="81" creationId="{00000000-0000-0000-0000-000000000000}"/>
          </ac:spMkLst>
        </pc:spChg>
        <pc:spChg chg="mod">
          <ac:chgData name="Mondal, Tanmay" userId="83c199d5-d146-4e16-b08e-fa47ebac23d7" providerId="ADAL" clId="{7889F8E4-3B11-44EC-BF56-408DF8153FC1}" dt="2020-07-27T05:54:12.536" v="19"/>
          <ac:spMkLst>
            <pc:docMk/>
            <pc:sldMk cId="0" sldId="263"/>
            <ac:spMk id="82" creationId="{00000000-0000-0000-0000-000000000000}"/>
          </ac:spMkLst>
        </pc:spChg>
        <pc:spChg chg="mod">
          <ac:chgData name="Mondal, Tanmay" userId="83c199d5-d146-4e16-b08e-fa47ebac23d7" providerId="ADAL" clId="{7889F8E4-3B11-44EC-BF56-408DF8153FC1}" dt="2020-07-27T05:54:12.536" v="19"/>
          <ac:spMkLst>
            <pc:docMk/>
            <pc:sldMk cId="0" sldId="263"/>
            <ac:spMk id="83" creationId="{00000000-0000-0000-0000-000000000000}"/>
          </ac:spMkLst>
        </pc:spChg>
        <pc:spChg chg="mod">
          <ac:chgData name="Mondal, Tanmay" userId="83c199d5-d146-4e16-b08e-fa47ebac23d7" providerId="ADAL" clId="{7889F8E4-3B11-44EC-BF56-408DF8153FC1}" dt="2020-07-27T05:54:12.536" v="19"/>
          <ac:spMkLst>
            <pc:docMk/>
            <pc:sldMk cId="0" sldId="263"/>
            <ac:spMk id="84" creationId="{00000000-0000-0000-0000-000000000000}"/>
          </ac:spMkLst>
        </pc:spChg>
        <pc:spChg chg="mod">
          <ac:chgData name="Mondal, Tanmay" userId="83c199d5-d146-4e16-b08e-fa47ebac23d7" providerId="ADAL" clId="{7889F8E4-3B11-44EC-BF56-408DF8153FC1}" dt="2020-07-27T05:54:12.536" v="19"/>
          <ac:spMkLst>
            <pc:docMk/>
            <pc:sldMk cId="0" sldId="263"/>
            <ac:spMk id="85" creationId="{00000000-0000-0000-0000-000000000000}"/>
          </ac:spMkLst>
        </pc:spChg>
        <pc:spChg chg="mod">
          <ac:chgData name="Mondal, Tanmay" userId="83c199d5-d146-4e16-b08e-fa47ebac23d7" providerId="ADAL" clId="{7889F8E4-3B11-44EC-BF56-408DF8153FC1}" dt="2020-07-27T05:54:12.536" v="19"/>
          <ac:spMkLst>
            <pc:docMk/>
            <pc:sldMk cId="0" sldId="263"/>
            <ac:spMk id="86" creationId="{00000000-0000-0000-0000-000000000000}"/>
          </ac:spMkLst>
        </pc:spChg>
        <pc:spChg chg="mod">
          <ac:chgData name="Mondal, Tanmay" userId="83c199d5-d146-4e16-b08e-fa47ebac23d7" providerId="ADAL" clId="{7889F8E4-3B11-44EC-BF56-408DF8153FC1}" dt="2020-07-27T05:54:12.536" v="19"/>
          <ac:spMkLst>
            <pc:docMk/>
            <pc:sldMk cId="0" sldId="263"/>
            <ac:spMk id="87" creationId="{00000000-0000-0000-0000-000000000000}"/>
          </ac:spMkLst>
        </pc:spChg>
        <pc:spChg chg="mod">
          <ac:chgData name="Mondal, Tanmay" userId="83c199d5-d146-4e16-b08e-fa47ebac23d7" providerId="ADAL" clId="{7889F8E4-3B11-44EC-BF56-408DF8153FC1}" dt="2020-07-27T05:54:12.536" v="19"/>
          <ac:spMkLst>
            <pc:docMk/>
            <pc:sldMk cId="0" sldId="263"/>
            <ac:spMk id="88" creationId="{00000000-0000-0000-0000-000000000000}"/>
          </ac:spMkLst>
        </pc:spChg>
        <pc:spChg chg="mod">
          <ac:chgData name="Mondal, Tanmay" userId="83c199d5-d146-4e16-b08e-fa47ebac23d7" providerId="ADAL" clId="{7889F8E4-3B11-44EC-BF56-408DF8153FC1}" dt="2020-07-27T05:54:12.536" v="19"/>
          <ac:spMkLst>
            <pc:docMk/>
            <pc:sldMk cId="0" sldId="263"/>
            <ac:spMk id="89" creationId="{00000000-0000-0000-0000-000000000000}"/>
          </ac:spMkLst>
        </pc:spChg>
        <pc:spChg chg="mod">
          <ac:chgData name="Mondal, Tanmay" userId="83c199d5-d146-4e16-b08e-fa47ebac23d7" providerId="ADAL" clId="{7889F8E4-3B11-44EC-BF56-408DF8153FC1}" dt="2020-07-27T05:54:12.536" v="19"/>
          <ac:spMkLst>
            <pc:docMk/>
            <pc:sldMk cId="0" sldId="263"/>
            <ac:spMk id="90" creationId="{00000000-0000-0000-0000-000000000000}"/>
          </ac:spMkLst>
        </pc:spChg>
        <pc:spChg chg="mod">
          <ac:chgData name="Mondal, Tanmay" userId="83c199d5-d146-4e16-b08e-fa47ebac23d7" providerId="ADAL" clId="{7889F8E4-3B11-44EC-BF56-408DF8153FC1}" dt="2020-07-27T05:54:12.536" v="19"/>
          <ac:spMkLst>
            <pc:docMk/>
            <pc:sldMk cId="0" sldId="263"/>
            <ac:spMk id="91" creationId="{00000000-0000-0000-0000-000000000000}"/>
          </ac:spMkLst>
        </pc:spChg>
        <pc:spChg chg="mod">
          <ac:chgData name="Mondal, Tanmay" userId="83c199d5-d146-4e16-b08e-fa47ebac23d7" providerId="ADAL" clId="{7889F8E4-3B11-44EC-BF56-408DF8153FC1}" dt="2020-07-27T05:54:12.536" v="19"/>
          <ac:spMkLst>
            <pc:docMk/>
            <pc:sldMk cId="0" sldId="263"/>
            <ac:spMk id="92" creationId="{00000000-0000-0000-0000-000000000000}"/>
          </ac:spMkLst>
        </pc:spChg>
        <pc:spChg chg="mod">
          <ac:chgData name="Mondal, Tanmay" userId="83c199d5-d146-4e16-b08e-fa47ebac23d7" providerId="ADAL" clId="{7889F8E4-3B11-44EC-BF56-408DF8153FC1}" dt="2020-07-27T05:54:12.536" v="19"/>
          <ac:spMkLst>
            <pc:docMk/>
            <pc:sldMk cId="0" sldId="263"/>
            <ac:spMk id="93" creationId="{00000000-0000-0000-0000-000000000000}"/>
          </ac:spMkLst>
        </pc:spChg>
        <pc:spChg chg="mod">
          <ac:chgData name="Mondal, Tanmay" userId="83c199d5-d146-4e16-b08e-fa47ebac23d7" providerId="ADAL" clId="{7889F8E4-3B11-44EC-BF56-408DF8153FC1}" dt="2020-07-27T05:54:12.536" v="19"/>
          <ac:spMkLst>
            <pc:docMk/>
            <pc:sldMk cId="0" sldId="263"/>
            <ac:spMk id="94" creationId="{00000000-0000-0000-0000-000000000000}"/>
          </ac:spMkLst>
        </pc:spChg>
        <pc:spChg chg="mod">
          <ac:chgData name="Mondal, Tanmay" userId="83c199d5-d146-4e16-b08e-fa47ebac23d7" providerId="ADAL" clId="{7889F8E4-3B11-44EC-BF56-408DF8153FC1}" dt="2020-07-27T05:54:12.536" v="19"/>
          <ac:spMkLst>
            <pc:docMk/>
            <pc:sldMk cId="0" sldId="263"/>
            <ac:spMk id="95" creationId="{00000000-0000-0000-0000-000000000000}"/>
          </ac:spMkLst>
        </pc:spChg>
        <pc:spChg chg="mod">
          <ac:chgData name="Mondal, Tanmay" userId="83c199d5-d146-4e16-b08e-fa47ebac23d7" providerId="ADAL" clId="{7889F8E4-3B11-44EC-BF56-408DF8153FC1}" dt="2020-07-27T05:54:12.536" v="19"/>
          <ac:spMkLst>
            <pc:docMk/>
            <pc:sldMk cId="0" sldId="263"/>
            <ac:spMk id="96" creationId="{00000000-0000-0000-0000-000000000000}"/>
          </ac:spMkLst>
        </pc:spChg>
        <pc:spChg chg="mod">
          <ac:chgData name="Mondal, Tanmay" userId="83c199d5-d146-4e16-b08e-fa47ebac23d7" providerId="ADAL" clId="{7889F8E4-3B11-44EC-BF56-408DF8153FC1}" dt="2020-07-27T05:54:12.536" v="19"/>
          <ac:spMkLst>
            <pc:docMk/>
            <pc:sldMk cId="0" sldId="263"/>
            <ac:spMk id="97" creationId="{00000000-0000-0000-0000-000000000000}"/>
          </ac:spMkLst>
        </pc:spChg>
        <pc:spChg chg="mod">
          <ac:chgData name="Mondal, Tanmay" userId="83c199d5-d146-4e16-b08e-fa47ebac23d7" providerId="ADAL" clId="{7889F8E4-3B11-44EC-BF56-408DF8153FC1}" dt="2020-07-27T05:54:12.536" v="19"/>
          <ac:spMkLst>
            <pc:docMk/>
            <pc:sldMk cId="0" sldId="263"/>
            <ac:spMk id="98" creationId="{00000000-0000-0000-0000-000000000000}"/>
          </ac:spMkLst>
        </pc:spChg>
        <pc:spChg chg="mod">
          <ac:chgData name="Mondal, Tanmay" userId="83c199d5-d146-4e16-b08e-fa47ebac23d7" providerId="ADAL" clId="{7889F8E4-3B11-44EC-BF56-408DF8153FC1}" dt="2020-07-27T05:54:12.536" v="19"/>
          <ac:spMkLst>
            <pc:docMk/>
            <pc:sldMk cId="0" sldId="263"/>
            <ac:spMk id="99" creationId="{00000000-0000-0000-0000-000000000000}"/>
          </ac:spMkLst>
        </pc:spChg>
        <pc:spChg chg="mod">
          <ac:chgData name="Mondal, Tanmay" userId="83c199d5-d146-4e16-b08e-fa47ebac23d7" providerId="ADAL" clId="{7889F8E4-3B11-44EC-BF56-408DF8153FC1}" dt="2020-07-27T05:54:12.536" v="19"/>
          <ac:spMkLst>
            <pc:docMk/>
            <pc:sldMk cId="0" sldId="263"/>
            <ac:spMk id="100" creationId="{00000000-0000-0000-0000-000000000000}"/>
          </ac:spMkLst>
        </pc:spChg>
        <pc:spChg chg="mod">
          <ac:chgData name="Mondal, Tanmay" userId="83c199d5-d146-4e16-b08e-fa47ebac23d7" providerId="ADAL" clId="{7889F8E4-3B11-44EC-BF56-408DF8153FC1}" dt="2020-07-27T05:54:12.536" v="19"/>
          <ac:spMkLst>
            <pc:docMk/>
            <pc:sldMk cId="0" sldId="263"/>
            <ac:spMk id="101" creationId="{00000000-0000-0000-0000-000000000000}"/>
          </ac:spMkLst>
        </pc:spChg>
        <pc:spChg chg="mod">
          <ac:chgData name="Mondal, Tanmay" userId="83c199d5-d146-4e16-b08e-fa47ebac23d7" providerId="ADAL" clId="{7889F8E4-3B11-44EC-BF56-408DF8153FC1}" dt="2020-07-27T05:54:12.536" v="19"/>
          <ac:spMkLst>
            <pc:docMk/>
            <pc:sldMk cId="0" sldId="263"/>
            <ac:spMk id="102" creationId="{00000000-0000-0000-0000-000000000000}"/>
          </ac:spMkLst>
        </pc:spChg>
        <pc:spChg chg="mod">
          <ac:chgData name="Mondal, Tanmay" userId="83c199d5-d146-4e16-b08e-fa47ebac23d7" providerId="ADAL" clId="{7889F8E4-3B11-44EC-BF56-408DF8153FC1}" dt="2020-07-27T05:54:12.536" v="19"/>
          <ac:spMkLst>
            <pc:docMk/>
            <pc:sldMk cId="0" sldId="263"/>
            <ac:spMk id="103" creationId="{00000000-0000-0000-0000-000000000000}"/>
          </ac:spMkLst>
        </pc:spChg>
        <pc:spChg chg="mod">
          <ac:chgData name="Mondal, Tanmay" userId="83c199d5-d146-4e16-b08e-fa47ebac23d7" providerId="ADAL" clId="{7889F8E4-3B11-44EC-BF56-408DF8153FC1}" dt="2020-07-27T05:54:12.536" v="19"/>
          <ac:spMkLst>
            <pc:docMk/>
            <pc:sldMk cId="0" sldId="263"/>
            <ac:spMk id="104" creationId="{00000000-0000-0000-0000-000000000000}"/>
          </ac:spMkLst>
        </pc:spChg>
        <pc:spChg chg="mod">
          <ac:chgData name="Mondal, Tanmay" userId="83c199d5-d146-4e16-b08e-fa47ebac23d7" providerId="ADAL" clId="{7889F8E4-3B11-44EC-BF56-408DF8153FC1}" dt="2020-07-27T05:54:12.536" v="19"/>
          <ac:spMkLst>
            <pc:docMk/>
            <pc:sldMk cId="0" sldId="263"/>
            <ac:spMk id="105" creationId="{00000000-0000-0000-0000-000000000000}"/>
          </ac:spMkLst>
        </pc:spChg>
        <pc:spChg chg="mod">
          <ac:chgData name="Mondal, Tanmay" userId="83c199d5-d146-4e16-b08e-fa47ebac23d7" providerId="ADAL" clId="{7889F8E4-3B11-44EC-BF56-408DF8153FC1}" dt="2020-07-27T05:54:12.536" v="19"/>
          <ac:spMkLst>
            <pc:docMk/>
            <pc:sldMk cId="0" sldId="263"/>
            <ac:spMk id="106" creationId="{00000000-0000-0000-0000-000000000000}"/>
          </ac:spMkLst>
        </pc:spChg>
        <pc:spChg chg="mod">
          <ac:chgData name="Mondal, Tanmay" userId="83c199d5-d146-4e16-b08e-fa47ebac23d7" providerId="ADAL" clId="{7889F8E4-3B11-44EC-BF56-408DF8153FC1}" dt="2020-07-27T05:54:12.536" v="19"/>
          <ac:spMkLst>
            <pc:docMk/>
            <pc:sldMk cId="0" sldId="263"/>
            <ac:spMk id="107" creationId="{00000000-0000-0000-0000-000000000000}"/>
          </ac:spMkLst>
        </pc:spChg>
        <pc:spChg chg="mod">
          <ac:chgData name="Mondal, Tanmay" userId="83c199d5-d146-4e16-b08e-fa47ebac23d7" providerId="ADAL" clId="{7889F8E4-3B11-44EC-BF56-408DF8153FC1}" dt="2020-07-27T05:54:12.536" v="19"/>
          <ac:spMkLst>
            <pc:docMk/>
            <pc:sldMk cId="0" sldId="263"/>
            <ac:spMk id="108" creationId="{00000000-0000-0000-0000-000000000000}"/>
          </ac:spMkLst>
        </pc:spChg>
        <pc:spChg chg="mod">
          <ac:chgData name="Mondal, Tanmay" userId="83c199d5-d146-4e16-b08e-fa47ebac23d7" providerId="ADAL" clId="{7889F8E4-3B11-44EC-BF56-408DF8153FC1}" dt="2020-07-27T05:54:12.536" v="19"/>
          <ac:spMkLst>
            <pc:docMk/>
            <pc:sldMk cId="0" sldId="263"/>
            <ac:spMk id="109" creationId="{00000000-0000-0000-0000-000000000000}"/>
          </ac:spMkLst>
        </pc:spChg>
        <pc:spChg chg="mod">
          <ac:chgData name="Mondal, Tanmay" userId="83c199d5-d146-4e16-b08e-fa47ebac23d7" providerId="ADAL" clId="{7889F8E4-3B11-44EC-BF56-408DF8153FC1}" dt="2020-07-27T05:54:12.536" v="19"/>
          <ac:spMkLst>
            <pc:docMk/>
            <pc:sldMk cId="0" sldId="263"/>
            <ac:spMk id="110" creationId="{00000000-0000-0000-0000-000000000000}"/>
          </ac:spMkLst>
        </pc:spChg>
        <pc:spChg chg="mod">
          <ac:chgData name="Mondal, Tanmay" userId="83c199d5-d146-4e16-b08e-fa47ebac23d7" providerId="ADAL" clId="{7889F8E4-3B11-44EC-BF56-408DF8153FC1}" dt="2020-07-27T05:54:12.536" v="19"/>
          <ac:spMkLst>
            <pc:docMk/>
            <pc:sldMk cId="0" sldId="263"/>
            <ac:spMk id="111" creationId="{00000000-0000-0000-0000-000000000000}"/>
          </ac:spMkLst>
        </pc:spChg>
        <pc:spChg chg="mod">
          <ac:chgData name="Mondal, Tanmay" userId="83c199d5-d146-4e16-b08e-fa47ebac23d7" providerId="ADAL" clId="{7889F8E4-3B11-44EC-BF56-408DF8153FC1}" dt="2020-07-27T05:54:12.536" v="19"/>
          <ac:spMkLst>
            <pc:docMk/>
            <pc:sldMk cId="0" sldId="263"/>
            <ac:spMk id="112" creationId="{00000000-0000-0000-0000-000000000000}"/>
          </ac:spMkLst>
        </pc:spChg>
        <pc:spChg chg="mod">
          <ac:chgData name="Mondal, Tanmay" userId="83c199d5-d146-4e16-b08e-fa47ebac23d7" providerId="ADAL" clId="{7889F8E4-3B11-44EC-BF56-408DF8153FC1}" dt="2020-07-27T05:54:12.536" v="19"/>
          <ac:spMkLst>
            <pc:docMk/>
            <pc:sldMk cId="0" sldId="263"/>
            <ac:spMk id="113" creationId="{00000000-0000-0000-0000-000000000000}"/>
          </ac:spMkLst>
        </pc:spChg>
        <pc:spChg chg="mod">
          <ac:chgData name="Mondal, Tanmay" userId="83c199d5-d146-4e16-b08e-fa47ebac23d7" providerId="ADAL" clId="{7889F8E4-3B11-44EC-BF56-408DF8153FC1}" dt="2020-07-27T05:54:12.536" v="19"/>
          <ac:spMkLst>
            <pc:docMk/>
            <pc:sldMk cId="0" sldId="263"/>
            <ac:spMk id="114" creationId="{00000000-0000-0000-0000-000000000000}"/>
          </ac:spMkLst>
        </pc:spChg>
        <pc:spChg chg="mod">
          <ac:chgData name="Mondal, Tanmay" userId="83c199d5-d146-4e16-b08e-fa47ebac23d7" providerId="ADAL" clId="{7889F8E4-3B11-44EC-BF56-408DF8153FC1}" dt="2020-07-27T05:54:12.536" v="19"/>
          <ac:spMkLst>
            <pc:docMk/>
            <pc:sldMk cId="0" sldId="263"/>
            <ac:spMk id="115" creationId="{00000000-0000-0000-0000-000000000000}"/>
          </ac:spMkLst>
        </pc:spChg>
        <pc:spChg chg="mod">
          <ac:chgData name="Mondal, Tanmay" userId="83c199d5-d146-4e16-b08e-fa47ebac23d7" providerId="ADAL" clId="{7889F8E4-3B11-44EC-BF56-408DF8153FC1}" dt="2020-07-27T05:54:12.536" v="19"/>
          <ac:spMkLst>
            <pc:docMk/>
            <pc:sldMk cId="0" sldId="263"/>
            <ac:spMk id="116" creationId="{00000000-0000-0000-0000-000000000000}"/>
          </ac:spMkLst>
        </pc:spChg>
        <pc:spChg chg="mod">
          <ac:chgData name="Mondal, Tanmay" userId="83c199d5-d146-4e16-b08e-fa47ebac23d7" providerId="ADAL" clId="{7889F8E4-3B11-44EC-BF56-408DF8153FC1}" dt="2020-07-27T05:54:12.536" v="19"/>
          <ac:spMkLst>
            <pc:docMk/>
            <pc:sldMk cId="0" sldId="263"/>
            <ac:spMk id="117" creationId="{00000000-0000-0000-0000-000000000000}"/>
          </ac:spMkLst>
        </pc:spChg>
        <pc:spChg chg="mod">
          <ac:chgData name="Mondal, Tanmay" userId="83c199d5-d146-4e16-b08e-fa47ebac23d7" providerId="ADAL" clId="{7889F8E4-3B11-44EC-BF56-408DF8153FC1}" dt="2020-07-27T05:54:12.536" v="19"/>
          <ac:spMkLst>
            <pc:docMk/>
            <pc:sldMk cId="0" sldId="263"/>
            <ac:spMk id="118" creationId="{00000000-0000-0000-0000-000000000000}"/>
          </ac:spMkLst>
        </pc:spChg>
        <pc:spChg chg="mod">
          <ac:chgData name="Mondal, Tanmay" userId="83c199d5-d146-4e16-b08e-fa47ebac23d7" providerId="ADAL" clId="{7889F8E4-3B11-44EC-BF56-408DF8153FC1}" dt="2020-07-27T05:54:12.536" v="19"/>
          <ac:spMkLst>
            <pc:docMk/>
            <pc:sldMk cId="0" sldId="263"/>
            <ac:spMk id="119" creationId="{00000000-0000-0000-0000-000000000000}"/>
          </ac:spMkLst>
        </pc:spChg>
        <pc:spChg chg="mod">
          <ac:chgData name="Mondal, Tanmay" userId="83c199d5-d146-4e16-b08e-fa47ebac23d7" providerId="ADAL" clId="{7889F8E4-3B11-44EC-BF56-408DF8153FC1}" dt="2020-07-27T05:54:12.536" v="19"/>
          <ac:spMkLst>
            <pc:docMk/>
            <pc:sldMk cId="0" sldId="263"/>
            <ac:spMk id="120" creationId="{00000000-0000-0000-0000-000000000000}"/>
          </ac:spMkLst>
        </pc:spChg>
        <pc:spChg chg="mod">
          <ac:chgData name="Mondal, Tanmay" userId="83c199d5-d146-4e16-b08e-fa47ebac23d7" providerId="ADAL" clId="{7889F8E4-3B11-44EC-BF56-408DF8153FC1}" dt="2020-07-27T05:54:12.536" v="19"/>
          <ac:spMkLst>
            <pc:docMk/>
            <pc:sldMk cId="0" sldId="263"/>
            <ac:spMk id="121" creationId="{00000000-0000-0000-0000-000000000000}"/>
          </ac:spMkLst>
        </pc:spChg>
        <pc:spChg chg="mod">
          <ac:chgData name="Mondal, Tanmay" userId="83c199d5-d146-4e16-b08e-fa47ebac23d7" providerId="ADAL" clId="{7889F8E4-3B11-44EC-BF56-408DF8153FC1}" dt="2020-07-27T05:54:12.536" v="19"/>
          <ac:spMkLst>
            <pc:docMk/>
            <pc:sldMk cId="0" sldId="263"/>
            <ac:spMk id="122" creationId="{00000000-0000-0000-0000-000000000000}"/>
          </ac:spMkLst>
        </pc:spChg>
        <pc:spChg chg="mod">
          <ac:chgData name="Mondal, Tanmay" userId="83c199d5-d146-4e16-b08e-fa47ebac23d7" providerId="ADAL" clId="{7889F8E4-3B11-44EC-BF56-408DF8153FC1}" dt="2020-07-27T05:54:12.536" v="19"/>
          <ac:spMkLst>
            <pc:docMk/>
            <pc:sldMk cId="0" sldId="263"/>
            <ac:spMk id="123" creationId="{00000000-0000-0000-0000-000000000000}"/>
          </ac:spMkLst>
        </pc:spChg>
        <pc:spChg chg="mod">
          <ac:chgData name="Mondal, Tanmay" userId="83c199d5-d146-4e16-b08e-fa47ebac23d7" providerId="ADAL" clId="{7889F8E4-3B11-44EC-BF56-408DF8153FC1}" dt="2020-07-27T05:54:12.536" v="19"/>
          <ac:spMkLst>
            <pc:docMk/>
            <pc:sldMk cId="0" sldId="263"/>
            <ac:spMk id="124" creationId="{00000000-0000-0000-0000-000000000000}"/>
          </ac:spMkLst>
        </pc:spChg>
        <pc:spChg chg="mod">
          <ac:chgData name="Mondal, Tanmay" userId="83c199d5-d146-4e16-b08e-fa47ebac23d7" providerId="ADAL" clId="{7889F8E4-3B11-44EC-BF56-408DF8153FC1}" dt="2020-07-27T05:54:12.536" v="19"/>
          <ac:spMkLst>
            <pc:docMk/>
            <pc:sldMk cId="0" sldId="263"/>
            <ac:spMk id="125" creationId="{00000000-0000-0000-0000-000000000000}"/>
          </ac:spMkLst>
        </pc:spChg>
        <pc:spChg chg="mod">
          <ac:chgData name="Mondal, Tanmay" userId="83c199d5-d146-4e16-b08e-fa47ebac23d7" providerId="ADAL" clId="{7889F8E4-3B11-44EC-BF56-408DF8153FC1}" dt="2020-07-27T05:54:12.536" v="19"/>
          <ac:spMkLst>
            <pc:docMk/>
            <pc:sldMk cId="0" sldId="263"/>
            <ac:spMk id="126" creationId="{00000000-0000-0000-0000-000000000000}"/>
          </ac:spMkLst>
        </pc:spChg>
        <pc:spChg chg="mod">
          <ac:chgData name="Mondal, Tanmay" userId="83c199d5-d146-4e16-b08e-fa47ebac23d7" providerId="ADAL" clId="{7889F8E4-3B11-44EC-BF56-408DF8153FC1}" dt="2020-07-27T05:54:12.536" v="19"/>
          <ac:spMkLst>
            <pc:docMk/>
            <pc:sldMk cId="0" sldId="263"/>
            <ac:spMk id="127" creationId="{00000000-0000-0000-0000-000000000000}"/>
          </ac:spMkLst>
        </pc:spChg>
        <pc:spChg chg="mod">
          <ac:chgData name="Mondal, Tanmay" userId="83c199d5-d146-4e16-b08e-fa47ebac23d7" providerId="ADAL" clId="{7889F8E4-3B11-44EC-BF56-408DF8153FC1}" dt="2020-07-27T05:54:12.536" v="19"/>
          <ac:spMkLst>
            <pc:docMk/>
            <pc:sldMk cId="0" sldId="263"/>
            <ac:spMk id="128" creationId="{00000000-0000-0000-0000-000000000000}"/>
          </ac:spMkLst>
        </pc:spChg>
        <pc:spChg chg="mod">
          <ac:chgData name="Mondal, Tanmay" userId="83c199d5-d146-4e16-b08e-fa47ebac23d7" providerId="ADAL" clId="{7889F8E4-3B11-44EC-BF56-408DF8153FC1}" dt="2020-07-27T05:54:12.536" v="19"/>
          <ac:spMkLst>
            <pc:docMk/>
            <pc:sldMk cId="0" sldId="263"/>
            <ac:spMk id="129" creationId="{00000000-0000-0000-0000-000000000000}"/>
          </ac:spMkLst>
        </pc:spChg>
        <pc:spChg chg="mod">
          <ac:chgData name="Mondal, Tanmay" userId="83c199d5-d146-4e16-b08e-fa47ebac23d7" providerId="ADAL" clId="{7889F8E4-3B11-44EC-BF56-408DF8153FC1}" dt="2020-07-27T05:54:12.536" v="19"/>
          <ac:spMkLst>
            <pc:docMk/>
            <pc:sldMk cId="0" sldId="263"/>
            <ac:spMk id="130" creationId="{00000000-0000-0000-0000-000000000000}"/>
          </ac:spMkLst>
        </pc:spChg>
        <pc:spChg chg="mod">
          <ac:chgData name="Mondal, Tanmay" userId="83c199d5-d146-4e16-b08e-fa47ebac23d7" providerId="ADAL" clId="{7889F8E4-3B11-44EC-BF56-408DF8153FC1}" dt="2020-07-27T05:54:12.536" v="19"/>
          <ac:spMkLst>
            <pc:docMk/>
            <pc:sldMk cId="0" sldId="263"/>
            <ac:spMk id="131" creationId="{00000000-0000-0000-0000-000000000000}"/>
          </ac:spMkLst>
        </pc:spChg>
        <pc:spChg chg="mod">
          <ac:chgData name="Mondal, Tanmay" userId="83c199d5-d146-4e16-b08e-fa47ebac23d7" providerId="ADAL" clId="{7889F8E4-3B11-44EC-BF56-408DF8153FC1}" dt="2020-07-27T05:54:12.536" v="19"/>
          <ac:spMkLst>
            <pc:docMk/>
            <pc:sldMk cId="0" sldId="263"/>
            <ac:spMk id="132" creationId="{00000000-0000-0000-0000-000000000000}"/>
          </ac:spMkLst>
        </pc:spChg>
        <pc:spChg chg="mod">
          <ac:chgData name="Mondal, Tanmay" userId="83c199d5-d146-4e16-b08e-fa47ebac23d7" providerId="ADAL" clId="{7889F8E4-3B11-44EC-BF56-408DF8153FC1}" dt="2020-07-27T05:54:12.536" v="19"/>
          <ac:spMkLst>
            <pc:docMk/>
            <pc:sldMk cId="0" sldId="263"/>
            <ac:spMk id="133" creationId="{00000000-0000-0000-0000-000000000000}"/>
          </ac:spMkLst>
        </pc:spChg>
        <pc:spChg chg="mod">
          <ac:chgData name="Mondal, Tanmay" userId="83c199d5-d146-4e16-b08e-fa47ebac23d7" providerId="ADAL" clId="{7889F8E4-3B11-44EC-BF56-408DF8153FC1}" dt="2020-07-27T05:54:12.536" v="19"/>
          <ac:spMkLst>
            <pc:docMk/>
            <pc:sldMk cId="0" sldId="263"/>
            <ac:spMk id="135" creationId="{00000000-0000-0000-0000-000000000000}"/>
          </ac:spMkLst>
        </pc:spChg>
        <pc:spChg chg="mod">
          <ac:chgData name="Mondal, Tanmay" userId="83c199d5-d146-4e16-b08e-fa47ebac23d7" providerId="ADAL" clId="{7889F8E4-3B11-44EC-BF56-408DF8153FC1}" dt="2020-07-27T05:54:12.536" v="19"/>
          <ac:spMkLst>
            <pc:docMk/>
            <pc:sldMk cId="0" sldId="263"/>
            <ac:spMk id="136" creationId="{00000000-0000-0000-0000-000000000000}"/>
          </ac:spMkLst>
        </pc:spChg>
        <pc:spChg chg="mod">
          <ac:chgData name="Mondal, Tanmay" userId="83c199d5-d146-4e16-b08e-fa47ebac23d7" providerId="ADAL" clId="{7889F8E4-3B11-44EC-BF56-408DF8153FC1}" dt="2020-07-27T05:54:12.536" v="19"/>
          <ac:spMkLst>
            <pc:docMk/>
            <pc:sldMk cId="0" sldId="263"/>
            <ac:spMk id="137" creationId="{00000000-0000-0000-0000-000000000000}"/>
          </ac:spMkLst>
        </pc:spChg>
        <pc:spChg chg="mod">
          <ac:chgData name="Mondal, Tanmay" userId="83c199d5-d146-4e16-b08e-fa47ebac23d7" providerId="ADAL" clId="{7889F8E4-3B11-44EC-BF56-408DF8153FC1}" dt="2020-07-27T05:54:12.536" v="19"/>
          <ac:spMkLst>
            <pc:docMk/>
            <pc:sldMk cId="0" sldId="263"/>
            <ac:spMk id="138" creationId="{00000000-0000-0000-0000-000000000000}"/>
          </ac:spMkLst>
        </pc:spChg>
        <pc:spChg chg="mod">
          <ac:chgData name="Mondal, Tanmay" userId="83c199d5-d146-4e16-b08e-fa47ebac23d7" providerId="ADAL" clId="{7889F8E4-3B11-44EC-BF56-408DF8153FC1}" dt="2020-07-27T05:54:12.536" v="19"/>
          <ac:spMkLst>
            <pc:docMk/>
            <pc:sldMk cId="0" sldId="263"/>
            <ac:spMk id="139" creationId="{00000000-0000-0000-0000-000000000000}"/>
          </ac:spMkLst>
        </pc:spChg>
        <pc:spChg chg="mod">
          <ac:chgData name="Mondal, Tanmay" userId="83c199d5-d146-4e16-b08e-fa47ebac23d7" providerId="ADAL" clId="{7889F8E4-3B11-44EC-BF56-408DF8153FC1}" dt="2020-07-27T05:54:12.536" v="19"/>
          <ac:spMkLst>
            <pc:docMk/>
            <pc:sldMk cId="0" sldId="263"/>
            <ac:spMk id="140" creationId="{00000000-0000-0000-0000-000000000000}"/>
          </ac:spMkLst>
        </pc:spChg>
        <pc:spChg chg="mod">
          <ac:chgData name="Mondal, Tanmay" userId="83c199d5-d146-4e16-b08e-fa47ebac23d7" providerId="ADAL" clId="{7889F8E4-3B11-44EC-BF56-408DF8153FC1}" dt="2020-07-27T05:54:12.536" v="19"/>
          <ac:spMkLst>
            <pc:docMk/>
            <pc:sldMk cId="0" sldId="263"/>
            <ac:spMk id="141" creationId="{00000000-0000-0000-0000-000000000000}"/>
          </ac:spMkLst>
        </pc:spChg>
        <pc:spChg chg="mod">
          <ac:chgData name="Mondal, Tanmay" userId="83c199d5-d146-4e16-b08e-fa47ebac23d7" providerId="ADAL" clId="{7889F8E4-3B11-44EC-BF56-408DF8153FC1}" dt="2020-07-27T05:54:12.536" v="19"/>
          <ac:spMkLst>
            <pc:docMk/>
            <pc:sldMk cId="0" sldId="263"/>
            <ac:spMk id="142" creationId="{00000000-0000-0000-0000-000000000000}"/>
          </ac:spMkLst>
        </pc:spChg>
        <pc:spChg chg="mod">
          <ac:chgData name="Mondal, Tanmay" userId="83c199d5-d146-4e16-b08e-fa47ebac23d7" providerId="ADAL" clId="{7889F8E4-3B11-44EC-BF56-408DF8153FC1}" dt="2020-07-27T05:54:12.536" v="19"/>
          <ac:spMkLst>
            <pc:docMk/>
            <pc:sldMk cId="0" sldId="263"/>
            <ac:spMk id="143" creationId="{00000000-0000-0000-0000-000000000000}"/>
          </ac:spMkLst>
        </pc:spChg>
        <pc:spChg chg="mod">
          <ac:chgData name="Mondal, Tanmay" userId="83c199d5-d146-4e16-b08e-fa47ebac23d7" providerId="ADAL" clId="{7889F8E4-3B11-44EC-BF56-408DF8153FC1}" dt="2020-07-27T05:54:12.536" v="19"/>
          <ac:spMkLst>
            <pc:docMk/>
            <pc:sldMk cId="0" sldId="263"/>
            <ac:spMk id="144" creationId="{00000000-0000-0000-0000-000000000000}"/>
          </ac:spMkLst>
        </pc:spChg>
        <pc:spChg chg="mod">
          <ac:chgData name="Mondal, Tanmay" userId="83c199d5-d146-4e16-b08e-fa47ebac23d7" providerId="ADAL" clId="{7889F8E4-3B11-44EC-BF56-408DF8153FC1}" dt="2020-07-27T05:54:12.536" v="19"/>
          <ac:spMkLst>
            <pc:docMk/>
            <pc:sldMk cId="0" sldId="263"/>
            <ac:spMk id="145" creationId="{00000000-0000-0000-0000-000000000000}"/>
          </ac:spMkLst>
        </pc:spChg>
        <pc:spChg chg="mod">
          <ac:chgData name="Mondal, Tanmay" userId="83c199d5-d146-4e16-b08e-fa47ebac23d7" providerId="ADAL" clId="{7889F8E4-3B11-44EC-BF56-408DF8153FC1}" dt="2020-07-27T05:54:12.536" v="19"/>
          <ac:spMkLst>
            <pc:docMk/>
            <pc:sldMk cId="0" sldId="263"/>
            <ac:spMk id="146" creationId="{00000000-0000-0000-0000-000000000000}"/>
          </ac:spMkLst>
        </pc:spChg>
        <pc:spChg chg="mod">
          <ac:chgData name="Mondal, Tanmay" userId="83c199d5-d146-4e16-b08e-fa47ebac23d7" providerId="ADAL" clId="{7889F8E4-3B11-44EC-BF56-408DF8153FC1}" dt="2020-07-27T05:54:12.536" v="19"/>
          <ac:spMkLst>
            <pc:docMk/>
            <pc:sldMk cId="0" sldId="263"/>
            <ac:spMk id="147" creationId="{00000000-0000-0000-0000-000000000000}"/>
          </ac:spMkLst>
        </pc:spChg>
        <pc:spChg chg="mod">
          <ac:chgData name="Mondal, Tanmay" userId="83c199d5-d146-4e16-b08e-fa47ebac23d7" providerId="ADAL" clId="{7889F8E4-3B11-44EC-BF56-408DF8153FC1}" dt="2020-07-27T05:54:12.536" v="19"/>
          <ac:spMkLst>
            <pc:docMk/>
            <pc:sldMk cId="0" sldId="263"/>
            <ac:spMk id="148" creationId="{00000000-0000-0000-0000-000000000000}"/>
          </ac:spMkLst>
        </pc:spChg>
        <pc:spChg chg="mod">
          <ac:chgData name="Mondal, Tanmay" userId="83c199d5-d146-4e16-b08e-fa47ebac23d7" providerId="ADAL" clId="{7889F8E4-3B11-44EC-BF56-408DF8153FC1}" dt="2020-07-27T05:54:12.536" v="19"/>
          <ac:spMkLst>
            <pc:docMk/>
            <pc:sldMk cId="0" sldId="263"/>
            <ac:spMk id="149" creationId="{00000000-0000-0000-0000-000000000000}"/>
          </ac:spMkLst>
        </pc:spChg>
        <pc:spChg chg="mod">
          <ac:chgData name="Mondal, Tanmay" userId="83c199d5-d146-4e16-b08e-fa47ebac23d7" providerId="ADAL" clId="{7889F8E4-3B11-44EC-BF56-408DF8153FC1}" dt="2020-07-27T05:54:12.536" v="19"/>
          <ac:spMkLst>
            <pc:docMk/>
            <pc:sldMk cId="0" sldId="263"/>
            <ac:spMk id="150" creationId="{00000000-0000-0000-0000-000000000000}"/>
          </ac:spMkLst>
        </pc:spChg>
        <pc:spChg chg="mod">
          <ac:chgData name="Mondal, Tanmay" userId="83c199d5-d146-4e16-b08e-fa47ebac23d7" providerId="ADAL" clId="{7889F8E4-3B11-44EC-BF56-408DF8153FC1}" dt="2020-07-27T05:54:12.536" v="19"/>
          <ac:spMkLst>
            <pc:docMk/>
            <pc:sldMk cId="0" sldId="263"/>
            <ac:spMk id="151" creationId="{00000000-0000-0000-0000-000000000000}"/>
          </ac:spMkLst>
        </pc:spChg>
      </pc:sldChg>
      <pc:sldChg chg="addSp delSp modSp">
        <pc:chgData name="Mondal, Tanmay" userId="83c199d5-d146-4e16-b08e-fa47ebac23d7" providerId="ADAL" clId="{7889F8E4-3B11-44EC-BF56-408DF8153FC1}" dt="2020-07-27T07:14:43.452" v="341" actId="478"/>
        <pc:sldMkLst>
          <pc:docMk/>
          <pc:sldMk cId="0" sldId="264"/>
        </pc:sldMkLst>
        <pc:spChg chg="mod">
          <ac:chgData name="Mondal, Tanmay" userId="83c199d5-d146-4e16-b08e-fa47ebac23d7" providerId="ADAL" clId="{7889F8E4-3B11-44EC-BF56-408DF8153FC1}" dt="2020-07-27T05:54:12.536" v="19"/>
          <ac:spMkLst>
            <pc:docMk/>
            <pc:sldMk cId="0" sldId="264"/>
            <ac:spMk id="2" creationId="{00000000-0000-0000-0000-000000000000}"/>
          </ac:spMkLst>
        </pc:spChg>
        <pc:spChg chg="mod">
          <ac:chgData name="Mondal, Tanmay" userId="83c199d5-d146-4e16-b08e-fa47ebac23d7" providerId="ADAL" clId="{7889F8E4-3B11-44EC-BF56-408DF8153FC1}" dt="2020-07-27T05:54:12.536" v="19"/>
          <ac:spMkLst>
            <pc:docMk/>
            <pc:sldMk cId="0" sldId="264"/>
            <ac:spMk id="3" creationId="{00000000-0000-0000-0000-000000000000}"/>
          </ac:spMkLst>
        </pc:spChg>
        <pc:spChg chg="mod">
          <ac:chgData name="Mondal, Tanmay" userId="83c199d5-d146-4e16-b08e-fa47ebac23d7" providerId="ADAL" clId="{7889F8E4-3B11-44EC-BF56-408DF8153FC1}" dt="2020-07-27T05:54:12.536" v="19"/>
          <ac:spMkLst>
            <pc:docMk/>
            <pc:sldMk cId="0" sldId="264"/>
            <ac:spMk id="4" creationId="{00000000-0000-0000-0000-000000000000}"/>
          </ac:spMkLst>
        </pc:spChg>
        <pc:spChg chg="mod">
          <ac:chgData name="Mondal, Tanmay" userId="83c199d5-d146-4e16-b08e-fa47ebac23d7" providerId="ADAL" clId="{7889F8E4-3B11-44EC-BF56-408DF8153FC1}" dt="2020-07-27T05:54:12.536" v="19"/>
          <ac:spMkLst>
            <pc:docMk/>
            <pc:sldMk cId="0" sldId="264"/>
            <ac:spMk id="5" creationId="{00000000-0000-0000-0000-000000000000}"/>
          </ac:spMkLst>
        </pc:spChg>
        <pc:spChg chg="mod">
          <ac:chgData name="Mondal, Tanmay" userId="83c199d5-d146-4e16-b08e-fa47ebac23d7" providerId="ADAL" clId="{7889F8E4-3B11-44EC-BF56-408DF8153FC1}" dt="2020-07-27T05:54:12.536" v="19"/>
          <ac:spMkLst>
            <pc:docMk/>
            <pc:sldMk cId="0" sldId="264"/>
            <ac:spMk id="6" creationId="{00000000-0000-0000-0000-000000000000}"/>
          </ac:spMkLst>
        </pc:spChg>
        <pc:spChg chg="mod">
          <ac:chgData name="Mondal, Tanmay" userId="83c199d5-d146-4e16-b08e-fa47ebac23d7" providerId="ADAL" clId="{7889F8E4-3B11-44EC-BF56-408DF8153FC1}" dt="2020-07-27T05:54:12.536" v="19"/>
          <ac:spMkLst>
            <pc:docMk/>
            <pc:sldMk cId="0" sldId="264"/>
            <ac:spMk id="7" creationId="{00000000-0000-0000-0000-000000000000}"/>
          </ac:spMkLst>
        </pc:spChg>
        <pc:spChg chg="mod">
          <ac:chgData name="Mondal, Tanmay" userId="83c199d5-d146-4e16-b08e-fa47ebac23d7" providerId="ADAL" clId="{7889F8E4-3B11-44EC-BF56-408DF8153FC1}" dt="2020-07-27T05:54:12.536" v="19"/>
          <ac:spMkLst>
            <pc:docMk/>
            <pc:sldMk cId="0" sldId="264"/>
            <ac:spMk id="8" creationId="{00000000-0000-0000-0000-000000000000}"/>
          </ac:spMkLst>
        </pc:spChg>
        <pc:spChg chg="mod">
          <ac:chgData name="Mondal, Tanmay" userId="83c199d5-d146-4e16-b08e-fa47ebac23d7" providerId="ADAL" clId="{7889F8E4-3B11-44EC-BF56-408DF8153FC1}" dt="2020-07-27T05:54:12.536" v="19"/>
          <ac:spMkLst>
            <pc:docMk/>
            <pc:sldMk cId="0" sldId="264"/>
            <ac:spMk id="9" creationId="{00000000-0000-0000-0000-000000000000}"/>
          </ac:spMkLst>
        </pc:spChg>
        <pc:spChg chg="mod">
          <ac:chgData name="Mondal, Tanmay" userId="83c199d5-d146-4e16-b08e-fa47ebac23d7" providerId="ADAL" clId="{7889F8E4-3B11-44EC-BF56-408DF8153FC1}" dt="2020-07-27T05:54:12.536" v="19"/>
          <ac:spMkLst>
            <pc:docMk/>
            <pc:sldMk cId="0" sldId="264"/>
            <ac:spMk id="10" creationId="{00000000-0000-0000-0000-000000000000}"/>
          </ac:spMkLst>
        </pc:spChg>
        <pc:spChg chg="mod">
          <ac:chgData name="Mondal, Tanmay" userId="83c199d5-d146-4e16-b08e-fa47ebac23d7" providerId="ADAL" clId="{7889F8E4-3B11-44EC-BF56-408DF8153FC1}" dt="2020-07-27T05:54:12.536" v="19"/>
          <ac:spMkLst>
            <pc:docMk/>
            <pc:sldMk cId="0" sldId="264"/>
            <ac:spMk id="11" creationId="{00000000-0000-0000-0000-000000000000}"/>
          </ac:spMkLst>
        </pc:spChg>
        <pc:spChg chg="mod">
          <ac:chgData name="Mondal, Tanmay" userId="83c199d5-d146-4e16-b08e-fa47ebac23d7" providerId="ADAL" clId="{7889F8E4-3B11-44EC-BF56-408DF8153FC1}" dt="2020-07-27T05:54:12.536" v="19"/>
          <ac:spMkLst>
            <pc:docMk/>
            <pc:sldMk cId="0" sldId="264"/>
            <ac:spMk id="12" creationId="{00000000-0000-0000-0000-000000000000}"/>
          </ac:spMkLst>
        </pc:spChg>
        <pc:spChg chg="mod">
          <ac:chgData name="Mondal, Tanmay" userId="83c199d5-d146-4e16-b08e-fa47ebac23d7" providerId="ADAL" clId="{7889F8E4-3B11-44EC-BF56-408DF8153FC1}" dt="2020-07-27T05:54:12.536" v="19"/>
          <ac:spMkLst>
            <pc:docMk/>
            <pc:sldMk cId="0" sldId="264"/>
            <ac:spMk id="13" creationId="{00000000-0000-0000-0000-000000000000}"/>
          </ac:spMkLst>
        </pc:spChg>
        <pc:spChg chg="mod">
          <ac:chgData name="Mondal, Tanmay" userId="83c199d5-d146-4e16-b08e-fa47ebac23d7" providerId="ADAL" clId="{7889F8E4-3B11-44EC-BF56-408DF8153FC1}" dt="2020-07-27T05:54:12.536" v="19"/>
          <ac:spMkLst>
            <pc:docMk/>
            <pc:sldMk cId="0" sldId="264"/>
            <ac:spMk id="14" creationId="{00000000-0000-0000-0000-000000000000}"/>
          </ac:spMkLst>
        </pc:spChg>
        <pc:spChg chg="mod">
          <ac:chgData name="Mondal, Tanmay" userId="83c199d5-d146-4e16-b08e-fa47ebac23d7" providerId="ADAL" clId="{7889F8E4-3B11-44EC-BF56-408DF8153FC1}" dt="2020-07-27T05:54:12.536" v="19"/>
          <ac:spMkLst>
            <pc:docMk/>
            <pc:sldMk cId="0" sldId="264"/>
            <ac:spMk id="15" creationId="{00000000-0000-0000-0000-000000000000}"/>
          </ac:spMkLst>
        </pc:spChg>
        <pc:spChg chg="mod">
          <ac:chgData name="Mondal, Tanmay" userId="83c199d5-d146-4e16-b08e-fa47ebac23d7" providerId="ADAL" clId="{7889F8E4-3B11-44EC-BF56-408DF8153FC1}" dt="2020-07-27T05:54:12.536" v="19"/>
          <ac:spMkLst>
            <pc:docMk/>
            <pc:sldMk cId="0" sldId="264"/>
            <ac:spMk id="16" creationId="{00000000-0000-0000-0000-000000000000}"/>
          </ac:spMkLst>
        </pc:spChg>
        <pc:spChg chg="mod">
          <ac:chgData name="Mondal, Tanmay" userId="83c199d5-d146-4e16-b08e-fa47ebac23d7" providerId="ADAL" clId="{7889F8E4-3B11-44EC-BF56-408DF8153FC1}" dt="2020-07-27T05:54:12.536" v="19"/>
          <ac:spMkLst>
            <pc:docMk/>
            <pc:sldMk cId="0" sldId="264"/>
            <ac:spMk id="17" creationId="{00000000-0000-0000-0000-000000000000}"/>
          </ac:spMkLst>
        </pc:spChg>
        <pc:spChg chg="mod">
          <ac:chgData name="Mondal, Tanmay" userId="83c199d5-d146-4e16-b08e-fa47ebac23d7" providerId="ADAL" clId="{7889F8E4-3B11-44EC-BF56-408DF8153FC1}" dt="2020-07-27T05:54:12.536" v="19"/>
          <ac:spMkLst>
            <pc:docMk/>
            <pc:sldMk cId="0" sldId="264"/>
            <ac:spMk id="18" creationId="{00000000-0000-0000-0000-000000000000}"/>
          </ac:spMkLst>
        </pc:spChg>
        <pc:spChg chg="mod">
          <ac:chgData name="Mondal, Tanmay" userId="83c199d5-d146-4e16-b08e-fa47ebac23d7" providerId="ADAL" clId="{7889F8E4-3B11-44EC-BF56-408DF8153FC1}" dt="2020-07-27T05:54:12.536" v="19"/>
          <ac:spMkLst>
            <pc:docMk/>
            <pc:sldMk cId="0" sldId="264"/>
            <ac:spMk id="19" creationId="{00000000-0000-0000-0000-000000000000}"/>
          </ac:spMkLst>
        </pc:spChg>
        <pc:spChg chg="mod">
          <ac:chgData name="Mondal, Tanmay" userId="83c199d5-d146-4e16-b08e-fa47ebac23d7" providerId="ADAL" clId="{7889F8E4-3B11-44EC-BF56-408DF8153FC1}" dt="2020-07-27T05:54:12.536" v="19"/>
          <ac:spMkLst>
            <pc:docMk/>
            <pc:sldMk cId="0" sldId="264"/>
            <ac:spMk id="20" creationId="{00000000-0000-0000-0000-000000000000}"/>
          </ac:spMkLst>
        </pc:spChg>
        <pc:spChg chg="del mod">
          <ac:chgData name="Mondal, Tanmay" userId="83c199d5-d146-4e16-b08e-fa47ebac23d7" providerId="ADAL" clId="{7889F8E4-3B11-44EC-BF56-408DF8153FC1}" dt="2020-07-27T07:14:43.452" v="341" actId="478"/>
          <ac:spMkLst>
            <pc:docMk/>
            <pc:sldMk cId="0" sldId="264"/>
            <ac:spMk id="21" creationId="{00000000-0000-0000-0000-000000000000}"/>
          </ac:spMkLst>
        </pc:spChg>
        <pc:spChg chg="mod">
          <ac:chgData name="Mondal, Tanmay" userId="83c199d5-d146-4e16-b08e-fa47ebac23d7" providerId="ADAL" clId="{7889F8E4-3B11-44EC-BF56-408DF8153FC1}" dt="2020-07-27T05:54:12.536" v="19"/>
          <ac:spMkLst>
            <pc:docMk/>
            <pc:sldMk cId="0" sldId="264"/>
            <ac:spMk id="22" creationId="{00000000-0000-0000-0000-000000000000}"/>
          </ac:spMkLst>
        </pc:spChg>
        <pc:spChg chg="mod">
          <ac:chgData name="Mondal, Tanmay" userId="83c199d5-d146-4e16-b08e-fa47ebac23d7" providerId="ADAL" clId="{7889F8E4-3B11-44EC-BF56-408DF8153FC1}" dt="2020-07-27T05:54:12.536" v="19"/>
          <ac:spMkLst>
            <pc:docMk/>
            <pc:sldMk cId="0" sldId="264"/>
            <ac:spMk id="23" creationId="{00000000-0000-0000-0000-000000000000}"/>
          </ac:spMkLst>
        </pc:spChg>
        <pc:spChg chg="mod">
          <ac:chgData name="Mondal, Tanmay" userId="83c199d5-d146-4e16-b08e-fa47ebac23d7" providerId="ADAL" clId="{7889F8E4-3B11-44EC-BF56-408DF8153FC1}" dt="2020-07-27T05:54:12.536" v="19"/>
          <ac:spMkLst>
            <pc:docMk/>
            <pc:sldMk cId="0" sldId="264"/>
            <ac:spMk id="24" creationId="{00000000-0000-0000-0000-000000000000}"/>
          </ac:spMkLst>
        </pc:spChg>
        <pc:spChg chg="mod">
          <ac:chgData name="Mondal, Tanmay" userId="83c199d5-d146-4e16-b08e-fa47ebac23d7" providerId="ADAL" clId="{7889F8E4-3B11-44EC-BF56-408DF8153FC1}" dt="2020-07-27T05:54:12.536" v="19"/>
          <ac:spMkLst>
            <pc:docMk/>
            <pc:sldMk cId="0" sldId="264"/>
            <ac:spMk id="25" creationId="{00000000-0000-0000-0000-000000000000}"/>
          </ac:spMkLst>
        </pc:spChg>
        <pc:spChg chg="mod">
          <ac:chgData name="Mondal, Tanmay" userId="83c199d5-d146-4e16-b08e-fa47ebac23d7" providerId="ADAL" clId="{7889F8E4-3B11-44EC-BF56-408DF8153FC1}" dt="2020-07-27T05:54:12.536" v="19"/>
          <ac:spMkLst>
            <pc:docMk/>
            <pc:sldMk cId="0" sldId="264"/>
            <ac:spMk id="26" creationId="{00000000-0000-0000-0000-000000000000}"/>
          </ac:spMkLst>
        </pc:spChg>
        <pc:spChg chg="add del mod">
          <ac:chgData name="Mondal, Tanmay" userId="83c199d5-d146-4e16-b08e-fa47ebac23d7" providerId="ADAL" clId="{7889F8E4-3B11-44EC-BF56-408DF8153FC1}" dt="2020-07-27T07:13:10.015" v="290" actId="478"/>
          <ac:spMkLst>
            <pc:docMk/>
            <pc:sldMk cId="0" sldId="264"/>
            <ac:spMk id="27" creationId="{685F33E7-A452-4A52-875F-E2DB08D5C1C3}"/>
          </ac:spMkLst>
        </pc:spChg>
        <pc:spChg chg="mod">
          <ac:chgData name="Mondal, Tanmay" userId="83c199d5-d146-4e16-b08e-fa47ebac23d7" providerId="ADAL" clId="{7889F8E4-3B11-44EC-BF56-408DF8153FC1}" dt="2020-07-27T05:54:12.536" v="19"/>
          <ac:spMkLst>
            <pc:docMk/>
            <pc:sldMk cId="0" sldId="264"/>
            <ac:spMk id="28" creationId="{00000000-0000-0000-0000-000000000000}"/>
          </ac:spMkLst>
        </pc:spChg>
        <pc:spChg chg="mod">
          <ac:chgData name="Mondal, Tanmay" userId="83c199d5-d146-4e16-b08e-fa47ebac23d7" providerId="ADAL" clId="{7889F8E4-3B11-44EC-BF56-408DF8153FC1}" dt="2020-07-27T05:54:12.536" v="19"/>
          <ac:spMkLst>
            <pc:docMk/>
            <pc:sldMk cId="0" sldId="264"/>
            <ac:spMk id="29" creationId="{00000000-0000-0000-0000-000000000000}"/>
          </ac:spMkLst>
        </pc:spChg>
        <pc:spChg chg="mod">
          <ac:chgData name="Mondal, Tanmay" userId="83c199d5-d146-4e16-b08e-fa47ebac23d7" providerId="ADAL" clId="{7889F8E4-3B11-44EC-BF56-408DF8153FC1}" dt="2020-07-27T05:54:12.536" v="19"/>
          <ac:spMkLst>
            <pc:docMk/>
            <pc:sldMk cId="0" sldId="264"/>
            <ac:spMk id="30" creationId="{00000000-0000-0000-0000-000000000000}"/>
          </ac:spMkLst>
        </pc:spChg>
        <pc:spChg chg="mod">
          <ac:chgData name="Mondal, Tanmay" userId="83c199d5-d146-4e16-b08e-fa47ebac23d7" providerId="ADAL" clId="{7889F8E4-3B11-44EC-BF56-408DF8153FC1}" dt="2020-07-27T05:54:12.536" v="19"/>
          <ac:spMkLst>
            <pc:docMk/>
            <pc:sldMk cId="0" sldId="264"/>
            <ac:spMk id="31" creationId="{00000000-0000-0000-0000-000000000000}"/>
          </ac:spMkLst>
        </pc:spChg>
        <pc:spChg chg="mod">
          <ac:chgData name="Mondal, Tanmay" userId="83c199d5-d146-4e16-b08e-fa47ebac23d7" providerId="ADAL" clId="{7889F8E4-3B11-44EC-BF56-408DF8153FC1}" dt="2020-07-27T05:54:12.536" v="19"/>
          <ac:spMkLst>
            <pc:docMk/>
            <pc:sldMk cId="0" sldId="264"/>
            <ac:spMk id="32" creationId="{00000000-0000-0000-0000-000000000000}"/>
          </ac:spMkLst>
        </pc:spChg>
        <pc:spChg chg="mod">
          <ac:chgData name="Mondal, Tanmay" userId="83c199d5-d146-4e16-b08e-fa47ebac23d7" providerId="ADAL" clId="{7889F8E4-3B11-44EC-BF56-408DF8153FC1}" dt="2020-07-27T05:54:12.536" v="19"/>
          <ac:spMkLst>
            <pc:docMk/>
            <pc:sldMk cId="0" sldId="264"/>
            <ac:spMk id="33" creationId="{00000000-0000-0000-0000-000000000000}"/>
          </ac:spMkLst>
        </pc:spChg>
        <pc:spChg chg="mod">
          <ac:chgData name="Mondal, Tanmay" userId="83c199d5-d146-4e16-b08e-fa47ebac23d7" providerId="ADAL" clId="{7889F8E4-3B11-44EC-BF56-408DF8153FC1}" dt="2020-07-27T05:54:12.536" v="19"/>
          <ac:spMkLst>
            <pc:docMk/>
            <pc:sldMk cId="0" sldId="264"/>
            <ac:spMk id="34" creationId="{00000000-0000-0000-0000-000000000000}"/>
          </ac:spMkLst>
        </pc:spChg>
        <pc:spChg chg="mod">
          <ac:chgData name="Mondal, Tanmay" userId="83c199d5-d146-4e16-b08e-fa47ebac23d7" providerId="ADAL" clId="{7889F8E4-3B11-44EC-BF56-408DF8153FC1}" dt="2020-07-27T05:54:12.536" v="19"/>
          <ac:spMkLst>
            <pc:docMk/>
            <pc:sldMk cId="0" sldId="264"/>
            <ac:spMk id="35" creationId="{00000000-0000-0000-0000-000000000000}"/>
          </ac:spMkLst>
        </pc:spChg>
        <pc:spChg chg="mod">
          <ac:chgData name="Mondal, Tanmay" userId="83c199d5-d146-4e16-b08e-fa47ebac23d7" providerId="ADAL" clId="{7889F8E4-3B11-44EC-BF56-408DF8153FC1}" dt="2020-07-27T05:54:12.536" v="19"/>
          <ac:spMkLst>
            <pc:docMk/>
            <pc:sldMk cId="0" sldId="264"/>
            <ac:spMk id="36" creationId="{00000000-0000-0000-0000-000000000000}"/>
          </ac:spMkLst>
        </pc:spChg>
        <pc:spChg chg="mod">
          <ac:chgData name="Mondal, Tanmay" userId="83c199d5-d146-4e16-b08e-fa47ebac23d7" providerId="ADAL" clId="{7889F8E4-3B11-44EC-BF56-408DF8153FC1}" dt="2020-07-27T05:54:12.536" v="19"/>
          <ac:spMkLst>
            <pc:docMk/>
            <pc:sldMk cId="0" sldId="264"/>
            <ac:spMk id="37" creationId="{00000000-0000-0000-0000-000000000000}"/>
          </ac:spMkLst>
        </pc:spChg>
        <pc:spChg chg="mod">
          <ac:chgData name="Mondal, Tanmay" userId="83c199d5-d146-4e16-b08e-fa47ebac23d7" providerId="ADAL" clId="{7889F8E4-3B11-44EC-BF56-408DF8153FC1}" dt="2020-07-27T05:54:12.536" v="19"/>
          <ac:spMkLst>
            <pc:docMk/>
            <pc:sldMk cId="0" sldId="264"/>
            <ac:spMk id="38" creationId="{00000000-0000-0000-0000-000000000000}"/>
          </ac:spMkLst>
        </pc:spChg>
        <pc:spChg chg="mod">
          <ac:chgData name="Mondal, Tanmay" userId="83c199d5-d146-4e16-b08e-fa47ebac23d7" providerId="ADAL" clId="{7889F8E4-3B11-44EC-BF56-408DF8153FC1}" dt="2020-07-27T05:54:12.536" v="19"/>
          <ac:spMkLst>
            <pc:docMk/>
            <pc:sldMk cId="0" sldId="264"/>
            <ac:spMk id="39" creationId="{00000000-0000-0000-0000-000000000000}"/>
          </ac:spMkLst>
        </pc:spChg>
        <pc:spChg chg="mod">
          <ac:chgData name="Mondal, Tanmay" userId="83c199d5-d146-4e16-b08e-fa47ebac23d7" providerId="ADAL" clId="{7889F8E4-3B11-44EC-BF56-408DF8153FC1}" dt="2020-07-27T05:54:12.536" v="19"/>
          <ac:spMkLst>
            <pc:docMk/>
            <pc:sldMk cId="0" sldId="264"/>
            <ac:spMk id="40" creationId="{00000000-0000-0000-0000-000000000000}"/>
          </ac:spMkLst>
        </pc:spChg>
        <pc:spChg chg="mod">
          <ac:chgData name="Mondal, Tanmay" userId="83c199d5-d146-4e16-b08e-fa47ebac23d7" providerId="ADAL" clId="{7889F8E4-3B11-44EC-BF56-408DF8153FC1}" dt="2020-07-27T05:54:12.536" v="19"/>
          <ac:spMkLst>
            <pc:docMk/>
            <pc:sldMk cId="0" sldId="264"/>
            <ac:spMk id="41" creationId="{00000000-0000-0000-0000-000000000000}"/>
          </ac:spMkLst>
        </pc:spChg>
        <pc:spChg chg="mod">
          <ac:chgData name="Mondal, Tanmay" userId="83c199d5-d146-4e16-b08e-fa47ebac23d7" providerId="ADAL" clId="{7889F8E4-3B11-44EC-BF56-408DF8153FC1}" dt="2020-07-27T05:54:12.536" v="19"/>
          <ac:spMkLst>
            <pc:docMk/>
            <pc:sldMk cId="0" sldId="264"/>
            <ac:spMk id="42" creationId="{00000000-0000-0000-0000-000000000000}"/>
          </ac:spMkLst>
        </pc:spChg>
        <pc:spChg chg="mod">
          <ac:chgData name="Mondal, Tanmay" userId="83c199d5-d146-4e16-b08e-fa47ebac23d7" providerId="ADAL" clId="{7889F8E4-3B11-44EC-BF56-408DF8153FC1}" dt="2020-07-27T05:54:12.536" v="19"/>
          <ac:spMkLst>
            <pc:docMk/>
            <pc:sldMk cId="0" sldId="264"/>
            <ac:spMk id="43" creationId="{00000000-0000-0000-0000-000000000000}"/>
          </ac:spMkLst>
        </pc:spChg>
        <pc:spChg chg="mod">
          <ac:chgData name="Mondal, Tanmay" userId="83c199d5-d146-4e16-b08e-fa47ebac23d7" providerId="ADAL" clId="{7889F8E4-3B11-44EC-BF56-408DF8153FC1}" dt="2020-07-27T05:54:12.536" v="19"/>
          <ac:spMkLst>
            <pc:docMk/>
            <pc:sldMk cId="0" sldId="264"/>
            <ac:spMk id="44" creationId="{00000000-0000-0000-0000-000000000000}"/>
          </ac:spMkLst>
        </pc:spChg>
        <pc:spChg chg="mod">
          <ac:chgData name="Mondal, Tanmay" userId="83c199d5-d146-4e16-b08e-fa47ebac23d7" providerId="ADAL" clId="{7889F8E4-3B11-44EC-BF56-408DF8153FC1}" dt="2020-07-27T05:54:12.536" v="19"/>
          <ac:spMkLst>
            <pc:docMk/>
            <pc:sldMk cId="0" sldId="264"/>
            <ac:spMk id="45" creationId="{00000000-0000-0000-0000-000000000000}"/>
          </ac:spMkLst>
        </pc:spChg>
        <pc:spChg chg="mod">
          <ac:chgData name="Mondal, Tanmay" userId="83c199d5-d146-4e16-b08e-fa47ebac23d7" providerId="ADAL" clId="{7889F8E4-3B11-44EC-BF56-408DF8153FC1}" dt="2020-07-27T05:54:12.536" v="19"/>
          <ac:spMkLst>
            <pc:docMk/>
            <pc:sldMk cId="0" sldId="264"/>
            <ac:spMk id="46" creationId="{00000000-0000-0000-0000-000000000000}"/>
          </ac:spMkLst>
        </pc:spChg>
        <pc:spChg chg="mod">
          <ac:chgData name="Mondal, Tanmay" userId="83c199d5-d146-4e16-b08e-fa47ebac23d7" providerId="ADAL" clId="{7889F8E4-3B11-44EC-BF56-408DF8153FC1}" dt="2020-07-27T05:54:12.536" v="19"/>
          <ac:spMkLst>
            <pc:docMk/>
            <pc:sldMk cId="0" sldId="264"/>
            <ac:spMk id="47" creationId="{00000000-0000-0000-0000-000000000000}"/>
          </ac:spMkLst>
        </pc:spChg>
        <pc:spChg chg="mod">
          <ac:chgData name="Mondal, Tanmay" userId="83c199d5-d146-4e16-b08e-fa47ebac23d7" providerId="ADAL" clId="{7889F8E4-3B11-44EC-BF56-408DF8153FC1}" dt="2020-07-27T05:54:12.536" v="19"/>
          <ac:spMkLst>
            <pc:docMk/>
            <pc:sldMk cId="0" sldId="264"/>
            <ac:spMk id="48" creationId="{00000000-0000-0000-0000-000000000000}"/>
          </ac:spMkLst>
        </pc:spChg>
        <pc:spChg chg="mod">
          <ac:chgData name="Mondal, Tanmay" userId="83c199d5-d146-4e16-b08e-fa47ebac23d7" providerId="ADAL" clId="{7889F8E4-3B11-44EC-BF56-408DF8153FC1}" dt="2020-07-27T05:54:12.536" v="19"/>
          <ac:spMkLst>
            <pc:docMk/>
            <pc:sldMk cId="0" sldId="264"/>
            <ac:spMk id="49" creationId="{00000000-0000-0000-0000-000000000000}"/>
          </ac:spMkLst>
        </pc:spChg>
        <pc:spChg chg="mod">
          <ac:chgData name="Mondal, Tanmay" userId="83c199d5-d146-4e16-b08e-fa47ebac23d7" providerId="ADAL" clId="{7889F8E4-3B11-44EC-BF56-408DF8153FC1}" dt="2020-07-27T05:54:12.536" v="19"/>
          <ac:spMkLst>
            <pc:docMk/>
            <pc:sldMk cId="0" sldId="264"/>
            <ac:spMk id="50" creationId="{00000000-0000-0000-0000-000000000000}"/>
          </ac:spMkLst>
        </pc:spChg>
        <pc:spChg chg="mod">
          <ac:chgData name="Mondal, Tanmay" userId="83c199d5-d146-4e16-b08e-fa47ebac23d7" providerId="ADAL" clId="{7889F8E4-3B11-44EC-BF56-408DF8153FC1}" dt="2020-07-27T05:54:12.536" v="19"/>
          <ac:spMkLst>
            <pc:docMk/>
            <pc:sldMk cId="0" sldId="264"/>
            <ac:spMk id="51" creationId="{00000000-0000-0000-0000-000000000000}"/>
          </ac:spMkLst>
        </pc:spChg>
        <pc:spChg chg="mod">
          <ac:chgData name="Mondal, Tanmay" userId="83c199d5-d146-4e16-b08e-fa47ebac23d7" providerId="ADAL" clId="{7889F8E4-3B11-44EC-BF56-408DF8153FC1}" dt="2020-07-27T05:54:12.536" v="19"/>
          <ac:spMkLst>
            <pc:docMk/>
            <pc:sldMk cId="0" sldId="264"/>
            <ac:spMk id="52" creationId="{00000000-0000-0000-0000-000000000000}"/>
          </ac:spMkLst>
        </pc:spChg>
        <pc:spChg chg="mod">
          <ac:chgData name="Mondal, Tanmay" userId="83c199d5-d146-4e16-b08e-fa47ebac23d7" providerId="ADAL" clId="{7889F8E4-3B11-44EC-BF56-408DF8153FC1}" dt="2020-07-27T05:54:12.536" v="19"/>
          <ac:spMkLst>
            <pc:docMk/>
            <pc:sldMk cId="0" sldId="264"/>
            <ac:spMk id="53" creationId="{00000000-0000-0000-0000-000000000000}"/>
          </ac:spMkLst>
        </pc:spChg>
        <pc:spChg chg="mod">
          <ac:chgData name="Mondal, Tanmay" userId="83c199d5-d146-4e16-b08e-fa47ebac23d7" providerId="ADAL" clId="{7889F8E4-3B11-44EC-BF56-408DF8153FC1}" dt="2020-07-27T05:54:12.536" v="19"/>
          <ac:spMkLst>
            <pc:docMk/>
            <pc:sldMk cId="0" sldId="264"/>
            <ac:spMk id="54" creationId="{00000000-0000-0000-0000-000000000000}"/>
          </ac:spMkLst>
        </pc:spChg>
        <pc:spChg chg="mod">
          <ac:chgData name="Mondal, Tanmay" userId="83c199d5-d146-4e16-b08e-fa47ebac23d7" providerId="ADAL" clId="{7889F8E4-3B11-44EC-BF56-408DF8153FC1}" dt="2020-07-27T05:54:12.536" v="19"/>
          <ac:spMkLst>
            <pc:docMk/>
            <pc:sldMk cId="0" sldId="264"/>
            <ac:spMk id="55" creationId="{00000000-0000-0000-0000-000000000000}"/>
          </ac:spMkLst>
        </pc:spChg>
        <pc:spChg chg="mod">
          <ac:chgData name="Mondal, Tanmay" userId="83c199d5-d146-4e16-b08e-fa47ebac23d7" providerId="ADAL" clId="{7889F8E4-3B11-44EC-BF56-408DF8153FC1}" dt="2020-07-27T05:54:12.536" v="19"/>
          <ac:spMkLst>
            <pc:docMk/>
            <pc:sldMk cId="0" sldId="264"/>
            <ac:spMk id="56" creationId="{00000000-0000-0000-0000-000000000000}"/>
          </ac:spMkLst>
        </pc:spChg>
        <pc:spChg chg="mod">
          <ac:chgData name="Mondal, Tanmay" userId="83c199d5-d146-4e16-b08e-fa47ebac23d7" providerId="ADAL" clId="{7889F8E4-3B11-44EC-BF56-408DF8153FC1}" dt="2020-07-27T05:54:12.536" v="19"/>
          <ac:spMkLst>
            <pc:docMk/>
            <pc:sldMk cId="0" sldId="264"/>
            <ac:spMk id="57" creationId="{00000000-0000-0000-0000-000000000000}"/>
          </ac:spMkLst>
        </pc:spChg>
        <pc:spChg chg="mod">
          <ac:chgData name="Mondal, Tanmay" userId="83c199d5-d146-4e16-b08e-fa47ebac23d7" providerId="ADAL" clId="{7889F8E4-3B11-44EC-BF56-408DF8153FC1}" dt="2020-07-27T05:54:12.536" v="19"/>
          <ac:spMkLst>
            <pc:docMk/>
            <pc:sldMk cId="0" sldId="264"/>
            <ac:spMk id="58" creationId="{00000000-0000-0000-0000-000000000000}"/>
          </ac:spMkLst>
        </pc:spChg>
        <pc:spChg chg="mod">
          <ac:chgData name="Mondal, Tanmay" userId="83c199d5-d146-4e16-b08e-fa47ebac23d7" providerId="ADAL" clId="{7889F8E4-3B11-44EC-BF56-408DF8153FC1}" dt="2020-07-27T05:54:12.536" v="19"/>
          <ac:spMkLst>
            <pc:docMk/>
            <pc:sldMk cId="0" sldId="264"/>
            <ac:spMk id="59" creationId="{00000000-0000-0000-0000-000000000000}"/>
          </ac:spMkLst>
        </pc:spChg>
        <pc:spChg chg="mod">
          <ac:chgData name="Mondal, Tanmay" userId="83c199d5-d146-4e16-b08e-fa47ebac23d7" providerId="ADAL" clId="{7889F8E4-3B11-44EC-BF56-408DF8153FC1}" dt="2020-07-27T05:54:12.536" v="19"/>
          <ac:spMkLst>
            <pc:docMk/>
            <pc:sldMk cId="0" sldId="264"/>
            <ac:spMk id="60" creationId="{00000000-0000-0000-0000-000000000000}"/>
          </ac:spMkLst>
        </pc:spChg>
        <pc:spChg chg="mod">
          <ac:chgData name="Mondal, Tanmay" userId="83c199d5-d146-4e16-b08e-fa47ebac23d7" providerId="ADAL" clId="{7889F8E4-3B11-44EC-BF56-408DF8153FC1}" dt="2020-07-27T05:54:12.536" v="19"/>
          <ac:spMkLst>
            <pc:docMk/>
            <pc:sldMk cId="0" sldId="264"/>
            <ac:spMk id="61" creationId="{00000000-0000-0000-0000-000000000000}"/>
          </ac:spMkLst>
        </pc:spChg>
        <pc:spChg chg="mod">
          <ac:chgData name="Mondal, Tanmay" userId="83c199d5-d146-4e16-b08e-fa47ebac23d7" providerId="ADAL" clId="{7889F8E4-3B11-44EC-BF56-408DF8153FC1}" dt="2020-07-27T05:54:12.536" v="19"/>
          <ac:spMkLst>
            <pc:docMk/>
            <pc:sldMk cId="0" sldId="264"/>
            <ac:spMk id="62" creationId="{00000000-0000-0000-0000-000000000000}"/>
          </ac:spMkLst>
        </pc:spChg>
        <pc:spChg chg="mod">
          <ac:chgData name="Mondal, Tanmay" userId="83c199d5-d146-4e16-b08e-fa47ebac23d7" providerId="ADAL" clId="{7889F8E4-3B11-44EC-BF56-408DF8153FC1}" dt="2020-07-27T05:54:12.536" v="19"/>
          <ac:spMkLst>
            <pc:docMk/>
            <pc:sldMk cId="0" sldId="264"/>
            <ac:spMk id="63" creationId="{00000000-0000-0000-0000-000000000000}"/>
          </ac:spMkLst>
        </pc:spChg>
        <pc:spChg chg="mod">
          <ac:chgData name="Mondal, Tanmay" userId="83c199d5-d146-4e16-b08e-fa47ebac23d7" providerId="ADAL" clId="{7889F8E4-3B11-44EC-BF56-408DF8153FC1}" dt="2020-07-27T05:54:12.536" v="19"/>
          <ac:spMkLst>
            <pc:docMk/>
            <pc:sldMk cId="0" sldId="264"/>
            <ac:spMk id="64" creationId="{00000000-0000-0000-0000-000000000000}"/>
          </ac:spMkLst>
        </pc:spChg>
        <pc:spChg chg="mod">
          <ac:chgData name="Mondal, Tanmay" userId="83c199d5-d146-4e16-b08e-fa47ebac23d7" providerId="ADAL" clId="{7889F8E4-3B11-44EC-BF56-408DF8153FC1}" dt="2020-07-27T05:54:12.536" v="19"/>
          <ac:spMkLst>
            <pc:docMk/>
            <pc:sldMk cId="0" sldId="264"/>
            <ac:spMk id="65" creationId="{00000000-0000-0000-0000-000000000000}"/>
          </ac:spMkLst>
        </pc:spChg>
        <pc:spChg chg="mod">
          <ac:chgData name="Mondal, Tanmay" userId="83c199d5-d146-4e16-b08e-fa47ebac23d7" providerId="ADAL" clId="{7889F8E4-3B11-44EC-BF56-408DF8153FC1}" dt="2020-07-27T05:54:12.536" v="19"/>
          <ac:spMkLst>
            <pc:docMk/>
            <pc:sldMk cId="0" sldId="264"/>
            <ac:spMk id="66" creationId="{00000000-0000-0000-0000-000000000000}"/>
          </ac:spMkLst>
        </pc:spChg>
        <pc:spChg chg="mod">
          <ac:chgData name="Mondal, Tanmay" userId="83c199d5-d146-4e16-b08e-fa47ebac23d7" providerId="ADAL" clId="{7889F8E4-3B11-44EC-BF56-408DF8153FC1}" dt="2020-07-27T05:54:12.536" v="19"/>
          <ac:spMkLst>
            <pc:docMk/>
            <pc:sldMk cId="0" sldId="264"/>
            <ac:spMk id="67" creationId="{00000000-0000-0000-0000-000000000000}"/>
          </ac:spMkLst>
        </pc:spChg>
        <pc:spChg chg="mod">
          <ac:chgData name="Mondal, Tanmay" userId="83c199d5-d146-4e16-b08e-fa47ebac23d7" providerId="ADAL" clId="{7889F8E4-3B11-44EC-BF56-408DF8153FC1}" dt="2020-07-27T05:54:12.536" v="19"/>
          <ac:spMkLst>
            <pc:docMk/>
            <pc:sldMk cId="0" sldId="264"/>
            <ac:spMk id="68" creationId="{00000000-0000-0000-0000-000000000000}"/>
          </ac:spMkLst>
        </pc:spChg>
        <pc:spChg chg="mod">
          <ac:chgData name="Mondal, Tanmay" userId="83c199d5-d146-4e16-b08e-fa47ebac23d7" providerId="ADAL" clId="{7889F8E4-3B11-44EC-BF56-408DF8153FC1}" dt="2020-07-27T05:54:12.536" v="19"/>
          <ac:spMkLst>
            <pc:docMk/>
            <pc:sldMk cId="0" sldId="264"/>
            <ac:spMk id="69" creationId="{00000000-0000-0000-0000-000000000000}"/>
          </ac:spMkLst>
        </pc:spChg>
        <pc:spChg chg="mod">
          <ac:chgData name="Mondal, Tanmay" userId="83c199d5-d146-4e16-b08e-fa47ebac23d7" providerId="ADAL" clId="{7889F8E4-3B11-44EC-BF56-408DF8153FC1}" dt="2020-07-27T05:54:12.536" v="19"/>
          <ac:spMkLst>
            <pc:docMk/>
            <pc:sldMk cId="0" sldId="264"/>
            <ac:spMk id="70" creationId="{00000000-0000-0000-0000-000000000000}"/>
          </ac:spMkLst>
        </pc:spChg>
        <pc:spChg chg="mod">
          <ac:chgData name="Mondal, Tanmay" userId="83c199d5-d146-4e16-b08e-fa47ebac23d7" providerId="ADAL" clId="{7889F8E4-3B11-44EC-BF56-408DF8153FC1}" dt="2020-07-27T05:54:12.536" v="19"/>
          <ac:spMkLst>
            <pc:docMk/>
            <pc:sldMk cId="0" sldId="264"/>
            <ac:spMk id="71" creationId="{00000000-0000-0000-0000-000000000000}"/>
          </ac:spMkLst>
        </pc:spChg>
        <pc:spChg chg="mod">
          <ac:chgData name="Mondal, Tanmay" userId="83c199d5-d146-4e16-b08e-fa47ebac23d7" providerId="ADAL" clId="{7889F8E4-3B11-44EC-BF56-408DF8153FC1}" dt="2020-07-27T05:54:12.536" v="19"/>
          <ac:spMkLst>
            <pc:docMk/>
            <pc:sldMk cId="0" sldId="264"/>
            <ac:spMk id="72" creationId="{00000000-0000-0000-0000-000000000000}"/>
          </ac:spMkLst>
        </pc:spChg>
        <pc:spChg chg="mod">
          <ac:chgData name="Mondal, Tanmay" userId="83c199d5-d146-4e16-b08e-fa47ebac23d7" providerId="ADAL" clId="{7889F8E4-3B11-44EC-BF56-408DF8153FC1}" dt="2020-07-27T05:54:12.536" v="19"/>
          <ac:spMkLst>
            <pc:docMk/>
            <pc:sldMk cId="0" sldId="264"/>
            <ac:spMk id="73" creationId="{00000000-0000-0000-0000-000000000000}"/>
          </ac:spMkLst>
        </pc:spChg>
        <pc:spChg chg="mod">
          <ac:chgData name="Mondal, Tanmay" userId="83c199d5-d146-4e16-b08e-fa47ebac23d7" providerId="ADAL" clId="{7889F8E4-3B11-44EC-BF56-408DF8153FC1}" dt="2020-07-27T05:54:12.536" v="19"/>
          <ac:spMkLst>
            <pc:docMk/>
            <pc:sldMk cId="0" sldId="264"/>
            <ac:spMk id="74" creationId="{00000000-0000-0000-0000-000000000000}"/>
          </ac:spMkLst>
        </pc:spChg>
        <pc:spChg chg="mod">
          <ac:chgData name="Mondal, Tanmay" userId="83c199d5-d146-4e16-b08e-fa47ebac23d7" providerId="ADAL" clId="{7889F8E4-3B11-44EC-BF56-408DF8153FC1}" dt="2020-07-27T05:54:12.536" v="19"/>
          <ac:spMkLst>
            <pc:docMk/>
            <pc:sldMk cId="0" sldId="264"/>
            <ac:spMk id="75" creationId="{00000000-0000-0000-0000-000000000000}"/>
          </ac:spMkLst>
        </pc:spChg>
        <pc:spChg chg="mod">
          <ac:chgData name="Mondal, Tanmay" userId="83c199d5-d146-4e16-b08e-fa47ebac23d7" providerId="ADAL" clId="{7889F8E4-3B11-44EC-BF56-408DF8153FC1}" dt="2020-07-27T05:54:12.536" v="19"/>
          <ac:spMkLst>
            <pc:docMk/>
            <pc:sldMk cId="0" sldId="264"/>
            <ac:spMk id="76" creationId="{00000000-0000-0000-0000-000000000000}"/>
          </ac:spMkLst>
        </pc:spChg>
        <pc:spChg chg="mod">
          <ac:chgData name="Mondal, Tanmay" userId="83c199d5-d146-4e16-b08e-fa47ebac23d7" providerId="ADAL" clId="{7889F8E4-3B11-44EC-BF56-408DF8153FC1}" dt="2020-07-27T05:54:12.536" v="19"/>
          <ac:spMkLst>
            <pc:docMk/>
            <pc:sldMk cId="0" sldId="264"/>
            <ac:spMk id="77" creationId="{00000000-0000-0000-0000-000000000000}"/>
          </ac:spMkLst>
        </pc:spChg>
        <pc:spChg chg="mod">
          <ac:chgData name="Mondal, Tanmay" userId="83c199d5-d146-4e16-b08e-fa47ebac23d7" providerId="ADAL" clId="{7889F8E4-3B11-44EC-BF56-408DF8153FC1}" dt="2020-07-27T05:54:12.536" v="19"/>
          <ac:spMkLst>
            <pc:docMk/>
            <pc:sldMk cId="0" sldId="264"/>
            <ac:spMk id="78" creationId="{00000000-0000-0000-0000-000000000000}"/>
          </ac:spMkLst>
        </pc:spChg>
        <pc:spChg chg="mod">
          <ac:chgData name="Mondal, Tanmay" userId="83c199d5-d146-4e16-b08e-fa47ebac23d7" providerId="ADAL" clId="{7889F8E4-3B11-44EC-BF56-408DF8153FC1}" dt="2020-07-27T05:54:12.536" v="19"/>
          <ac:spMkLst>
            <pc:docMk/>
            <pc:sldMk cId="0" sldId="264"/>
            <ac:spMk id="79" creationId="{00000000-0000-0000-0000-000000000000}"/>
          </ac:spMkLst>
        </pc:spChg>
        <pc:spChg chg="mod">
          <ac:chgData name="Mondal, Tanmay" userId="83c199d5-d146-4e16-b08e-fa47ebac23d7" providerId="ADAL" clId="{7889F8E4-3B11-44EC-BF56-408DF8153FC1}" dt="2020-07-27T05:54:12.536" v="19"/>
          <ac:spMkLst>
            <pc:docMk/>
            <pc:sldMk cId="0" sldId="264"/>
            <ac:spMk id="80" creationId="{00000000-0000-0000-0000-000000000000}"/>
          </ac:spMkLst>
        </pc:spChg>
        <pc:spChg chg="mod">
          <ac:chgData name="Mondal, Tanmay" userId="83c199d5-d146-4e16-b08e-fa47ebac23d7" providerId="ADAL" clId="{7889F8E4-3B11-44EC-BF56-408DF8153FC1}" dt="2020-07-27T05:54:12.536" v="19"/>
          <ac:spMkLst>
            <pc:docMk/>
            <pc:sldMk cId="0" sldId="264"/>
            <ac:spMk id="81" creationId="{00000000-0000-0000-0000-000000000000}"/>
          </ac:spMkLst>
        </pc:spChg>
        <pc:spChg chg="mod">
          <ac:chgData name="Mondal, Tanmay" userId="83c199d5-d146-4e16-b08e-fa47ebac23d7" providerId="ADAL" clId="{7889F8E4-3B11-44EC-BF56-408DF8153FC1}" dt="2020-07-27T05:54:12.536" v="19"/>
          <ac:spMkLst>
            <pc:docMk/>
            <pc:sldMk cId="0" sldId="264"/>
            <ac:spMk id="82" creationId="{00000000-0000-0000-0000-000000000000}"/>
          </ac:spMkLst>
        </pc:spChg>
        <pc:spChg chg="mod">
          <ac:chgData name="Mondal, Tanmay" userId="83c199d5-d146-4e16-b08e-fa47ebac23d7" providerId="ADAL" clId="{7889F8E4-3B11-44EC-BF56-408DF8153FC1}" dt="2020-07-27T05:54:12.536" v="19"/>
          <ac:spMkLst>
            <pc:docMk/>
            <pc:sldMk cId="0" sldId="264"/>
            <ac:spMk id="83" creationId="{00000000-0000-0000-0000-000000000000}"/>
          </ac:spMkLst>
        </pc:spChg>
        <pc:spChg chg="mod">
          <ac:chgData name="Mondal, Tanmay" userId="83c199d5-d146-4e16-b08e-fa47ebac23d7" providerId="ADAL" clId="{7889F8E4-3B11-44EC-BF56-408DF8153FC1}" dt="2020-07-27T05:54:12.536" v="19"/>
          <ac:spMkLst>
            <pc:docMk/>
            <pc:sldMk cId="0" sldId="264"/>
            <ac:spMk id="84" creationId="{00000000-0000-0000-0000-000000000000}"/>
          </ac:spMkLst>
        </pc:spChg>
        <pc:spChg chg="mod">
          <ac:chgData name="Mondal, Tanmay" userId="83c199d5-d146-4e16-b08e-fa47ebac23d7" providerId="ADAL" clId="{7889F8E4-3B11-44EC-BF56-408DF8153FC1}" dt="2020-07-27T05:54:12.536" v="19"/>
          <ac:spMkLst>
            <pc:docMk/>
            <pc:sldMk cId="0" sldId="264"/>
            <ac:spMk id="85" creationId="{00000000-0000-0000-0000-000000000000}"/>
          </ac:spMkLst>
        </pc:spChg>
        <pc:spChg chg="mod">
          <ac:chgData name="Mondal, Tanmay" userId="83c199d5-d146-4e16-b08e-fa47ebac23d7" providerId="ADAL" clId="{7889F8E4-3B11-44EC-BF56-408DF8153FC1}" dt="2020-07-27T05:54:12.536" v="19"/>
          <ac:spMkLst>
            <pc:docMk/>
            <pc:sldMk cId="0" sldId="264"/>
            <ac:spMk id="86" creationId="{00000000-0000-0000-0000-000000000000}"/>
          </ac:spMkLst>
        </pc:spChg>
        <pc:spChg chg="mod">
          <ac:chgData name="Mondal, Tanmay" userId="83c199d5-d146-4e16-b08e-fa47ebac23d7" providerId="ADAL" clId="{7889F8E4-3B11-44EC-BF56-408DF8153FC1}" dt="2020-07-27T05:54:12.536" v="19"/>
          <ac:spMkLst>
            <pc:docMk/>
            <pc:sldMk cId="0" sldId="264"/>
            <ac:spMk id="87" creationId="{00000000-0000-0000-0000-000000000000}"/>
          </ac:spMkLst>
        </pc:spChg>
        <pc:spChg chg="mod">
          <ac:chgData name="Mondal, Tanmay" userId="83c199d5-d146-4e16-b08e-fa47ebac23d7" providerId="ADAL" clId="{7889F8E4-3B11-44EC-BF56-408DF8153FC1}" dt="2020-07-27T05:54:12.536" v="19"/>
          <ac:spMkLst>
            <pc:docMk/>
            <pc:sldMk cId="0" sldId="264"/>
            <ac:spMk id="88" creationId="{00000000-0000-0000-0000-000000000000}"/>
          </ac:spMkLst>
        </pc:spChg>
        <pc:spChg chg="mod">
          <ac:chgData name="Mondal, Tanmay" userId="83c199d5-d146-4e16-b08e-fa47ebac23d7" providerId="ADAL" clId="{7889F8E4-3B11-44EC-BF56-408DF8153FC1}" dt="2020-07-27T05:54:12.536" v="19"/>
          <ac:spMkLst>
            <pc:docMk/>
            <pc:sldMk cId="0" sldId="264"/>
            <ac:spMk id="89" creationId="{00000000-0000-0000-0000-000000000000}"/>
          </ac:spMkLst>
        </pc:spChg>
        <pc:spChg chg="mod">
          <ac:chgData name="Mondal, Tanmay" userId="83c199d5-d146-4e16-b08e-fa47ebac23d7" providerId="ADAL" clId="{7889F8E4-3B11-44EC-BF56-408DF8153FC1}" dt="2020-07-27T05:54:12.536" v="19"/>
          <ac:spMkLst>
            <pc:docMk/>
            <pc:sldMk cId="0" sldId="264"/>
            <ac:spMk id="90" creationId="{00000000-0000-0000-0000-000000000000}"/>
          </ac:spMkLst>
        </pc:spChg>
        <pc:spChg chg="mod">
          <ac:chgData name="Mondal, Tanmay" userId="83c199d5-d146-4e16-b08e-fa47ebac23d7" providerId="ADAL" clId="{7889F8E4-3B11-44EC-BF56-408DF8153FC1}" dt="2020-07-27T05:54:12.536" v="19"/>
          <ac:spMkLst>
            <pc:docMk/>
            <pc:sldMk cId="0" sldId="264"/>
            <ac:spMk id="91" creationId="{00000000-0000-0000-0000-000000000000}"/>
          </ac:spMkLst>
        </pc:spChg>
        <pc:spChg chg="mod">
          <ac:chgData name="Mondal, Tanmay" userId="83c199d5-d146-4e16-b08e-fa47ebac23d7" providerId="ADAL" clId="{7889F8E4-3B11-44EC-BF56-408DF8153FC1}" dt="2020-07-27T05:54:12.536" v="19"/>
          <ac:spMkLst>
            <pc:docMk/>
            <pc:sldMk cId="0" sldId="264"/>
            <ac:spMk id="92" creationId="{00000000-0000-0000-0000-000000000000}"/>
          </ac:spMkLst>
        </pc:spChg>
        <pc:spChg chg="mod">
          <ac:chgData name="Mondal, Tanmay" userId="83c199d5-d146-4e16-b08e-fa47ebac23d7" providerId="ADAL" clId="{7889F8E4-3B11-44EC-BF56-408DF8153FC1}" dt="2020-07-27T05:54:12.536" v="19"/>
          <ac:spMkLst>
            <pc:docMk/>
            <pc:sldMk cId="0" sldId="264"/>
            <ac:spMk id="93" creationId="{00000000-0000-0000-0000-000000000000}"/>
          </ac:spMkLst>
        </pc:spChg>
        <pc:spChg chg="mod">
          <ac:chgData name="Mondal, Tanmay" userId="83c199d5-d146-4e16-b08e-fa47ebac23d7" providerId="ADAL" clId="{7889F8E4-3B11-44EC-BF56-408DF8153FC1}" dt="2020-07-27T05:54:12.536" v="19"/>
          <ac:spMkLst>
            <pc:docMk/>
            <pc:sldMk cId="0" sldId="264"/>
            <ac:spMk id="94" creationId="{00000000-0000-0000-0000-000000000000}"/>
          </ac:spMkLst>
        </pc:spChg>
        <pc:spChg chg="mod">
          <ac:chgData name="Mondal, Tanmay" userId="83c199d5-d146-4e16-b08e-fa47ebac23d7" providerId="ADAL" clId="{7889F8E4-3B11-44EC-BF56-408DF8153FC1}" dt="2020-07-27T05:54:12.536" v="19"/>
          <ac:spMkLst>
            <pc:docMk/>
            <pc:sldMk cId="0" sldId="264"/>
            <ac:spMk id="95" creationId="{00000000-0000-0000-0000-000000000000}"/>
          </ac:spMkLst>
        </pc:spChg>
        <pc:spChg chg="mod">
          <ac:chgData name="Mondal, Tanmay" userId="83c199d5-d146-4e16-b08e-fa47ebac23d7" providerId="ADAL" clId="{7889F8E4-3B11-44EC-BF56-408DF8153FC1}" dt="2020-07-27T05:54:12.536" v="19"/>
          <ac:spMkLst>
            <pc:docMk/>
            <pc:sldMk cId="0" sldId="264"/>
            <ac:spMk id="96" creationId="{00000000-0000-0000-0000-000000000000}"/>
          </ac:spMkLst>
        </pc:spChg>
        <pc:spChg chg="mod">
          <ac:chgData name="Mondal, Tanmay" userId="83c199d5-d146-4e16-b08e-fa47ebac23d7" providerId="ADAL" clId="{7889F8E4-3B11-44EC-BF56-408DF8153FC1}" dt="2020-07-27T05:54:12.536" v="19"/>
          <ac:spMkLst>
            <pc:docMk/>
            <pc:sldMk cId="0" sldId="264"/>
            <ac:spMk id="97" creationId="{00000000-0000-0000-0000-000000000000}"/>
          </ac:spMkLst>
        </pc:spChg>
        <pc:spChg chg="mod">
          <ac:chgData name="Mondal, Tanmay" userId="83c199d5-d146-4e16-b08e-fa47ebac23d7" providerId="ADAL" clId="{7889F8E4-3B11-44EC-BF56-408DF8153FC1}" dt="2020-07-27T05:54:12.536" v="19"/>
          <ac:spMkLst>
            <pc:docMk/>
            <pc:sldMk cId="0" sldId="264"/>
            <ac:spMk id="98" creationId="{00000000-0000-0000-0000-000000000000}"/>
          </ac:spMkLst>
        </pc:spChg>
        <pc:spChg chg="mod">
          <ac:chgData name="Mondal, Tanmay" userId="83c199d5-d146-4e16-b08e-fa47ebac23d7" providerId="ADAL" clId="{7889F8E4-3B11-44EC-BF56-408DF8153FC1}" dt="2020-07-27T05:54:12.536" v="19"/>
          <ac:spMkLst>
            <pc:docMk/>
            <pc:sldMk cId="0" sldId="264"/>
            <ac:spMk id="99" creationId="{00000000-0000-0000-0000-000000000000}"/>
          </ac:spMkLst>
        </pc:spChg>
        <pc:spChg chg="mod">
          <ac:chgData name="Mondal, Tanmay" userId="83c199d5-d146-4e16-b08e-fa47ebac23d7" providerId="ADAL" clId="{7889F8E4-3B11-44EC-BF56-408DF8153FC1}" dt="2020-07-27T05:54:12.536" v="19"/>
          <ac:spMkLst>
            <pc:docMk/>
            <pc:sldMk cId="0" sldId="264"/>
            <ac:spMk id="100" creationId="{00000000-0000-0000-0000-000000000000}"/>
          </ac:spMkLst>
        </pc:spChg>
        <pc:spChg chg="mod">
          <ac:chgData name="Mondal, Tanmay" userId="83c199d5-d146-4e16-b08e-fa47ebac23d7" providerId="ADAL" clId="{7889F8E4-3B11-44EC-BF56-408DF8153FC1}" dt="2020-07-27T05:54:12.536" v="19"/>
          <ac:spMkLst>
            <pc:docMk/>
            <pc:sldMk cId="0" sldId="264"/>
            <ac:spMk id="101" creationId="{00000000-0000-0000-0000-000000000000}"/>
          </ac:spMkLst>
        </pc:spChg>
        <pc:spChg chg="mod">
          <ac:chgData name="Mondal, Tanmay" userId="83c199d5-d146-4e16-b08e-fa47ebac23d7" providerId="ADAL" clId="{7889F8E4-3B11-44EC-BF56-408DF8153FC1}" dt="2020-07-27T05:54:12.536" v="19"/>
          <ac:spMkLst>
            <pc:docMk/>
            <pc:sldMk cId="0" sldId="264"/>
            <ac:spMk id="102" creationId="{00000000-0000-0000-0000-000000000000}"/>
          </ac:spMkLst>
        </pc:spChg>
        <pc:spChg chg="mod">
          <ac:chgData name="Mondal, Tanmay" userId="83c199d5-d146-4e16-b08e-fa47ebac23d7" providerId="ADAL" clId="{7889F8E4-3B11-44EC-BF56-408DF8153FC1}" dt="2020-07-27T05:54:12.536" v="19"/>
          <ac:spMkLst>
            <pc:docMk/>
            <pc:sldMk cId="0" sldId="264"/>
            <ac:spMk id="103" creationId="{00000000-0000-0000-0000-000000000000}"/>
          </ac:spMkLst>
        </pc:spChg>
        <pc:spChg chg="mod">
          <ac:chgData name="Mondal, Tanmay" userId="83c199d5-d146-4e16-b08e-fa47ebac23d7" providerId="ADAL" clId="{7889F8E4-3B11-44EC-BF56-408DF8153FC1}" dt="2020-07-27T05:54:12.536" v="19"/>
          <ac:spMkLst>
            <pc:docMk/>
            <pc:sldMk cId="0" sldId="264"/>
            <ac:spMk id="104" creationId="{00000000-0000-0000-0000-000000000000}"/>
          </ac:spMkLst>
        </pc:spChg>
        <pc:spChg chg="mod">
          <ac:chgData name="Mondal, Tanmay" userId="83c199d5-d146-4e16-b08e-fa47ebac23d7" providerId="ADAL" clId="{7889F8E4-3B11-44EC-BF56-408DF8153FC1}" dt="2020-07-27T05:54:12.536" v="19"/>
          <ac:spMkLst>
            <pc:docMk/>
            <pc:sldMk cId="0" sldId="264"/>
            <ac:spMk id="105" creationId="{00000000-0000-0000-0000-000000000000}"/>
          </ac:spMkLst>
        </pc:spChg>
        <pc:spChg chg="mod">
          <ac:chgData name="Mondal, Tanmay" userId="83c199d5-d146-4e16-b08e-fa47ebac23d7" providerId="ADAL" clId="{7889F8E4-3B11-44EC-BF56-408DF8153FC1}" dt="2020-07-27T05:54:12.536" v="19"/>
          <ac:spMkLst>
            <pc:docMk/>
            <pc:sldMk cId="0" sldId="264"/>
            <ac:spMk id="106" creationId="{00000000-0000-0000-0000-000000000000}"/>
          </ac:spMkLst>
        </pc:spChg>
        <pc:spChg chg="mod">
          <ac:chgData name="Mondal, Tanmay" userId="83c199d5-d146-4e16-b08e-fa47ebac23d7" providerId="ADAL" clId="{7889F8E4-3B11-44EC-BF56-408DF8153FC1}" dt="2020-07-27T05:54:12.536" v="19"/>
          <ac:spMkLst>
            <pc:docMk/>
            <pc:sldMk cId="0" sldId="264"/>
            <ac:spMk id="107" creationId="{00000000-0000-0000-0000-000000000000}"/>
          </ac:spMkLst>
        </pc:spChg>
        <pc:spChg chg="mod">
          <ac:chgData name="Mondal, Tanmay" userId="83c199d5-d146-4e16-b08e-fa47ebac23d7" providerId="ADAL" clId="{7889F8E4-3B11-44EC-BF56-408DF8153FC1}" dt="2020-07-27T05:54:12.536" v="19"/>
          <ac:spMkLst>
            <pc:docMk/>
            <pc:sldMk cId="0" sldId="264"/>
            <ac:spMk id="108" creationId="{00000000-0000-0000-0000-000000000000}"/>
          </ac:spMkLst>
        </pc:spChg>
        <pc:spChg chg="mod">
          <ac:chgData name="Mondal, Tanmay" userId="83c199d5-d146-4e16-b08e-fa47ebac23d7" providerId="ADAL" clId="{7889F8E4-3B11-44EC-BF56-408DF8153FC1}" dt="2020-07-27T05:54:12.536" v="19"/>
          <ac:spMkLst>
            <pc:docMk/>
            <pc:sldMk cId="0" sldId="264"/>
            <ac:spMk id="109" creationId="{00000000-0000-0000-0000-000000000000}"/>
          </ac:spMkLst>
        </pc:spChg>
        <pc:spChg chg="mod">
          <ac:chgData name="Mondal, Tanmay" userId="83c199d5-d146-4e16-b08e-fa47ebac23d7" providerId="ADAL" clId="{7889F8E4-3B11-44EC-BF56-408DF8153FC1}" dt="2020-07-27T05:54:12.536" v="19"/>
          <ac:spMkLst>
            <pc:docMk/>
            <pc:sldMk cId="0" sldId="264"/>
            <ac:spMk id="110" creationId="{00000000-0000-0000-0000-000000000000}"/>
          </ac:spMkLst>
        </pc:spChg>
        <pc:spChg chg="mod">
          <ac:chgData name="Mondal, Tanmay" userId="83c199d5-d146-4e16-b08e-fa47ebac23d7" providerId="ADAL" clId="{7889F8E4-3B11-44EC-BF56-408DF8153FC1}" dt="2020-07-27T05:54:12.536" v="19"/>
          <ac:spMkLst>
            <pc:docMk/>
            <pc:sldMk cId="0" sldId="264"/>
            <ac:spMk id="111" creationId="{00000000-0000-0000-0000-000000000000}"/>
          </ac:spMkLst>
        </pc:spChg>
        <pc:spChg chg="mod">
          <ac:chgData name="Mondal, Tanmay" userId="83c199d5-d146-4e16-b08e-fa47ebac23d7" providerId="ADAL" clId="{7889F8E4-3B11-44EC-BF56-408DF8153FC1}" dt="2020-07-27T05:54:12.536" v="19"/>
          <ac:spMkLst>
            <pc:docMk/>
            <pc:sldMk cId="0" sldId="264"/>
            <ac:spMk id="112" creationId="{00000000-0000-0000-0000-000000000000}"/>
          </ac:spMkLst>
        </pc:spChg>
        <pc:spChg chg="mod">
          <ac:chgData name="Mondal, Tanmay" userId="83c199d5-d146-4e16-b08e-fa47ebac23d7" providerId="ADAL" clId="{7889F8E4-3B11-44EC-BF56-408DF8153FC1}" dt="2020-07-27T05:54:12.536" v="19"/>
          <ac:spMkLst>
            <pc:docMk/>
            <pc:sldMk cId="0" sldId="264"/>
            <ac:spMk id="113" creationId="{00000000-0000-0000-0000-000000000000}"/>
          </ac:spMkLst>
        </pc:spChg>
        <pc:spChg chg="mod">
          <ac:chgData name="Mondal, Tanmay" userId="83c199d5-d146-4e16-b08e-fa47ebac23d7" providerId="ADAL" clId="{7889F8E4-3B11-44EC-BF56-408DF8153FC1}" dt="2020-07-27T05:54:12.536" v="19"/>
          <ac:spMkLst>
            <pc:docMk/>
            <pc:sldMk cId="0" sldId="264"/>
            <ac:spMk id="114" creationId="{00000000-0000-0000-0000-000000000000}"/>
          </ac:spMkLst>
        </pc:spChg>
        <pc:spChg chg="mod">
          <ac:chgData name="Mondal, Tanmay" userId="83c199d5-d146-4e16-b08e-fa47ebac23d7" providerId="ADAL" clId="{7889F8E4-3B11-44EC-BF56-408DF8153FC1}" dt="2020-07-27T05:54:12.536" v="19"/>
          <ac:spMkLst>
            <pc:docMk/>
            <pc:sldMk cId="0" sldId="264"/>
            <ac:spMk id="115" creationId="{00000000-0000-0000-0000-000000000000}"/>
          </ac:spMkLst>
        </pc:spChg>
        <pc:spChg chg="mod">
          <ac:chgData name="Mondal, Tanmay" userId="83c199d5-d146-4e16-b08e-fa47ebac23d7" providerId="ADAL" clId="{7889F8E4-3B11-44EC-BF56-408DF8153FC1}" dt="2020-07-27T05:54:12.536" v="19"/>
          <ac:spMkLst>
            <pc:docMk/>
            <pc:sldMk cId="0" sldId="264"/>
            <ac:spMk id="116" creationId="{00000000-0000-0000-0000-000000000000}"/>
          </ac:spMkLst>
        </pc:spChg>
        <pc:spChg chg="mod">
          <ac:chgData name="Mondal, Tanmay" userId="83c199d5-d146-4e16-b08e-fa47ebac23d7" providerId="ADAL" clId="{7889F8E4-3B11-44EC-BF56-408DF8153FC1}" dt="2020-07-27T05:54:12.536" v="19"/>
          <ac:spMkLst>
            <pc:docMk/>
            <pc:sldMk cId="0" sldId="264"/>
            <ac:spMk id="117" creationId="{00000000-0000-0000-0000-000000000000}"/>
          </ac:spMkLst>
        </pc:spChg>
        <pc:spChg chg="mod">
          <ac:chgData name="Mondal, Tanmay" userId="83c199d5-d146-4e16-b08e-fa47ebac23d7" providerId="ADAL" clId="{7889F8E4-3B11-44EC-BF56-408DF8153FC1}" dt="2020-07-27T05:54:12.536" v="19"/>
          <ac:spMkLst>
            <pc:docMk/>
            <pc:sldMk cId="0" sldId="264"/>
            <ac:spMk id="118" creationId="{00000000-0000-0000-0000-000000000000}"/>
          </ac:spMkLst>
        </pc:spChg>
        <pc:spChg chg="mod">
          <ac:chgData name="Mondal, Tanmay" userId="83c199d5-d146-4e16-b08e-fa47ebac23d7" providerId="ADAL" clId="{7889F8E4-3B11-44EC-BF56-408DF8153FC1}" dt="2020-07-27T05:54:12.536" v="19"/>
          <ac:spMkLst>
            <pc:docMk/>
            <pc:sldMk cId="0" sldId="264"/>
            <ac:spMk id="119" creationId="{00000000-0000-0000-0000-000000000000}"/>
          </ac:spMkLst>
        </pc:spChg>
        <pc:spChg chg="mod">
          <ac:chgData name="Mondal, Tanmay" userId="83c199d5-d146-4e16-b08e-fa47ebac23d7" providerId="ADAL" clId="{7889F8E4-3B11-44EC-BF56-408DF8153FC1}" dt="2020-07-27T05:54:12.536" v="19"/>
          <ac:spMkLst>
            <pc:docMk/>
            <pc:sldMk cId="0" sldId="264"/>
            <ac:spMk id="120" creationId="{00000000-0000-0000-0000-000000000000}"/>
          </ac:spMkLst>
        </pc:spChg>
        <pc:spChg chg="mod">
          <ac:chgData name="Mondal, Tanmay" userId="83c199d5-d146-4e16-b08e-fa47ebac23d7" providerId="ADAL" clId="{7889F8E4-3B11-44EC-BF56-408DF8153FC1}" dt="2020-07-27T05:54:12.536" v="19"/>
          <ac:spMkLst>
            <pc:docMk/>
            <pc:sldMk cId="0" sldId="264"/>
            <ac:spMk id="121" creationId="{00000000-0000-0000-0000-000000000000}"/>
          </ac:spMkLst>
        </pc:spChg>
        <pc:spChg chg="mod">
          <ac:chgData name="Mondal, Tanmay" userId="83c199d5-d146-4e16-b08e-fa47ebac23d7" providerId="ADAL" clId="{7889F8E4-3B11-44EC-BF56-408DF8153FC1}" dt="2020-07-27T05:54:12.536" v="19"/>
          <ac:spMkLst>
            <pc:docMk/>
            <pc:sldMk cId="0" sldId="264"/>
            <ac:spMk id="122" creationId="{00000000-0000-0000-0000-000000000000}"/>
          </ac:spMkLst>
        </pc:spChg>
        <pc:spChg chg="mod">
          <ac:chgData name="Mondal, Tanmay" userId="83c199d5-d146-4e16-b08e-fa47ebac23d7" providerId="ADAL" clId="{7889F8E4-3B11-44EC-BF56-408DF8153FC1}" dt="2020-07-27T05:54:12.536" v="19"/>
          <ac:spMkLst>
            <pc:docMk/>
            <pc:sldMk cId="0" sldId="264"/>
            <ac:spMk id="123" creationId="{00000000-0000-0000-0000-000000000000}"/>
          </ac:spMkLst>
        </pc:spChg>
        <pc:spChg chg="mod">
          <ac:chgData name="Mondal, Tanmay" userId="83c199d5-d146-4e16-b08e-fa47ebac23d7" providerId="ADAL" clId="{7889F8E4-3B11-44EC-BF56-408DF8153FC1}" dt="2020-07-27T05:54:12.536" v="19"/>
          <ac:spMkLst>
            <pc:docMk/>
            <pc:sldMk cId="0" sldId="264"/>
            <ac:spMk id="124" creationId="{00000000-0000-0000-0000-000000000000}"/>
          </ac:spMkLst>
        </pc:spChg>
        <pc:spChg chg="mod">
          <ac:chgData name="Mondal, Tanmay" userId="83c199d5-d146-4e16-b08e-fa47ebac23d7" providerId="ADAL" clId="{7889F8E4-3B11-44EC-BF56-408DF8153FC1}" dt="2020-07-27T05:54:12.536" v="19"/>
          <ac:spMkLst>
            <pc:docMk/>
            <pc:sldMk cId="0" sldId="264"/>
            <ac:spMk id="125" creationId="{00000000-0000-0000-0000-000000000000}"/>
          </ac:spMkLst>
        </pc:spChg>
        <pc:spChg chg="mod">
          <ac:chgData name="Mondal, Tanmay" userId="83c199d5-d146-4e16-b08e-fa47ebac23d7" providerId="ADAL" clId="{7889F8E4-3B11-44EC-BF56-408DF8153FC1}" dt="2020-07-27T05:54:12.536" v="19"/>
          <ac:spMkLst>
            <pc:docMk/>
            <pc:sldMk cId="0" sldId="264"/>
            <ac:spMk id="126" creationId="{00000000-0000-0000-0000-000000000000}"/>
          </ac:spMkLst>
        </pc:spChg>
        <pc:spChg chg="mod">
          <ac:chgData name="Mondal, Tanmay" userId="83c199d5-d146-4e16-b08e-fa47ebac23d7" providerId="ADAL" clId="{7889F8E4-3B11-44EC-BF56-408DF8153FC1}" dt="2020-07-27T05:54:12.536" v="19"/>
          <ac:spMkLst>
            <pc:docMk/>
            <pc:sldMk cId="0" sldId="264"/>
            <ac:spMk id="127" creationId="{00000000-0000-0000-0000-000000000000}"/>
          </ac:spMkLst>
        </pc:spChg>
        <pc:spChg chg="mod">
          <ac:chgData name="Mondal, Tanmay" userId="83c199d5-d146-4e16-b08e-fa47ebac23d7" providerId="ADAL" clId="{7889F8E4-3B11-44EC-BF56-408DF8153FC1}" dt="2020-07-27T05:54:12.536" v="19"/>
          <ac:spMkLst>
            <pc:docMk/>
            <pc:sldMk cId="0" sldId="264"/>
            <ac:spMk id="128" creationId="{00000000-0000-0000-0000-000000000000}"/>
          </ac:spMkLst>
        </pc:spChg>
        <pc:spChg chg="mod">
          <ac:chgData name="Mondal, Tanmay" userId="83c199d5-d146-4e16-b08e-fa47ebac23d7" providerId="ADAL" clId="{7889F8E4-3B11-44EC-BF56-408DF8153FC1}" dt="2020-07-27T05:54:12.536" v="19"/>
          <ac:spMkLst>
            <pc:docMk/>
            <pc:sldMk cId="0" sldId="264"/>
            <ac:spMk id="129" creationId="{00000000-0000-0000-0000-000000000000}"/>
          </ac:spMkLst>
        </pc:spChg>
        <pc:spChg chg="mod">
          <ac:chgData name="Mondal, Tanmay" userId="83c199d5-d146-4e16-b08e-fa47ebac23d7" providerId="ADAL" clId="{7889F8E4-3B11-44EC-BF56-408DF8153FC1}" dt="2020-07-27T05:54:12.536" v="19"/>
          <ac:spMkLst>
            <pc:docMk/>
            <pc:sldMk cId="0" sldId="264"/>
            <ac:spMk id="130" creationId="{00000000-0000-0000-0000-000000000000}"/>
          </ac:spMkLst>
        </pc:spChg>
        <pc:spChg chg="mod">
          <ac:chgData name="Mondal, Tanmay" userId="83c199d5-d146-4e16-b08e-fa47ebac23d7" providerId="ADAL" clId="{7889F8E4-3B11-44EC-BF56-408DF8153FC1}" dt="2020-07-27T05:54:12.536" v="19"/>
          <ac:spMkLst>
            <pc:docMk/>
            <pc:sldMk cId="0" sldId="264"/>
            <ac:spMk id="131" creationId="{00000000-0000-0000-0000-000000000000}"/>
          </ac:spMkLst>
        </pc:spChg>
        <pc:spChg chg="mod">
          <ac:chgData name="Mondal, Tanmay" userId="83c199d5-d146-4e16-b08e-fa47ebac23d7" providerId="ADAL" clId="{7889F8E4-3B11-44EC-BF56-408DF8153FC1}" dt="2020-07-27T05:54:12.536" v="19"/>
          <ac:spMkLst>
            <pc:docMk/>
            <pc:sldMk cId="0" sldId="264"/>
            <ac:spMk id="132" creationId="{00000000-0000-0000-0000-000000000000}"/>
          </ac:spMkLst>
        </pc:spChg>
        <pc:spChg chg="mod">
          <ac:chgData name="Mondal, Tanmay" userId="83c199d5-d146-4e16-b08e-fa47ebac23d7" providerId="ADAL" clId="{7889F8E4-3B11-44EC-BF56-408DF8153FC1}" dt="2020-07-27T05:54:12.536" v="19"/>
          <ac:spMkLst>
            <pc:docMk/>
            <pc:sldMk cId="0" sldId="264"/>
            <ac:spMk id="133" creationId="{00000000-0000-0000-0000-000000000000}"/>
          </ac:spMkLst>
        </pc:spChg>
        <pc:spChg chg="mod">
          <ac:chgData name="Mondal, Tanmay" userId="83c199d5-d146-4e16-b08e-fa47ebac23d7" providerId="ADAL" clId="{7889F8E4-3B11-44EC-BF56-408DF8153FC1}" dt="2020-07-27T05:54:12.536" v="19"/>
          <ac:spMkLst>
            <pc:docMk/>
            <pc:sldMk cId="0" sldId="264"/>
            <ac:spMk id="134" creationId="{00000000-0000-0000-0000-000000000000}"/>
          </ac:spMkLst>
        </pc:spChg>
        <pc:spChg chg="mod">
          <ac:chgData name="Mondal, Tanmay" userId="83c199d5-d146-4e16-b08e-fa47ebac23d7" providerId="ADAL" clId="{7889F8E4-3B11-44EC-BF56-408DF8153FC1}" dt="2020-07-27T05:54:12.536" v="19"/>
          <ac:spMkLst>
            <pc:docMk/>
            <pc:sldMk cId="0" sldId="264"/>
            <ac:spMk id="135" creationId="{00000000-0000-0000-0000-000000000000}"/>
          </ac:spMkLst>
        </pc:spChg>
        <pc:spChg chg="mod">
          <ac:chgData name="Mondal, Tanmay" userId="83c199d5-d146-4e16-b08e-fa47ebac23d7" providerId="ADAL" clId="{7889F8E4-3B11-44EC-BF56-408DF8153FC1}" dt="2020-07-27T05:54:12.536" v="19"/>
          <ac:spMkLst>
            <pc:docMk/>
            <pc:sldMk cId="0" sldId="264"/>
            <ac:spMk id="136" creationId="{00000000-0000-0000-0000-000000000000}"/>
          </ac:spMkLst>
        </pc:spChg>
        <pc:spChg chg="mod">
          <ac:chgData name="Mondal, Tanmay" userId="83c199d5-d146-4e16-b08e-fa47ebac23d7" providerId="ADAL" clId="{7889F8E4-3B11-44EC-BF56-408DF8153FC1}" dt="2020-07-27T05:54:12.536" v="19"/>
          <ac:spMkLst>
            <pc:docMk/>
            <pc:sldMk cId="0" sldId="264"/>
            <ac:spMk id="137" creationId="{00000000-0000-0000-0000-000000000000}"/>
          </ac:spMkLst>
        </pc:spChg>
        <pc:spChg chg="mod">
          <ac:chgData name="Mondal, Tanmay" userId="83c199d5-d146-4e16-b08e-fa47ebac23d7" providerId="ADAL" clId="{7889F8E4-3B11-44EC-BF56-408DF8153FC1}" dt="2020-07-27T05:54:12.536" v="19"/>
          <ac:spMkLst>
            <pc:docMk/>
            <pc:sldMk cId="0" sldId="264"/>
            <ac:spMk id="138" creationId="{00000000-0000-0000-0000-000000000000}"/>
          </ac:spMkLst>
        </pc:spChg>
        <pc:spChg chg="mod">
          <ac:chgData name="Mondal, Tanmay" userId="83c199d5-d146-4e16-b08e-fa47ebac23d7" providerId="ADAL" clId="{7889F8E4-3B11-44EC-BF56-408DF8153FC1}" dt="2020-07-27T05:54:12.536" v="19"/>
          <ac:spMkLst>
            <pc:docMk/>
            <pc:sldMk cId="0" sldId="264"/>
            <ac:spMk id="139" creationId="{00000000-0000-0000-0000-000000000000}"/>
          </ac:spMkLst>
        </pc:spChg>
        <pc:spChg chg="mod">
          <ac:chgData name="Mondal, Tanmay" userId="83c199d5-d146-4e16-b08e-fa47ebac23d7" providerId="ADAL" clId="{7889F8E4-3B11-44EC-BF56-408DF8153FC1}" dt="2020-07-27T05:54:12.536" v="19"/>
          <ac:spMkLst>
            <pc:docMk/>
            <pc:sldMk cId="0" sldId="264"/>
            <ac:spMk id="140" creationId="{00000000-0000-0000-0000-000000000000}"/>
          </ac:spMkLst>
        </pc:spChg>
        <pc:spChg chg="mod">
          <ac:chgData name="Mondal, Tanmay" userId="83c199d5-d146-4e16-b08e-fa47ebac23d7" providerId="ADAL" clId="{7889F8E4-3B11-44EC-BF56-408DF8153FC1}" dt="2020-07-27T05:54:12.536" v="19"/>
          <ac:spMkLst>
            <pc:docMk/>
            <pc:sldMk cId="0" sldId="264"/>
            <ac:spMk id="141" creationId="{00000000-0000-0000-0000-000000000000}"/>
          </ac:spMkLst>
        </pc:spChg>
        <pc:spChg chg="mod">
          <ac:chgData name="Mondal, Tanmay" userId="83c199d5-d146-4e16-b08e-fa47ebac23d7" providerId="ADAL" clId="{7889F8E4-3B11-44EC-BF56-408DF8153FC1}" dt="2020-07-27T05:54:12.536" v="19"/>
          <ac:spMkLst>
            <pc:docMk/>
            <pc:sldMk cId="0" sldId="264"/>
            <ac:spMk id="142" creationId="{00000000-0000-0000-0000-000000000000}"/>
          </ac:spMkLst>
        </pc:spChg>
        <pc:spChg chg="mod">
          <ac:chgData name="Mondal, Tanmay" userId="83c199d5-d146-4e16-b08e-fa47ebac23d7" providerId="ADAL" clId="{7889F8E4-3B11-44EC-BF56-408DF8153FC1}" dt="2020-07-27T05:54:12.536" v="19"/>
          <ac:spMkLst>
            <pc:docMk/>
            <pc:sldMk cId="0" sldId="264"/>
            <ac:spMk id="143" creationId="{00000000-0000-0000-0000-000000000000}"/>
          </ac:spMkLst>
        </pc:spChg>
        <pc:spChg chg="mod">
          <ac:chgData name="Mondal, Tanmay" userId="83c199d5-d146-4e16-b08e-fa47ebac23d7" providerId="ADAL" clId="{7889F8E4-3B11-44EC-BF56-408DF8153FC1}" dt="2020-07-27T05:54:12.536" v="19"/>
          <ac:spMkLst>
            <pc:docMk/>
            <pc:sldMk cId="0" sldId="264"/>
            <ac:spMk id="144" creationId="{00000000-0000-0000-0000-000000000000}"/>
          </ac:spMkLst>
        </pc:spChg>
        <pc:spChg chg="mod">
          <ac:chgData name="Mondal, Tanmay" userId="83c199d5-d146-4e16-b08e-fa47ebac23d7" providerId="ADAL" clId="{7889F8E4-3B11-44EC-BF56-408DF8153FC1}" dt="2020-07-27T05:54:12.536" v="19"/>
          <ac:spMkLst>
            <pc:docMk/>
            <pc:sldMk cId="0" sldId="264"/>
            <ac:spMk id="145" creationId="{00000000-0000-0000-0000-000000000000}"/>
          </ac:spMkLst>
        </pc:spChg>
        <pc:spChg chg="mod">
          <ac:chgData name="Mondal, Tanmay" userId="83c199d5-d146-4e16-b08e-fa47ebac23d7" providerId="ADAL" clId="{7889F8E4-3B11-44EC-BF56-408DF8153FC1}" dt="2020-07-27T05:54:12.536" v="19"/>
          <ac:spMkLst>
            <pc:docMk/>
            <pc:sldMk cId="0" sldId="264"/>
            <ac:spMk id="146" creationId="{00000000-0000-0000-0000-000000000000}"/>
          </ac:spMkLst>
        </pc:spChg>
        <pc:spChg chg="mod">
          <ac:chgData name="Mondal, Tanmay" userId="83c199d5-d146-4e16-b08e-fa47ebac23d7" providerId="ADAL" clId="{7889F8E4-3B11-44EC-BF56-408DF8153FC1}" dt="2020-07-27T05:54:12.536" v="19"/>
          <ac:spMkLst>
            <pc:docMk/>
            <pc:sldMk cId="0" sldId="264"/>
            <ac:spMk id="147" creationId="{00000000-0000-0000-0000-000000000000}"/>
          </ac:spMkLst>
        </pc:spChg>
        <pc:spChg chg="mod">
          <ac:chgData name="Mondal, Tanmay" userId="83c199d5-d146-4e16-b08e-fa47ebac23d7" providerId="ADAL" clId="{7889F8E4-3B11-44EC-BF56-408DF8153FC1}" dt="2020-07-27T05:54:12.536" v="19"/>
          <ac:spMkLst>
            <pc:docMk/>
            <pc:sldMk cId="0" sldId="264"/>
            <ac:spMk id="148" creationId="{00000000-0000-0000-0000-000000000000}"/>
          </ac:spMkLst>
        </pc:spChg>
        <pc:spChg chg="mod">
          <ac:chgData name="Mondal, Tanmay" userId="83c199d5-d146-4e16-b08e-fa47ebac23d7" providerId="ADAL" clId="{7889F8E4-3B11-44EC-BF56-408DF8153FC1}" dt="2020-07-27T05:54:12.536" v="19"/>
          <ac:spMkLst>
            <pc:docMk/>
            <pc:sldMk cId="0" sldId="264"/>
            <ac:spMk id="149" creationId="{00000000-0000-0000-0000-000000000000}"/>
          </ac:spMkLst>
        </pc:spChg>
        <pc:spChg chg="mod">
          <ac:chgData name="Mondal, Tanmay" userId="83c199d5-d146-4e16-b08e-fa47ebac23d7" providerId="ADAL" clId="{7889F8E4-3B11-44EC-BF56-408DF8153FC1}" dt="2020-07-27T05:54:12.536" v="19"/>
          <ac:spMkLst>
            <pc:docMk/>
            <pc:sldMk cId="0" sldId="264"/>
            <ac:spMk id="150" creationId="{00000000-0000-0000-0000-000000000000}"/>
          </ac:spMkLst>
        </pc:spChg>
        <pc:spChg chg="mod">
          <ac:chgData name="Mondal, Tanmay" userId="83c199d5-d146-4e16-b08e-fa47ebac23d7" providerId="ADAL" clId="{7889F8E4-3B11-44EC-BF56-408DF8153FC1}" dt="2020-07-27T05:54:12.536" v="19"/>
          <ac:spMkLst>
            <pc:docMk/>
            <pc:sldMk cId="0" sldId="264"/>
            <ac:spMk id="151" creationId="{00000000-0000-0000-0000-000000000000}"/>
          </ac:spMkLst>
        </pc:spChg>
        <pc:spChg chg="mod">
          <ac:chgData name="Mondal, Tanmay" userId="83c199d5-d146-4e16-b08e-fa47ebac23d7" providerId="ADAL" clId="{7889F8E4-3B11-44EC-BF56-408DF8153FC1}" dt="2020-07-27T05:54:12.536" v="19"/>
          <ac:spMkLst>
            <pc:docMk/>
            <pc:sldMk cId="0" sldId="264"/>
            <ac:spMk id="152" creationId="{00000000-0000-0000-0000-000000000000}"/>
          </ac:spMkLst>
        </pc:spChg>
        <pc:spChg chg="mod">
          <ac:chgData name="Mondal, Tanmay" userId="83c199d5-d146-4e16-b08e-fa47ebac23d7" providerId="ADAL" clId="{7889F8E4-3B11-44EC-BF56-408DF8153FC1}" dt="2020-07-27T05:54:12.536" v="19"/>
          <ac:spMkLst>
            <pc:docMk/>
            <pc:sldMk cId="0" sldId="264"/>
            <ac:spMk id="153" creationId="{00000000-0000-0000-0000-000000000000}"/>
          </ac:spMkLst>
        </pc:spChg>
        <pc:spChg chg="mod">
          <ac:chgData name="Mondal, Tanmay" userId="83c199d5-d146-4e16-b08e-fa47ebac23d7" providerId="ADAL" clId="{7889F8E4-3B11-44EC-BF56-408DF8153FC1}" dt="2020-07-27T05:54:12.536" v="19"/>
          <ac:spMkLst>
            <pc:docMk/>
            <pc:sldMk cId="0" sldId="264"/>
            <ac:spMk id="154" creationId="{00000000-0000-0000-0000-000000000000}"/>
          </ac:spMkLst>
        </pc:spChg>
        <pc:spChg chg="mod">
          <ac:chgData name="Mondal, Tanmay" userId="83c199d5-d146-4e16-b08e-fa47ebac23d7" providerId="ADAL" clId="{7889F8E4-3B11-44EC-BF56-408DF8153FC1}" dt="2020-07-27T05:54:12.536" v="19"/>
          <ac:spMkLst>
            <pc:docMk/>
            <pc:sldMk cId="0" sldId="264"/>
            <ac:spMk id="155" creationId="{00000000-0000-0000-0000-000000000000}"/>
          </ac:spMkLst>
        </pc:spChg>
        <pc:spChg chg="mod">
          <ac:chgData name="Mondal, Tanmay" userId="83c199d5-d146-4e16-b08e-fa47ebac23d7" providerId="ADAL" clId="{7889F8E4-3B11-44EC-BF56-408DF8153FC1}" dt="2020-07-27T05:54:12.536" v="19"/>
          <ac:spMkLst>
            <pc:docMk/>
            <pc:sldMk cId="0" sldId="264"/>
            <ac:spMk id="156" creationId="{00000000-0000-0000-0000-000000000000}"/>
          </ac:spMkLst>
        </pc:spChg>
        <pc:spChg chg="mod">
          <ac:chgData name="Mondal, Tanmay" userId="83c199d5-d146-4e16-b08e-fa47ebac23d7" providerId="ADAL" clId="{7889F8E4-3B11-44EC-BF56-408DF8153FC1}" dt="2020-07-27T05:54:12.536" v="19"/>
          <ac:spMkLst>
            <pc:docMk/>
            <pc:sldMk cId="0" sldId="264"/>
            <ac:spMk id="157" creationId="{00000000-0000-0000-0000-000000000000}"/>
          </ac:spMkLst>
        </pc:spChg>
        <pc:spChg chg="mod">
          <ac:chgData name="Mondal, Tanmay" userId="83c199d5-d146-4e16-b08e-fa47ebac23d7" providerId="ADAL" clId="{7889F8E4-3B11-44EC-BF56-408DF8153FC1}" dt="2020-07-27T05:54:12.536" v="19"/>
          <ac:spMkLst>
            <pc:docMk/>
            <pc:sldMk cId="0" sldId="264"/>
            <ac:spMk id="158" creationId="{00000000-0000-0000-0000-000000000000}"/>
          </ac:spMkLst>
        </pc:spChg>
        <pc:spChg chg="mod">
          <ac:chgData name="Mondal, Tanmay" userId="83c199d5-d146-4e16-b08e-fa47ebac23d7" providerId="ADAL" clId="{7889F8E4-3B11-44EC-BF56-408DF8153FC1}" dt="2020-07-27T05:54:12.536" v="19"/>
          <ac:spMkLst>
            <pc:docMk/>
            <pc:sldMk cId="0" sldId="264"/>
            <ac:spMk id="159" creationId="{00000000-0000-0000-0000-000000000000}"/>
          </ac:spMkLst>
        </pc:spChg>
        <pc:spChg chg="mod">
          <ac:chgData name="Mondal, Tanmay" userId="83c199d5-d146-4e16-b08e-fa47ebac23d7" providerId="ADAL" clId="{7889F8E4-3B11-44EC-BF56-408DF8153FC1}" dt="2020-07-27T05:54:12.536" v="19"/>
          <ac:spMkLst>
            <pc:docMk/>
            <pc:sldMk cId="0" sldId="264"/>
            <ac:spMk id="160" creationId="{00000000-0000-0000-0000-000000000000}"/>
          </ac:spMkLst>
        </pc:spChg>
        <pc:spChg chg="mod">
          <ac:chgData name="Mondal, Tanmay" userId="83c199d5-d146-4e16-b08e-fa47ebac23d7" providerId="ADAL" clId="{7889F8E4-3B11-44EC-BF56-408DF8153FC1}" dt="2020-07-27T05:54:12.536" v="19"/>
          <ac:spMkLst>
            <pc:docMk/>
            <pc:sldMk cId="0" sldId="264"/>
            <ac:spMk id="161" creationId="{00000000-0000-0000-0000-000000000000}"/>
          </ac:spMkLst>
        </pc:spChg>
        <pc:spChg chg="mod">
          <ac:chgData name="Mondal, Tanmay" userId="83c199d5-d146-4e16-b08e-fa47ebac23d7" providerId="ADAL" clId="{7889F8E4-3B11-44EC-BF56-408DF8153FC1}" dt="2020-07-27T05:54:12.536" v="19"/>
          <ac:spMkLst>
            <pc:docMk/>
            <pc:sldMk cId="0" sldId="264"/>
            <ac:spMk id="162" creationId="{00000000-0000-0000-0000-000000000000}"/>
          </ac:spMkLst>
        </pc:spChg>
        <pc:spChg chg="mod">
          <ac:chgData name="Mondal, Tanmay" userId="83c199d5-d146-4e16-b08e-fa47ebac23d7" providerId="ADAL" clId="{7889F8E4-3B11-44EC-BF56-408DF8153FC1}" dt="2020-07-27T05:54:12.536" v="19"/>
          <ac:spMkLst>
            <pc:docMk/>
            <pc:sldMk cId="0" sldId="264"/>
            <ac:spMk id="163" creationId="{00000000-0000-0000-0000-000000000000}"/>
          </ac:spMkLst>
        </pc:spChg>
        <pc:spChg chg="mod">
          <ac:chgData name="Mondal, Tanmay" userId="83c199d5-d146-4e16-b08e-fa47ebac23d7" providerId="ADAL" clId="{7889F8E4-3B11-44EC-BF56-408DF8153FC1}" dt="2020-07-27T05:54:12.536" v="19"/>
          <ac:spMkLst>
            <pc:docMk/>
            <pc:sldMk cId="0" sldId="264"/>
            <ac:spMk id="164" creationId="{00000000-0000-0000-0000-000000000000}"/>
          </ac:spMkLst>
        </pc:spChg>
        <pc:spChg chg="add del mod">
          <ac:chgData name="Mondal, Tanmay" userId="83c199d5-d146-4e16-b08e-fa47ebac23d7" providerId="ADAL" clId="{7889F8E4-3B11-44EC-BF56-408DF8153FC1}" dt="2020-07-27T07:13:13.118" v="291" actId="478"/>
          <ac:spMkLst>
            <pc:docMk/>
            <pc:sldMk cId="0" sldId="264"/>
            <ac:spMk id="165" creationId="{EC24F390-B445-44D1-BABE-F02D097B5729}"/>
          </ac:spMkLst>
        </pc:spChg>
        <pc:spChg chg="mod">
          <ac:chgData name="Mondal, Tanmay" userId="83c199d5-d146-4e16-b08e-fa47ebac23d7" providerId="ADAL" clId="{7889F8E4-3B11-44EC-BF56-408DF8153FC1}" dt="2020-07-27T07:13:20.119" v="292" actId="14100"/>
          <ac:spMkLst>
            <pc:docMk/>
            <pc:sldMk cId="0" sldId="264"/>
            <ac:spMk id="168" creationId="{00000000-0000-0000-0000-000000000000}"/>
          </ac:spMkLst>
        </pc:spChg>
      </pc:sldChg>
      <pc:sldChg chg="addSp delSp modSp">
        <pc:chgData name="Mondal, Tanmay" userId="83c199d5-d146-4e16-b08e-fa47ebac23d7" providerId="ADAL" clId="{7889F8E4-3B11-44EC-BF56-408DF8153FC1}" dt="2020-07-27T07:15:41.759" v="381" actId="14100"/>
        <pc:sldMkLst>
          <pc:docMk/>
          <pc:sldMk cId="0" sldId="265"/>
        </pc:sldMkLst>
        <pc:spChg chg="mod">
          <ac:chgData name="Mondal, Tanmay" userId="83c199d5-d146-4e16-b08e-fa47ebac23d7" providerId="ADAL" clId="{7889F8E4-3B11-44EC-BF56-408DF8153FC1}" dt="2020-07-27T05:54:12.536" v="19"/>
          <ac:spMkLst>
            <pc:docMk/>
            <pc:sldMk cId="0" sldId="265"/>
            <ac:spMk id="2" creationId="{00000000-0000-0000-0000-000000000000}"/>
          </ac:spMkLst>
        </pc:spChg>
        <pc:spChg chg="mod">
          <ac:chgData name="Mondal, Tanmay" userId="83c199d5-d146-4e16-b08e-fa47ebac23d7" providerId="ADAL" clId="{7889F8E4-3B11-44EC-BF56-408DF8153FC1}" dt="2020-07-27T05:54:12.536" v="19"/>
          <ac:spMkLst>
            <pc:docMk/>
            <pc:sldMk cId="0" sldId="265"/>
            <ac:spMk id="3" creationId="{00000000-0000-0000-0000-000000000000}"/>
          </ac:spMkLst>
        </pc:spChg>
        <pc:spChg chg="mod">
          <ac:chgData name="Mondal, Tanmay" userId="83c199d5-d146-4e16-b08e-fa47ebac23d7" providerId="ADAL" clId="{7889F8E4-3B11-44EC-BF56-408DF8153FC1}" dt="2020-07-27T05:54:12.536" v="19"/>
          <ac:spMkLst>
            <pc:docMk/>
            <pc:sldMk cId="0" sldId="265"/>
            <ac:spMk id="4" creationId="{00000000-0000-0000-0000-000000000000}"/>
          </ac:spMkLst>
        </pc:spChg>
        <pc:spChg chg="mod">
          <ac:chgData name="Mondal, Tanmay" userId="83c199d5-d146-4e16-b08e-fa47ebac23d7" providerId="ADAL" clId="{7889F8E4-3B11-44EC-BF56-408DF8153FC1}" dt="2020-07-27T05:54:12.536" v="19"/>
          <ac:spMkLst>
            <pc:docMk/>
            <pc:sldMk cId="0" sldId="265"/>
            <ac:spMk id="5" creationId="{00000000-0000-0000-0000-000000000000}"/>
          </ac:spMkLst>
        </pc:spChg>
        <pc:spChg chg="mod">
          <ac:chgData name="Mondal, Tanmay" userId="83c199d5-d146-4e16-b08e-fa47ebac23d7" providerId="ADAL" clId="{7889F8E4-3B11-44EC-BF56-408DF8153FC1}" dt="2020-07-27T05:54:12.536" v="19"/>
          <ac:spMkLst>
            <pc:docMk/>
            <pc:sldMk cId="0" sldId="265"/>
            <ac:spMk id="6" creationId="{00000000-0000-0000-0000-000000000000}"/>
          </ac:spMkLst>
        </pc:spChg>
        <pc:spChg chg="mod">
          <ac:chgData name="Mondal, Tanmay" userId="83c199d5-d146-4e16-b08e-fa47ebac23d7" providerId="ADAL" clId="{7889F8E4-3B11-44EC-BF56-408DF8153FC1}" dt="2020-07-27T05:54:12.536" v="19"/>
          <ac:spMkLst>
            <pc:docMk/>
            <pc:sldMk cId="0" sldId="265"/>
            <ac:spMk id="7" creationId="{00000000-0000-0000-0000-000000000000}"/>
          </ac:spMkLst>
        </pc:spChg>
        <pc:spChg chg="mod">
          <ac:chgData name="Mondal, Tanmay" userId="83c199d5-d146-4e16-b08e-fa47ebac23d7" providerId="ADAL" clId="{7889F8E4-3B11-44EC-BF56-408DF8153FC1}" dt="2020-07-27T05:54:12.536" v="19"/>
          <ac:spMkLst>
            <pc:docMk/>
            <pc:sldMk cId="0" sldId="265"/>
            <ac:spMk id="8" creationId="{00000000-0000-0000-0000-000000000000}"/>
          </ac:spMkLst>
        </pc:spChg>
        <pc:spChg chg="mod">
          <ac:chgData name="Mondal, Tanmay" userId="83c199d5-d146-4e16-b08e-fa47ebac23d7" providerId="ADAL" clId="{7889F8E4-3B11-44EC-BF56-408DF8153FC1}" dt="2020-07-27T05:54:12.536" v="19"/>
          <ac:spMkLst>
            <pc:docMk/>
            <pc:sldMk cId="0" sldId="265"/>
            <ac:spMk id="9" creationId="{00000000-0000-0000-0000-000000000000}"/>
          </ac:spMkLst>
        </pc:spChg>
        <pc:spChg chg="mod">
          <ac:chgData name="Mondal, Tanmay" userId="83c199d5-d146-4e16-b08e-fa47ebac23d7" providerId="ADAL" clId="{7889F8E4-3B11-44EC-BF56-408DF8153FC1}" dt="2020-07-27T05:54:12.536" v="19"/>
          <ac:spMkLst>
            <pc:docMk/>
            <pc:sldMk cId="0" sldId="265"/>
            <ac:spMk id="10" creationId="{00000000-0000-0000-0000-000000000000}"/>
          </ac:spMkLst>
        </pc:spChg>
        <pc:spChg chg="mod">
          <ac:chgData name="Mondal, Tanmay" userId="83c199d5-d146-4e16-b08e-fa47ebac23d7" providerId="ADAL" clId="{7889F8E4-3B11-44EC-BF56-408DF8153FC1}" dt="2020-07-27T05:54:12.536" v="19"/>
          <ac:spMkLst>
            <pc:docMk/>
            <pc:sldMk cId="0" sldId="265"/>
            <ac:spMk id="11" creationId="{00000000-0000-0000-0000-000000000000}"/>
          </ac:spMkLst>
        </pc:spChg>
        <pc:spChg chg="mod">
          <ac:chgData name="Mondal, Tanmay" userId="83c199d5-d146-4e16-b08e-fa47ebac23d7" providerId="ADAL" clId="{7889F8E4-3B11-44EC-BF56-408DF8153FC1}" dt="2020-07-27T05:54:12.536" v="19"/>
          <ac:spMkLst>
            <pc:docMk/>
            <pc:sldMk cId="0" sldId="265"/>
            <ac:spMk id="12" creationId="{00000000-0000-0000-0000-000000000000}"/>
          </ac:spMkLst>
        </pc:spChg>
        <pc:spChg chg="mod">
          <ac:chgData name="Mondal, Tanmay" userId="83c199d5-d146-4e16-b08e-fa47ebac23d7" providerId="ADAL" clId="{7889F8E4-3B11-44EC-BF56-408DF8153FC1}" dt="2020-07-27T05:54:12.536" v="19"/>
          <ac:spMkLst>
            <pc:docMk/>
            <pc:sldMk cId="0" sldId="265"/>
            <ac:spMk id="13" creationId="{00000000-0000-0000-0000-000000000000}"/>
          </ac:spMkLst>
        </pc:spChg>
        <pc:spChg chg="add del mod">
          <ac:chgData name="Mondal, Tanmay" userId="83c199d5-d146-4e16-b08e-fa47ebac23d7" providerId="ADAL" clId="{7889F8E4-3B11-44EC-BF56-408DF8153FC1}" dt="2020-07-27T07:15:34.622" v="380" actId="478"/>
          <ac:spMkLst>
            <pc:docMk/>
            <pc:sldMk cId="0" sldId="265"/>
            <ac:spMk id="14" creationId="{91D3FB6F-CC8B-46D7-8785-F1E5577663E8}"/>
          </ac:spMkLst>
        </pc:spChg>
        <pc:spChg chg="add del mod">
          <ac:chgData name="Mondal, Tanmay" userId="83c199d5-d146-4e16-b08e-fa47ebac23d7" providerId="ADAL" clId="{7889F8E4-3B11-44EC-BF56-408DF8153FC1}" dt="2020-07-27T07:15:28.275" v="377" actId="478"/>
          <ac:spMkLst>
            <pc:docMk/>
            <pc:sldMk cId="0" sldId="265"/>
            <ac:spMk id="15" creationId="{D4E35B6B-E9E3-46FE-B81D-05CB659DC458}"/>
          </ac:spMkLst>
        </pc:spChg>
        <pc:spChg chg="mod">
          <ac:chgData name="Mondal, Tanmay" userId="83c199d5-d146-4e16-b08e-fa47ebac23d7" providerId="ADAL" clId="{7889F8E4-3B11-44EC-BF56-408DF8153FC1}" dt="2020-07-27T05:54:12.536" v="19"/>
          <ac:spMkLst>
            <pc:docMk/>
            <pc:sldMk cId="0" sldId="265"/>
            <ac:spMk id="16" creationId="{00000000-0000-0000-0000-000000000000}"/>
          </ac:spMkLst>
        </pc:spChg>
        <pc:spChg chg="mod">
          <ac:chgData name="Mondal, Tanmay" userId="83c199d5-d146-4e16-b08e-fa47ebac23d7" providerId="ADAL" clId="{7889F8E4-3B11-44EC-BF56-408DF8153FC1}" dt="2020-07-27T05:54:12.536" v="19"/>
          <ac:spMkLst>
            <pc:docMk/>
            <pc:sldMk cId="0" sldId="265"/>
            <ac:spMk id="17" creationId="{00000000-0000-0000-0000-000000000000}"/>
          </ac:spMkLst>
        </pc:spChg>
        <pc:spChg chg="mod">
          <ac:chgData name="Mondal, Tanmay" userId="83c199d5-d146-4e16-b08e-fa47ebac23d7" providerId="ADAL" clId="{7889F8E4-3B11-44EC-BF56-408DF8153FC1}" dt="2020-07-27T05:54:12.536" v="19"/>
          <ac:spMkLst>
            <pc:docMk/>
            <pc:sldMk cId="0" sldId="265"/>
            <ac:spMk id="18" creationId="{00000000-0000-0000-0000-000000000000}"/>
          </ac:spMkLst>
        </pc:spChg>
        <pc:spChg chg="mod">
          <ac:chgData name="Mondal, Tanmay" userId="83c199d5-d146-4e16-b08e-fa47ebac23d7" providerId="ADAL" clId="{7889F8E4-3B11-44EC-BF56-408DF8153FC1}" dt="2020-07-27T05:54:12.536" v="19"/>
          <ac:spMkLst>
            <pc:docMk/>
            <pc:sldMk cId="0" sldId="265"/>
            <ac:spMk id="19" creationId="{00000000-0000-0000-0000-000000000000}"/>
          </ac:spMkLst>
        </pc:spChg>
        <pc:spChg chg="mod">
          <ac:chgData name="Mondal, Tanmay" userId="83c199d5-d146-4e16-b08e-fa47ebac23d7" providerId="ADAL" clId="{7889F8E4-3B11-44EC-BF56-408DF8153FC1}" dt="2020-07-27T05:54:12.536" v="19"/>
          <ac:spMkLst>
            <pc:docMk/>
            <pc:sldMk cId="0" sldId="265"/>
            <ac:spMk id="20" creationId="{00000000-0000-0000-0000-000000000000}"/>
          </ac:spMkLst>
        </pc:spChg>
        <pc:spChg chg="mod">
          <ac:chgData name="Mondal, Tanmay" userId="83c199d5-d146-4e16-b08e-fa47ebac23d7" providerId="ADAL" clId="{7889F8E4-3B11-44EC-BF56-408DF8153FC1}" dt="2020-07-27T05:54:12.536" v="19"/>
          <ac:spMkLst>
            <pc:docMk/>
            <pc:sldMk cId="0" sldId="265"/>
            <ac:spMk id="21" creationId="{00000000-0000-0000-0000-000000000000}"/>
          </ac:spMkLst>
        </pc:spChg>
        <pc:spChg chg="mod">
          <ac:chgData name="Mondal, Tanmay" userId="83c199d5-d146-4e16-b08e-fa47ebac23d7" providerId="ADAL" clId="{7889F8E4-3B11-44EC-BF56-408DF8153FC1}" dt="2020-07-27T05:54:12.536" v="19"/>
          <ac:spMkLst>
            <pc:docMk/>
            <pc:sldMk cId="0" sldId="265"/>
            <ac:spMk id="22" creationId="{00000000-0000-0000-0000-000000000000}"/>
          </ac:spMkLst>
        </pc:spChg>
        <pc:spChg chg="mod">
          <ac:chgData name="Mondal, Tanmay" userId="83c199d5-d146-4e16-b08e-fa47ebac23d7" providerId="ADAL" clId="{7889F8E4-3B11-44EC-BF56-408DF8153FC1}" dt="2020-07-27T05:54:12.536" v="19"/>
          <ac:spMkLst>
            <pc:docMk/>
            <pc:sldMk cId="0" sldId="265"/>
            <ac:spMk id="23" creationId="{00000000-0000-0000-0000-000000000000}"/>
          </ac:spMkLst>
        </pc:spChg>
        <pc:spChg chg="mod">
          <ac:chgData name="Mondal, Tanmay" userId="83c199d5-d146-4e16-b08e-fa47ebac23d7" providerId="ADAL" clId="{7889F8E4-3B11-44EC-BF56-408DF8153FC1}" dt="2020-07-27T05:54:12.536" v="19"/>
          <ac:spMkLst>
            <pc:docMk/>
            <pc:sldMk cId="0" sldId="265"/>
            <ac:spMk id="24" creationId="{00000000-0000-0000-0000-000000000000}"/>
          </ac:spMkLst>
        </pc:spChg>
        <pc:spChg chg="mod">
          <ac:chgData name="Mondal, Tanmay" userId="83c199d5-d146-4e16-b08e-fa47ebac23d7" providerId="ADAL" clId="{7889F8E4-3B11-44EC-BF56-408DF8153FC1}" dt="2020-07-27T05:54:12.536" v="19"/>
          <ac:spMkLst>
            <pc:docMk/>
            <pc:sldMk cId="0" sldId="265"/>
            <ac:spMk id="25" creationId="{00000000-0000-0000-0000-000000000000}"/>
          </ac:spMkLst>
        </pc:spChg>
        <pc:spChg chg="mod">
          <ac:chgData name="Mondal, Tanmay" userId="83c199d5-d146-4e16-b08e-fa47ebac23d7" providerId="ADAL" clId="{7889F8E4-3B11-44EC-BF56-408DF8153FC1}" dt="2020-07-27T05:54:12.536" v="19"/>
          <ac:spMkLst>
            <pc:docMk/>
            <pc:sldMk cId="0" sldId="265"/>
            <ac:spMk id="26" creationId="{00000000-0000-0000-0000-000000000000}"/>
          </ac:spMkLst>
        </pc:spChg>
        <pc:spChg chg="mod">
          <ac:chgData name="Mondal, Tanmay" userId="83c199d5-d146-4e16-b08e-fa47ebac23d7" providerId="ADAL" clId="{7889F8E4-3B11-44EC-BF56-408DF8153FC1}" dt="2020-07-27T05:54:12.536" v="19"/>
          <ac:spMkLst>
            <pc:docMk/>
            <pc:sldMk cId="0" sldId="265"/>
            <ac:spMk id="27" creationId="{00000000-0000-0000-0000-000000000000}"/>
          </ac:spMkLst>
        </pc:spChg>
        <pc:spChg chg="mod">
          <ac:chgData name="Mondal, Tanmay" userId="83c199d5-d146-4e16-b08e-fa47ebac23d7" providerId="ADAL" clId="{7889F8E4-3B11-44EC-BF56-408DF8153FC1}" dt="2020-07-27T05:54:12.536" v="19"/>
          <ac:spMkLst>
            <pc:docMk/>
            <pc:sldMk cId="0" sldId="265"/>
            <ac:spMk id="28" creationId="{00000000-0000-0000-0000-000000000000}"/>
          </ac:spMkLst>
        </pc:spChg>
        <pc:spChg chg="mod">
          <ac:chgData name="Mondal, Tanmay" userId="83c199d5-d146-4e16-b08e-fa47ebac23d7" providerId="ADAL" clId="{7889F8E4-3B11-44EC-BF56-408DF8153FC1}" dt="2020-07-27T05:54:12.536" v="19"/>
          <ac:spMkLst>
            <pc:docMk/>
            <pc:sldMk cId="0" sldId="265"/>
            <ac:spMk id="29" creationId="{00000000-0000-0000-0000-000000000000}"/>
          </ac:spMkLst>
        </pc:spChg>
        <pc:spChg chg="mod">
          <ac:chgData name="Mondal, Tanmay" userId="83c199d5-d146-4e16-b08e-fa47ebac23d7" providerId="ADAL" clId="{7889F8E4-3B11-44EC-BF56-408DF8153FC1}" dt="2020-07-27T05:54:12.536" v="19"/>
          <ac:spMkLst>
            <pc:docMk/>
            <pc:sldMk cId="0" sldId="265"/>
            <ac:spMk id="30" creationId="{00000000-0000-0000-0000-000000000000}"/>
          </ac:spMkLst>
        </pc:spChg>
        <pc:spChg chg="mod">
          <ac:chgData name="Mondal, Tanmay" userId="83c199d5-d146-4e16-b08e-fa47ebac23d7" providerId="ADAL" clId="{7889F8E4-3B11-44EC-BF56-408DF8153FC1}" dt="2020-07-27T05:54:12.536" v="19"/>
          <ac:spMkLst>
            <pc:docMk/>
            <pc:sldMk cId="0" sldId="265"/>
            <ac:spMk id="31" creationId="{00000000-0000-0000-0000-000000000000}"/>
          </ac:spMkLst>
        </pc:spChg>
        <pc:spChg chg="mod">
          <ac:chgData name="Mondal, Tanmay" userId="83c199d5-d146-4e16-b08e-fa47ebac23d7" providerId="ADAL" clId="{7889F8E4-3B11-44EC-BF56-408DF8153FC1}" dt="2020-07-27T05:54:12.536" v="19"/>
          <ac:spMkLst>
            <pc:docMk/>
            <pc:sldMk cId="0" sldId="265"/>
            <ac:spMk id="32" creationId="{00000000-0000-0000-0000-000000000000}"/>
          </ac:spMkLst>
        </pc:spChg>
        <pc:spChg chg="mod">
          <ac:chgData name="Mondal, Tanmay" userId="83c199d5-d146-4e16-b08e-fa47ebac23d7" providerId="ADAL" clId="{7889F8E4-3B11-44EC-BF56-408DF8153FC1}" dt="2020-07-27T05:54:12.536" v="19"/>
          <ac:spMkLst>
            <pc:docMk/>
            <pc:sldMk cId="0" sldId="265"/>
            <ac:spMk id="33" creationId="{00000000-0000-0000-0000-000000000000}"/>
          </ac:spMkLst>
        </pc:spChg>
        <pc:spChg chg="mod">
          <ac:chgData name="Mondal, Tanmay" userId="83c199d5-d146-4e16-b08e-fa47ebac23d7" providerId="ADAL" clId="{7889F8E4-3B11-44EC-BF56-408DF8153FC1}" dt="2020-07-27T05:54:12.536" v="19"/>
          <ac:spMkLst>
            <pc:docMk/>
            <pc:sldMk cId="0" sldId="265"/>
            <ac:spMk id="34" creationId="{00000000-0000-0000-0000-000000000000}"/>
          </ac:spMkLst>
        </pc:spChg>
        <pc:spChg chg="mod">
          <ac:chgData name="Mondal, Tanmay" userId="83c199d5-d146-4e16-b08e-fa47ebac23d7" providerId="ADAL" clId="{7889F8E4-3B11-44EC-BF56-408DF8153FC1}" dt="2020-07-27T05:54:12.536" v="19"/>
          <ac:spMkLst>
            <pc:docMk/>
            <pc:sldMk cId="0" sldId="265"/>
            <ac:spMk id="35" creationId="{00000000-0000-0000-0000-000000000000}"/>
          </ac:spMkLst>
        </pc:spChg>
        <pc:spChg chg="mod">
          <ac:chgData name="Mondal, Tanmay" userId="83c199d5-d146-4e16-b08e-fa47ebac23d7" providerId="ADAL" clId="{7889F8E4-3B11-44EC-BF56-408DF8153FC1}" dt="2020-07-27T05:54:12.536" v="19"/>
          <ac:spMkLst>
            <pc:docMk/>
            <pc:sldMk cId="0" sldId="265"/>
            <ac:spMk id="36" creationId="{00000000-0000-0000-0000-000000000000}"/>
          </ac:spMkLst>
        </pc:spChg>
        <pc:spChg chg="mod">
          <ac:chgData name="Mondal, Tanmay" userId="83c199d5-d146-4e16-b08e-fa47ebac23d7" providerId="ADAL" clId="{7889F8E4-3B11-44EC-BF56-408DF8153FC1}" dt="2020-07-27T05:54:12.536" v="19"/>
          <ac:spMkLst>
            <pc:docMk/>
            <pc:sldMk cId="0" sldId="265"/>
            <ac:spMk id="37" creationId="{00000000-0000-0000-0000-000000000000}"/>
          </ac:spMkLst>
        </pc:spChg>
        <pc:spChg chg="mod">
          <ac:chgData name="Mondal, Tanmay" userId="83c199d5-d146-4e16-b08e-fa47ebac23d7" providerId="ADAL" clId="{7889F8E4-3B11-44EC-BF56-408DF8153FC1}" dt="2020-07-27T05:54:12.536" v="19"/>
          <ac:spMkLst>
            <pc:docMk/>
            <pc:sldMk cId="0" sldId="265"/>
            <ac:spMk id="38" creationId="{00000000-0000-0000-0000-000000000000}"/>
          </ac:spMkLst>
        </pc:spChg>
        <pc:spChg chg="mod">
          <ac:chgData name="Mondal, Tanmay" userId="83c199d5-d146-4e16-b08e-fa47ebac23d7" providerId="ADAL" clId="{7889F8E4-3B11-44EC-BF56-408DF8153FC1}" dt="2020-07-27T05:54:12.536" v="19"/>
          <ac:spMkLst>
            <pc:docMk/>
            <pc:sldMk cId="0" sldId="265"/>
            <ac:spMk id="39" creationId="{00000000-0000-0000-0000-000000000000}"/>
          </ac:spMkLst>
        </pc:spChg>
        <pc:spChg chg="mod">
          <ac:chgData name="Mondal, Tanmay" userId="83c199d5-d146-4e16-b08e-fa47ebac23d7" providerId="ADAL" clId="{7889F8E4-3B11-44EC-BF56-408DF8153FC1}" dt="2020-07-27T05:54:12.536" v="19"/>
          <ac:spMkLst>
            <pc:docMk/>
            <pc:sldMk cId="0" sldId="265"/>
            <ac:spMk id="40" creationId="{00000000-0000-0000-0000-000000000000}"/>
          </ac:spMkLst>
        </pc:spChg>
        <pc:spChg chg="mod">
          <ac:chgData name="Mondal, Tanmay" userId="83c199d5-d146-4e16-b08e-fa47ebac23d7" providerId="ADAL" clId="{7889F8E4-3B11-44EC-BF56-408DF8153FC1}" dt="2020-07-27T05:54:12.536" v="19"/>
          <ac:spMkLst>
            <pc:docMk/>
            <pc:sldMk cId="0" sldId="265"/>
            <ac:spMk id="41" creationId="{00000000-0000-0000-0000-000000000000}"/>
          </ac:spMkLst>
        </pc:spChg>
        <pc:spChg chg="mod">
          <ac:chgData name="Mondal, Tanmay" userId="83c199d5-d146-4e16-b08e-fa47ebac23d7" providerId="ADAL" clId="{7889F8E4-3B11-44EC-BF56-408DF8153FC1}" dt="2020-07-27T05:54:12.536" v="19"/>
          <ac:spMkLst>
            <pc:docMk/>
            <pc:sldMk cId="0" sldId="265"/>
            <ac:spMk id="42" creationId="{00000000-0000-0000-0000-000000000000}"/>
          </ac:spMkLst>
        </pc:spChg>
        <pc:spChg chg="mod">
          <ac:chgData name="Mondal, Tanmay" userId="83c199d5-d146-4e16-b08e-fa47ebac23d7" providerId="ADAL" clId="{7889F8E4-3B11-44EC-BF56-408DF8153FC1}" dt="2020-07-27T05:54:12.536" v="19"/>
          <ac:spMkLst>
            <pc:docMk/>
            <pc:sldMk cId="0" sldId="265"/>
            <ac:spMk id="43" creationId="{00000000-0000-0000-0000-000000000000}"/>
          </ac:spMkLst>
        </pc:spChg>
        <pc:spChg chg="mod">
          <ac:chgData name="Mondal, Tanmay" userId="83c199d5-d146-4e16-b08e-fa47ebac23d7" providerId="ADAL" clId="{7889F8E4-3B11-44EC-BF56-408DF8153FC1}" dt="2020-07-27T05:54:12.536" v="19"/>
          <ac:spMkLst>
            <pc:docMk/>
            <pc:sldMk cId="0" sldId="265"/>
            <ac:spMk id="44" creationId="{00000000-0000-0000-0000-000000000000}"/>
          </ac:spMkLst>
        </pc:spChg>
        <pc:spChg chg="add del mod">
          <ac:chgData name="Mondal, Tanmay" userId="83c199d5-d146-4e16-b08e-fa47ebac23d7" providerId="ADAL" clId="{7889F8E4-3B11-44EC-BF56-408DF8153FC1}" dt="2020-07-27T07:15:41.759" v="381" actId="14100"/>
          <ac:spMkLst>
            <pc:docMk/>
            <pc:sldMk cId="0" sldId="265"/>
            <ac:spMk id="47" creationId="{00000000-0000-0000-0000-000000000000}"/>
          </ac:spMkLst>
        </pc:spChg>
      </pc:sldChg>
      <pc:sldChg chg="addSp delSp modSp">
        <pc:chgData name="Mondal, Tanmay" userId="83c199d5-d146-4e16-b08e-fa47ebac23d7" providerId="ADAL" clId="{7889F8E4-3B11-44EC-BF56-408DF8153FC1}" dt="2020-07-27T07:16:24.478" v="423" actId="478"/>
        <pc:sldMkLst>
          <pc:docMk/>
          <pc:sldMk cId="0" sldId="266"/>
        </pc:sldMkLst>
        <pc:spChg chg="mod">
          <ac:chgData name="Mondal, Tanmay" userId="83c199d5-d146-4e16-b08e-fa47ebac23d7" providerId="ADAL" clId="{7889F8E4-3B11-44EC-BF56-408DF8153FC1}" dt="2020-07-27T05:54:12.536" v="19"/>
          <ac:spMkLst>
            <pc:docMk/>
            <pc:sldMk cId="0" sldId="266"/>
            <ac:spMk id="2" creationId="{00000000-0000-0000-0000-000000000000}"/>
          </ac:spMkLst>
        </pc:spChg>
        <pc:spChg chg="mod">
          <ac:chgData name="Mondal, Tanmay" userId="83c199d5-d146-4e16-b08e-fa47ebac23d7" providerId="ADAL" clId="{7889F8E4-3B11-44EC-BF56-408DF8153FC1}" dt="2020-07-27T05:54:12.536" v="19"/>
          <ac:spMkLst>
            <pc:docMk/>
            <pc:sldMk cId="0" sldId="266"/>
            <ac:spMk id="3" creationId="{00000000-0000-0000-0000-000000000000}"/>
          </ac:spMkLst>
        </pc:spChg>
        <pc:spChg chg="mod">
          <ac:chgData name="Mondal, Tanmay" userId="83c199d5-d146-4e16-b08e-fa47ebac23d7" providerId="ADAL" clId="{7889F8E4-3B11-44EC-BF56-408DF8153FC1}" dt="2020-07-27T05:54:12.536" v="19"/>
          <ac:spMkLst>
            <pc:docMk/>
            <pc:sldMk cId="0" sldId="266"/>
            <ac:spMk id="4" creationId="{00000000-0000-0000-0000-000000000000}"/>
          </ac:spMkLst>
        </pc:spChg>
        <pc:spChg chg="mod">
          <ac:chgData name="Mondal, Tanmay" userId="83c199d5-d146-4e16-b08e-fa47ebac23d7" providerId="ADAL" clId="{7889F8E4-3B11-44EC-BF56-408DF8153FC1}" dt="2020-07-27T05:54:12.536" v="19"/>
          <ac:spMkLst>
            <pc:docMk/>
            <pc:sldMk cId="0" sldId="266"/>
            <ac:spMk id="5" creationId="{00000000-0000-0000-0000-000000000000}"/>
          </ac:spMkLst>
        </pc:spChg>
        <pc:spChg chg="mod">
          <ac:chgData name="Mondal, Tanmay" userId="83c199d5-d146-4e16-b08e-fa47ebac23d7" providerId="ADAL" clId="{7889F8E4-3B11-44EC-BF56-408DF8153FC1}" dt="2020-07-27T05:54:12.536" v="19"/>
          <ac:spMkLst>
            <pc:docMk/>
            <pc:sldMk cId="0" sldId="266"/>
            <ac:spMk id="6" creationId="{00000000-0000-0000-0000-000000000000}"/>
          </ac:spMkLst>
        </pc:spChg>
        <pc:spChg chg="mod">
          <ac:chgData name="Mondal, Tanmay" userId="83c199d5-d146-4e16-b08e-fa47ebac23d7" providerId="ADAL" clId="{7889F8E4-3B11-44EC-BF56-408DF8153FC1}" dt="2020-07-27T05:54:12.536" v="19"/>
          <ac:spMkLst>
            <pc:docMk/>
            <pc:sldMk cId="0" sldId="266"/>
            <ac:spMk id="7" creationId="{00000000-0000-0000-0000-000000000000}"/>
          </ac:spMkLst>
        </pc:spChg>
        <pc:spChg chg="mod">
          <ac:chgData name="Mondal, Tanmay" userId="83c199d5-d146-4e16-b08e-fa47ebac23d7" providerId="ADAL" clId="{7889F8E4-3B11-44EC-BF56-408DF8153FC1}" dt="2020-07-27T05:54:12.536" v="19"/>
          <ac:spMkLst>
            <pc:docMk/>
            <pc:sldMk cId="0" sldId="266"/>
            <ac:spMk id="8" creationId="{00000000-0000-0000-0000-000000000000}"/>
          </ac:spMkLst>
        </pc:spChg>
        <pc:spChg chg="mod">
          <ac:chgData name="Mondal, Tanmay" userId="83c199d5-d146-4e16-b08e-fa47ebac23d7" providerId="ADAL" clId="{7889F8E4-3B11-44EC-BF56-408DF8153FC1}" dt="2020-07-27T05:54:12.536" v="19"/>
          <ac:spMkLst>
            <pc:docMk/>
            <pc:sldMk cId="0" sldId="266"/>
            <ac:spMk id="9" creationId="{00000000-0000-0000-0000-000000000000}"/>
          </ac:spMkLst>
        </pc:spChg>
        <pc:spChg chg="mod">
          <ac:chgData name="Mondal, Tanmay" userId="83c199d5-d146-4e16-b08e-fa47ebac23d7" providerId="ADAL" clId="{7889F8E4-3B11-44EC-BF56-408DF8153FC1}" dt="2020-07-27T05:54:12.536" v="19"/>
          <ac:spMkLst>
            <pc:docMk/>
            <pc:sldMk cId="0" sldId="266"/>
            <ac:spMk id="10" creationId="{00000000-0000-0000-0000-000000000000}"/>
          </ac:spMkLst>
        </pc:spChg>
        <pc:spChg chg="mod">
          <ac:chgData name="Mondal, Tanmay" userId="83c199d5-d146-4e16-b08e-fa47ebac23d7" providerId="ADAL" clId="{7889F8E4-3B11-44EC-BF56-408DF8153FC1}" dt="2020-07-27T05:54:12.536" v="19"/>
          <ac:spMkLst>
            <pc:docMk/>
            <pc:sldMk cId="0" sldId="266"/>
            <ac:spMk id="11" creationId="{00000000-0000-0000-0000-000000000000}"/>
          </ac:spMkLst>
        </pc:spChg>
        <pc:spChg chg="mod">
          <ac:chgData name="Mondal, Tanmay" userId="83c199d5-d146-4e16-b08e-fa47ebac23d7" providerId="ADAL" clId="{7889F8E4-3B11-44EC-BF56-408DF8153FC1}" dt="2020-07-27T05:54:12.536" v="19"/>
          <ac:spMkLst>
            <pc:docMk/>
            <pc:sldMk cId="0" sldId="266"/>
            <ac:spMk id="12" creationId="{00000000-0000-0000-0000-000000000000}"/>
          </ac:spMkLst>
        </pc:spChg>
        <pc:spChg chg="mod">
          <ac:chgData name="Mondal, Tanmay" userId="83c199d5-d146-4e16-b08e-fa47ebac23d7" providerId="ADAL" clId="{7889F8E4-3B11-44EC-BF56-408DF8153FC1}" dt="2020-07-27T05:54:12.536" v="19"/>
          <ac:spMkLst>
            <pc:docMk/>
            <pc:sldMk cId="0" sldId="266"/>
            <ac:spMk id="13" creationId="{00000000-0000-0000-0000-000000000000}"/>
          </ac:spMkLst>
        </pc:spChg>
        <pc:spChg chg="mod">
          <ac:chgData name="Mondal, Tanmay" userId="83c199d5-d146-4e16-b08e-fa47ebac23d7" providerId="ADAL" clId="{7889F8E4-3B11-44EC-BF56-408DF8153FC1}" dt="2020-07-27T05:54:12.536" v="19"/>
          <ac:spMkLst>
            <pc:docMk/>
            <pc:sldMk cId="0" sldId="266"/>
            <ac:spMk id="14" creationId="{00000000-0000-0000-0000-000000000000}"/>
          </ac:spMkLst>
        </pc:spChg>
        <pc:spChg chg="mod">
          <ac:chgData name="Mondal, Tanmay" userId="83c199d5-d146-4e16-b08e-fa47ebac23d7" providerId="ADAL" clId="{7889F8E4-3B11-44EC-BF56-408DF8153FC1}" dt="2020-07-27T05:54:12.536" v="19"/>
          <ac:spMkLst>
            <pc:docMk/>
            <pc:sldMk cId="0" sldId="266"/>
            <ac:spMk id="15" creationId="{00000000-0000-0000-0000-000000000000}"/>
          </ac:spMkLst>
        </pc:spChg>
        <pc:spChg chg="mod">
          <ac:chgData name="Mondal, Tanmay" userId="83c199d5-d146-4e16-b08e-fa47ebac23d7" providerId="ADAL" clId="{7889F8E4-3B11-44EC-BF56-408DF8153FC1}" dt="2020-07-27T05:54:12.536" v="19"/>
          <ac:spMkLst>
            <pc:docMk/>
            <pc:sldMk cId="0" sldId="266"/>
            <ac:spMk id="16" creationId="{00000000-0000-0000-0000-000000000000}"/>
          </ac:spMkLst>
        </pc:spChg>
        <pc:spChg chg="mod">
          <ac:chgData name="Mondal, Tanmay" userId="83c199d5-d146-4e16-b08e-fa47ebac23d7" providerId="ADAL" clId="{7889F8E4-3B11-44EC-BF56-408DF8153FC1}" dt="2020-07-27T05:54:12.536" v="19"/>
          <ac:spMkLst>
            <pc:docMk/>
            <pc:sldMk cId="0" sldId="266"/>
            <ac:spMk id="17" creationId="{00000000-0000-0000-0000-000000000000}"/>
          </ac:spMkLst>
        </pc:spChg>
        <pc:spChg chg="mod">
          <ac:chgData name="Mondal, Tanmay" userId="83c199d5-d146-4e16-b08e-fa47ebac23d7" providerId="ADAL" clId="{7889F8E4-3B11-44EC-BF56-408DF8153FC1}" dt="2020-07-27T05:54:12.536" v="19"/>
          <ac:spMkLst>
            <pc:docMk/>
            <pc:sldMk cId="0" sldId="266"/>
            <ac:spMk id="18" creationId="{00000000-0000-0000-0000-000000000000}"/>
          </ac:spMkLst>
        </pc:spChg>
        <pc:spChg chg="mod">
          <ac:chgData name="Mondal, Tanmay" userId="83c199d5-d146-4e16-b08e-fa47ebac23d7" providerId="ADAL" clId="{7889F8E4-3B11-44EC-BF56-408DF8153FC1}" dt="2020-07-27T05:54:12.536" v="19"/>
          <ac:spMkLst>
            <pc:docMk/>
            <pc:sldMk cId="0" sldId="266"/>
            <ac:spMk id="19" creationId="{00000000-0000-0000-0000-000000000000}"/>
          </ac:spMkLst>
        </pc:spChg>
        <pc:spChg chg="mod">
          <ac:chgData name="Mondal, Tanmay" userId="83c199d5-d146-4e16-b08e-fa47ebac23d7" providerId="ADAL" clId="{7889F8E4-3B11-44EC-BF56-408DF8153FC1}" dt="2020-07-27T05:54:12.536" v="19"/>
          <ac:spMkLst>
            <pc:docMk/>
            <pc:sldMk cId="0" sldId="266"/>
            <ac:spMk id="20" creationId="{00000000-0000-0000-0000-000000000000}"/>
          </ac:spMkLst>
        </pc:spChg>
        <pc:spChg chg="mod">
          <ac:chgData name="Mondal, Tanmay" userId="83c199d5-d146-4e16-b08e-fa47ebac23d7" providerId="ADAL" clId="{7889F8E4-3B11-44EC-BF56-408DF8153FC1}" dt="2020-07-27T05:54:12.536" v="19"/>
          <ac:spMkLst>
            <pc:docMk/>
            <pc:sldMk cId="0" sldId="266"/>
            <ac:spMk id="21" creationId="{00000000-0000-0000-0000-000000000000}"/>
          </ac:spMkLst>
        </pc:spChg>
        <pc:spChg chg="mod">
          <ac:chgData name="Mondal, Tanmay" userId="83c199d5-d146-4e16-b08e-fa47ebac23d7" providerId="ADAL" clId="{7889F8E4-3B11-44EC-BF56-408DF8153FC1}" dt="2020-07-27T05:54:12.536" v="19"/>
          <ac:spMkLst>
            <pc:docMk/>
            <pc:sldMk cId="0" sldId="266"/>
            <ac:spMk id="22" creationId="{00000000-0000-0000-0000-000000000000}"/>
          </ac:spMkLst>
        </pc:spChg>
        <pc:spChg chg="mod">
          <ac:chgData name="Mondal, Tanmay" userId="83c199d5-d146-4e16-b08e-fa47ebac23d7" providerId="ADAL" clId="{7889F8E4-3B11-44EC-BF56-408DF8153FC1}" dt="2020-07-27T05:54:12.536" v="19"/>
          <ac:spMkLst>
            <pc:docMk/>
            <pc:sldMk cId="0" sldId="266"/>
            <ac:spMk id="23" creationId="{00000000-0000-0000-0000-000000000000}"/>
          </ac:spMkLst>
        </pc:spChg>
        <pc:spChg chg="mod">
          <ac:chgData name="Mondal, Tanmay" userId="83c199d5-d146-4e16-b08e-fa47ebac23d7" providerId="ADAL" clId="{7889F8E4-3B11-44EC-BF56-408DF8153FC1}" dt="2020-07-27T05:54:12.536" v="19"/>
          <ac:spMkLst>
            <pc:docMk/>
            <pc:sldMk cId="0" sldId="266"/>
            <ac:spMk id="24" creationId="{00000000-0000-0000-0000-000000000000}"/>
          </ac:spMkLst>
        </pc:spChg>
        <pc:spChg chg="add del mod">
          <ac:chgData name="Mondal, Tanmay" userId="83c199d5-d146-4e16-b08e-fa47ebac23d7" providerId="ADAL" clId="{7889F8E4-3B11-44EC-BF56-408DF8153FC1}" dt="2020-07-27T07:16:24.478" v="423" actId="478"/>
          <ac:spMkLst>
            <pc:docMk/>
            <pc:sldMk cId="0" sldId="266"/>
            <ac:spMk id="25" creationId="{68B14FDF-E7CB-4A2C-962F-0FFD835524A2}"/>
          </ac:spMkLst>
        </pc:spChg>
        <pc:spChg chg="mod">
          <ac:chgData name="Mondal, Tanmay" userId="83c199d5-d146-4e16-b08e-fa47ebac23d7" providerId="ADAL" clId="{7889F8E4-3B11-44EC-BF56-408DF8153FC1}" dt="2020-07-27T05:54:12.536" v="19"/>
          <ac:spMkLst>
            <pc:docMk/>
            <pc:sldMk cId="0" sldId="266"/>
            <ac:spMk id="26" creationId="{00000000-0000-0000-0000-000000000000}"/>
          </ac:spMkLst>
        </pc:spChg>
        <pc:spChg chg="mod">
          <ac:chgData name="Mondal, Tanmay" userId="83c199d5-d146-4e16-b08e-fa47ebac23d7" providerId="ADAL" clId="{7889F8E4-3B11-44EC-BF56-408DF8153FC1}" dt="2020-07-27T05:54:12.536" v="19"/>
          <ac:spMkLst>
            <pc:docMk/>
            <pc:sldMk cId="0" sldId="266"/>
            <ac:spMk id="27" creationId="{00000000-0000-0000-0000-000000000000}"/>
          </ac:spMkLst>
        </pc:spChg>
        <pc:spChg chg="mod">
          <ac:chgData name="Mondal, Tanmay" userId="83c199d5-d146-4e16-b08e-fa47ebac23d7" providerId="ADAL" clId="{7889F8E4-3B11-44EC-BF56-408DF8153FC1}" dt="2020-07-27T05:54:12.536" v="19"/>
          <ac:spMkLst>
            <pc:docMk/>
            <pc:sldMk cId="0" sldId="266"/>
            <ac:spMk id="28" creationId="{00000000-0000-0000-0000-000000000000}"/>
          </ac:spMkLst>
        </pc:spChg>
        <pc:spChg chg="mod">
          <ac:chgData name="Mondal, Tanmay" userId="83c199d5-d146-4e16-b08e-fa47ebac23d7" providerId="ADAL" clId="{7889F8E4-3B11-44EC-BF56-408DF8153FC1}" dt="2020-07-27T05:54:12.536" v="19"/>
          <ac:spMkLst>
            <pc:docMk/>
            <pc:sldMk cId="0" sldId="266"/>
            <ac:spMk id="29" creationId="{00000000-0000-0000-0000-000000000000}"/>
          </ac:spMkLst>
        </pc:spChg>
        <pc:spChg chg="add del mod">
          <ac:chgData name="Mondal, Tanmay" userId="83c199d5-d146-4e16-b08e-fa47ebac23d7" providerId="ADAL" clId="{7889F8E4-3B11-44EC-BF56-408DF8153FC1}" dt="2020-07-27T07:16:21.675" v="422" actId="478"/>
          <ac:spMkLst>
            <pc:docMk/>
            <pc:sldMk cId="0" sldId="266"/>
            <ac:spMk id="30" creationId="{7875C5FF-67B9-43BE-9C59-8FC8D1AEB433}"/>
          </ac:spMkLst>
        </pc:spChg>
        <pc:spChg chg="mod">
          <ac:chgData name="Mondal, Tanmay" userId="83c199d5-d146-4e16-b08e-fa47ebac23d7" providerId="ADAL" clId="{7889F8E4-3B11-44EC-BF56-408DF8153FC1}" dt="2020-07-27T05:54:12.536" v="19"/>
          <ac:spMkLst>
            <pc:docMk/>
            <pc:sldMk cId="0" sldId="266"/>
            <ac:spMk id="34" creationId="{00000000-0000-0000-0000-000000000000}"/>
          </ac:spMkLst>
        </pc:spChg>
        <pc:spChg chg="mod">
          <ac:chgData name="Mondal, Tanmay" userId="83c199d5-d146-4e16-b08e-fa47ebac23d7" providerId="ADAL" clId="{7889F8E4-3B11-44EC-BF56-408DF8153FC1}" dt="2020-07-27T05:54:12.536" v="19"/>
          <ac:spMkLst>
            <pc:docMk/>
            <pc:sldMk cId="0" sldId="266"/>
            <ac:spMk id="35" creationId="{00000000-0000-0000-0000-000000000000}"/>
          </ac:spMkLst>
        </pc:spChg>
        <pc:spChg chg="mod">
          <ac:chgData name="Mondal, Tanmay" userId="83c199d5-d146-4e16-b08e-fa47ebac23d7" providerId="ADAL" clId="{7889F8E4-3B11-44EC-BF56-408DF8153FC1}" dt="2020-07-27T05:54:12.536" v="19"/>
          <ac:spMkLst>
            <pc:docMk/>
            <pc:sldMk cId="0" sldId="266"/>
            <ac:spMk id="36" creationId="{00000000-0000-0000-0000-000000000000}"/>
          </ac:spMkLst>
        </pc:spChg>
        <pc:spChg chg="mod">
          <ac:chgData name="Mondal, Tanmay" userId="83c199d5-d146-4e16-b08e-fa47ebac23d7" providerId="ADAL" clId="{7889F8E4-3B11-44EC-BF56-408DF8153FC1}" dt="2020-07-27T05:54:12.536" v="19"/>
          <ac:spMkLst>
            <pc:docMk/>
            <pc:sldMk cId="0" sldId="266"/>
            <ac:spMk id="37" creationId="{00000000-0000-0000-0000-000000000000}"/>
          </ac:spMkLst>
        </pc:spChg>
        <pc:spChg chg="mod">
          <ac:chgData name="Mondal, Tanmay" userId="83c199d5-d146-4e16-b08e-fa47ebac23d7" providerId="ADAL" clId="{7889F8E4-3B11-44EC-BF56-408DF8153FC1}" dt="2020-07-27T05:54:12.536" v="19"/>
          <ac:spMkLst>
            <pc:docMk/>
            <pc:sldMk cId="0" sldId="266"/>
            <ac:spMk id="38" creationId="{00000000-0000-0000-0000-000000000000}"/>
          </ac:spMkLst>
        </pc:spChg>
        <pc:spChg chg="mod">
          <ac:chgData name="Mondal, Tanmay" userId="83c199d5-d146-4e16-b08e-fa47ebac23d7" providerId="ADAL" clId="{7889F8E4-3B11-44EC-BF56-408DF8153FC1}" dt="2020-07-27T05:54:12.536" v="19"/>
          <ac:spMkLst>
            <pc:docMk/>
            <pc:sldMk cId="0" sldId="266"/>
            <ac:spMk id="39" creationId="{00000000-0000-0000-0000-000000000000}"/>
          </ac:spMkLst>
        </pc:spChg>
        <pc:spChg chg="mod">
          <ac:chgData name="Mondal, Tanmay" userId="83c199d5-d146-4e16-b08e-fa47ebac23d7" providerId="ADAL" clId="{7889F8E4-3B11-44EC-BF56-408DF8153FC1}" dt="2020-07-27T05:54:12.536" v="19"/>
          <ac:spMkLst>
            <pc:docMk/>
            <pc:sldMk cId="0" sldId="266"/>
            <ac:spMk id="40" creationId="{00000000-0000-0000-0000-000000000000}"/>
          </ac:spMkLst>
        </pc:spChg>
        <pc:spChg chg="mod">
          <ac:chgData name="Mondal, Tanmay" userId="83c199d5-d146-4e16-b08e-fa47ebac23d7" providerId="ADAL" clId="{7889F8E4-3B11-44EC-BF56-408DF8153FC1}" dt="2020-07-27T05:54:12.536" v="19"/>
          <ac:spMkLst>
            <pc:docMk/>
            <pc:sldMk cId="0" sldId="266"/>
            <ac:spMk id="41" creationId="{00000000-0000-0000-0000-000000000000}"/>
          </ac:spMkLst>
        </pc:spChg>
        <pc:spChg chg="mod">
          <ac:chgData name="Mondal, Tanmay" userId="83c199d5-d146-4e16-b08e-fa47ebac23d7" providerId="ADAL" clId="{7889F8E4-3B11-44EC-BF56-408DF8153FC1}" dt="2020-07-27T05:54:12.536" v="19"/>
          <ac:spMkLst>
            <pc:docMk/>
            <pc:sldMk cId="0" sldId="266"/>
            <ac:spMk id="42" creationId="{00000000-0000-0000-0000-000000000000}"/>
          </ac:spMkLst>
        </pc:spChg>
        <pc:spChg chg="mod">
          <ac:chgData name="Mondal, Tanmay" userId="83c199d5-d146-4e16-b08e-fa47ebac23d7" providerId="ADAL" clId="{7889F8E4-3B11-44EC-BF56-408DF8153FC1}" dt="2020-07-27T05:54:12.536" v="19"/>
          <ac:spMkLst>
            <pc:docMk/>
            <pc:sldMk cId="0" sldId="266"/>
            <ac:spMk id="43" creationId="{00000000-0000-0000-0000-000000000000}"/>
          </ac:spMkLst>
        </pc:spChg>
        <pc:spChg chg="mod">
          <ac:chgData name="Mondal, Tanmay" userId="83c199d5-d146-4e16-b08e-fa47ebac23d7" providerId="ADAL" clId="{7889F8E4-3B11-44EC-BF56-408DF8153FC1}" dt="2020-07-27T05:54:12.536" v="19"/>
          <ac:spMkLst>
            <pc:docMk/>
            <pc:sldMk cId="0" sldId="266"/>
            <ac:spMk id="44" creationId="{00000000-0000-0000-0000-000000000000}"/>
          </ac:spMkLst>
        </pc:spChg>
        <pc:spChg chg="mod">
          <ac:chgData name="Mondal, Tanmay" userId="83c199d5-d146-4e16-b08e-fa47ebac23d7" providerId="ADAL" clId="{7889F8E4-3B11-44EC-BF56-408DF8153FC1}" dt="2020-07-27T05:54:12.536" v="19"/>
          <ac:spMkLst>
            <pc:docMk/>
            <pc:sldMk cId="0" sldId="266"/>
            <ac:spMk id="45" creationId="{00000000-0000-0000-0000-000000000000}"/>
          </ac:spMkLst>
        </pc:spChg>
        <pc:spChg chg="mod">
          <ac:chgData name="Mondal, Tanmay" userId="83c199d5-d146-4e16-b08e-fa47ebac23d7" providerId="ADAL" clId="{7889F8E4-3B11-44EC-BF56-408DF8153FC1}" dt="2020-07-27T05:54:12.536" v="19"/>
          <ac:spMkLst>
            <pc:docMk/>
            <pc:sldMk cId="0" sldId="266"/>
            <ac:spMk id="46" creationId="{00000000-0000-0000-0000-000000000000}"/>
          </ac:spMkLst>
        </pc:spChg>
        <pc:spChg chg="mod">
          <ac:chgData name="Mondal, Tanmay" userId="83c199d5-d146-4e16-b08e-fa47ebac23d7" providerId="ADAL" clId="{7889F8E4-3B11-44EC-BF56-408DF8153FC1}" dt="2020-07-27T05:54:12.536" v="19"/>
          <ac:spMkLst>
            <pc:docMk/>
            <pc:sldMk cId="0" sldId="266"/>
            <ac:spMk id="47" creationId="{00000000-0000-0000-0000-000000000000}"/>
          </ac:spMkLst>
        </pc:spChg>
        <pc:spChg chg="mod">
          <ac:chgData name="Mondal, Tanmay" userId="83c199d5-d146-4e16-b08e-fa47ebac23d7" providerId="ADAL" clId="{7889F8E4-3B11-44EC-BF56-408DF8153FC1}" dt="2020-07-27T05:54:12.536" v="19"/>
          <ac:spMkLst>
            <pc:docMk/>
            <pc:sldMk cId="0" sldId="266"/>
            <ac:spMk id="48" creationId="{00000000-0000-0000-0000-000000000000}"/>
          </ac:spMkLst>
        </pc:spChg>
        <pc:spChg chg="mod">
          <ac:chgData name="Mondal, Tanmay" userId="83c199d5-d146-4e16-b08e-fa47ebac23d7" providerId="ADAL" clId="{7889F8E4-3B11-44EC-BF56-408DF8153FC1}" dt="2020-07-27T05:54:12.536" v="19"/>
          <ac:spMkLst>
            <pc:docMk/>
            <pc:sldMk cId="0" sldId="266"/>
            <ac:spMk id="49" creationId="{00000000-0000-0000-0000-000000000000}"/>
          </ac:spMkLst>
        </pc:spChg>
        <pc:spChg chg="mod">
          <ac:chgData name="Mondal, Tanmay" userId="83c199d5-d146-4e16-b08e-fa47ebac23d7" providerId="ADAL" clId="{7889F8E4-3B11-44EC-BF56-408DF8153FC1}" dt="2020-07-27T05:54:12.536" v="19"/>
          <ac:spMkLst>
            <pc:docMk/>
            <pc:sldMk cId="0" sldId="266"/>
            <ac:spMk id="50" creationId="{00000000-0000-0000-0000-000000000000}"/>
          </ac:spMkLst>
        </pc:spChg>
        <pc:spChg chg="mod">
          <ac:chgData name="Mondal, Tanmay" userId="83c199d5-d146-4e16-b08e-fa47ebac23d7" providerId="ADAL" clId="{7889F8E4-3B11-44EC-BF56-408DF8153FC1}" dt="2020-07-27T05:54:12.536" v="19"/>
          <ac:spMkLst>
            <pc:docMk/>
            <pc:sldMk cId="0" sldId="266"/>
            <ac:spMk id="51" creationId="{00000000-0000-0000-0000-000000000000}"/>
          </ac:spMkLst>
        </pc:spChg>
        <pc:spChg chg="mod">
          <ac:chgData name="Mondal, Tanmay" userId="83c199d5-d146-4e16-b08e-fa47ebac23d7" providerId="ADAL" clId="{7889F8E4-3B11-44EC-BF56-408DF8153FC1}" dt="2020-07-27T05:54:12.536" v="19"/>
          <ac:spMkLst>
            <pc:docMk/>
            <pc:sldMk cId="0" sldId="266"/>
            <ac:spMk id="52" creationId="{00000000-0000-0000-0000-000000000000}"/>
          </ac:spMkLst>
        </pc:spChg>
        <pc:spChg chg="mod">
          <ac:chgData name="Mondal, Tanmay" userId="83c199d5-d146-4e16-b08e-fa47ebac23d7" providerId="ADAL" clId="{7889F8E4-3B11-44EC-BF56-408DF8153FC1}" dt="2020-07-27T05:54:12.536" v="19"/>
          <ac:spMkLst>
            <pc:docMk/>
            <pc:sldMk cId="0" sldId="266"/>
            <ac:spMk id="53" creationId="{00000000-0000-0000-0000-000000000000}"/>
          </ac:spMkLst>
        </pc:spChg>
        <pc:spChg chg="mod">
          <ac:chgData name="Mondal, Tanmay" userId="83c199d5-d146-4e16-b08e-fa47ebac23d7" providerId="ADAL" clId="{7889F8E4-3B11-44EC-BF56-408DF8153FC1}" dt="2020-07-27T05:54:12.536" v="19"/>
          <ac:spMkLst>
            <pc:docMk/>
            <pc:sldMk cId="0" sldId="266"/>
            <ac:spMk id="54" creationId="{00000000-0000-0000-0000-000000000000}"/>
          </ac:spMkLst>
        </pc:spChg>
        <pc:spChg chg="mod">
          <ac:chgData name="Mondal, Tanmay" userId="83c199d5-d146-4e16-b08e-fa47ebac23d7" providerId="ADAL" clId="{7889F8E4-3B11-44EC-BF56-408DF8153FC1}" dt="2020-07-27T05:54:12.536" v="19"/>
          <ac:spMkLst>
            <pc:docMk/>
            <pc:sldMk cId="0" sldId="266"/>
            <ac:spMk id="55" creationId="{00000000-0000-0000-0000-000000000000}"/>
          </ac:spMkLst>
        </pc:spChg>
        <pc:spChg chg="mod">
          <ac:chgData name="Mondal, Tanmay" userId="83c199d5-d146-4e16-b08e-fa47ebac23d7" providerId="ADAL" clId="{7889F8E4-3B11-44EC-BF56-408DF8153FC1}" dt="2020-07-27T05:54:12.536" v="19"/>
          <ac:spMkLst>
            <pc:docMk/>
            <pc:sldMk cId="0" sldId="266"/>
            <ac:spMk id="56" creationId="{00000000-0000-0000-0000-000000000000}"/>
          </ac:spMkLst>
        </pc:spChg>
        <pc:spChg chg="mod">
          <ac:chgData name="Mondal, Tanmay" userId="83c199d5-d146-4e16-b08e-fa47ebac23d7" providerId="ADAL" clId="{7889F8E4-3B11-44EC-BF56-408DF8153FC1}" dt="2020-07-27T05:54:12.536" v="19"/>
          <ac:spMkLst>
            <pc:docMk/>
            <pc:sldMk cId="0" sldId="266"/>
            <ac:spMk id="57" creationId="{00000000-0000-0000-0000-000000000000}"/>
          </ac:spMkLst>
        </pc:spChg>
        <pc:spChg chg="mod">
          <ac:chgData name="Mondal, Tanmay" userId="83c199d5-d146-4e16-b08e-fa47ebac23d7" providerId="ADAL" clId="{7889F8E4-3B11-44EC-BF56-408DF8153FC1}" dt="2020-07-27T05:54:12.536" v="19"/>
          <ac:spMkLst>
            <pc:docMk/>
            <pc:sldMk cId="0" sldId="266"/>
            <ac:spMk id="58" creationId="{00000000-0000-0000-0000-000000000000}"/>
          </ac:spMkLst>
        </pc:spChg>
        <pc:spChg chg="mod">
          <ac:chgData name="Mondal, Tanmay" userId="83c199d5-d146-4e16-b08e-fa47ebac23d7" providerId="ADAL" clId="{7889F8E4-3B11-44EC-BF56-408DF8153FC1}" dt="2020-07-27T05:54:12.536" v="19"/>
          <ac:spMkLst>
            <pc:docMk/>
            <pc:sldMk cId="0" sldId="266"/>
            <ac:spMk id="59" creationId="{00000000-0000-0000-0000-000000000000}"/>
          </ac:spMkLst>
        </pc:spChg>
        <pc:spChg chg="mod">
          <ac:chgData name="Mondal, Tanmay" userId="83c199d5-d146-4e16-b08e-fa47ebac23d7" providerId="ADAL" clId="{7889F8E4-3B11-44EC-BF56-408DF8153FC1}" dt="2020-07-27T05:54:12.536" v="19"/>
          <ac:spMkLst>
            <pc:docMk/>
            <pc:sldMk cId="0" sldId="266"/>
            <ac:spMk id="60" creationId="{00000000-0000-0000-0000-000000000000}"/>
          </ac:spMkLst>
        </pc:spChg>
        <pc:spChg chg="mod">
          <ac:chgData name="Mondal, Tanmay" userId="83c199d5-d146-4e16-b08e-fa47ebac23d7" providerId="ADAL" clId="{7889F8E4-3B11-44EC-BF56-408DF8153FC1}" dt="2020-07-27T05:54:12.536" v="19"/>
          <ac:spMkLst>
            <pc:docMk/>
            <pc:sldMk cId="0" sldId="266"/>
            <ac:spMk id="61" creationId="{00000000-0000-0000-0000-000000000000}"/>
          </ac:spMkLst>
        </pc:spChg>
        <pc:spChg chg="mod">
          <ac:chgData name="Mondal, Tanmay" userId="83c199d5-d146-4e16-b08e-fa47ebac23d7" providerId="ADAL" clId="{7889F8E4-3B11-44EC-BF56-408DF8153FC1}" dt="2020-07-27T05:54:12.536" v="19"/>
          <ac:spMkLst>
            <pc:docMk/>
            <pc:sldMk cId="0" sldId="266"/>
            <ac:spMk id="62" creationId="{00000000-0000-0000-0000-000000000000}"/>
          </ac:spMkLst>
        </pc:spChg>
        <pc:spChg chg="mod">
          <ac:chgData name="Mondal, Tanmay" userId="83c199d5-d146-4e16-b08e-fa47ebac23d7" providerId="ADAL" clId="{7889F8E4-3B11-44EC-BF56-408DF8153FC1}" dt="2020-07-27T05:54:12.536" v="19"/>
          <ac:spMkLst>
            <pc:docMk/>
            <pc:sldMk cId="0" sldId="266"/>
            <ac:spMk id="63" creationId="{00000000-0000-0000-0000-000000000000}"/>
          </ac:spMkLst>
        </pc:spChg>
      </pc:sldChg>
      <pc:sldChg chg="modSp del">
        <pc:chgData name="Mondal, Tanmay" userId="83c199d5-d146-4e16-b08e-fa47ebac23d7" providerId="ADAL" clId="{7889F8E4-3B11-44EC-BF56-408DF8153FC1}" dt="2020-07-27T07:22:03.688" v="463" actId="2696"/>
        <pc:sldMkLst>
          <pc:docMk/>
          <pc:sldMk cId="0" sldId="267"/>
        </pc:sldMkLst>
        <pc:spChg chg="mod">
          <ac:chgData name="Mondal, Tanmay" userId="83c199d5-d146-4e16-b08e-fa47ebac23d7" providerId="ADAL" clId="{7889F8E4-3B11-44EC-BF56-408DF8153FC1}" dt="2020-07-27T05:54:12.536" v="19"/>
          <ac:spMkLst>
            <pc:docMk/>
            <pc:sldMk cId="0" sldId="267"/>
            <ac:spMk id="2" creationId="{00000000-0000-0000-0000-000000000000}"/>
          </ac:spMkLst>
        </pc:spChg>
        <pc:spChg chg="mod">
          <ac:chgData name="Mondal, Tanmay" userId="83c199d5-d146-4e16-b08e-fa47ebac23d7" providerId="ADAL" clId="{7889F8E4-3B11-44EC-BF56-408DF8153FC1}" dt="2020-07-27T05:54:12.536" v="19"/>
          <ac:spMkLst>
            <pc:docMk/>
            <pc:sldMk cId="0" sldId="267"/>
            <ac:spMk id="3" creationId="{00000000-0000-0000-0000-000000000000}"/>
          </ac:spMkLst>
        </pc:spChg>
        <pc:spChg chg="mod">
          <ac:chgData name="Mondal, Tanmay" userId="83c199d5-d146-4e16-b08e-fa47ebac23d7" providerId="ADAL" clId="{7889F8E4-3B11-44EC-BF56-408DF8153FC1}" dt="2020-07-27T05:54:12.536" v="19"/>
          <ac:spMkLst>
            <pc:docMk/>
            <pc:sldMk cId="0" sldId="267"/>
            <ac:spMk id="4" creationId="{00000000-0000-0000-0000-000000000000}"/>
          </ac:spMkLst>
        </pc:spChg>
        <pc:spChg chg="mod">
          <ac:chgData name="Mondal, Tanmay" userId="83c199d5-d146-4e16-b08e-fa47ebac23d7" providerId="ADAL" clId="{7889F8E4-3B11-44EC-BF56-408DF8153FC1}" dt="2020-07-27T05:54:12.536" v="19"/>
          <ac:spMkLst>
            <pc:docMk/>
            <pc:sldMk cId="0" sldId="267"/>
            <ac:spMk id="5" creationId="{00000000-0000-0000-0000-000000000000}"/>
          </ac:spMkLst>
        </pc:spChg>
        <pc:spChg chg="mod">
          <ac:chgData name="Mondal, Tanmay" userId="83c199d5-d146-4e16-b08e-fa47ebac23d7" providerId="ADAL" clId="{7889F8E4-3B11-44EC-BF56-408DF8153FC1}" dt="2020-07-27T05:54:12.536" v="19"/>
          <ac:spMkLst>
            <pc:docMk/>
            <pc:sldMk cId="0" sldId="267"/>
            <ac:spMk id="6" creationId="{00000000-0000-0000-0000-000000000000}"/>
          </ac:spMkLst>
        </pc:spChg>
        <pc:spChg chg="mod">
          <ac:chgData name="Mondal, Tanmay" userId="83c199d5-d146-4e16-b08e-fa47ebac23d7" providerId="ADAL" clId="{7889F8E4-3B11-44EC-BF56-408DF8153FC1}" dt="2020-07-27T05:54:12.536" v="19"/>
          <ac:spMkLst>
            <pc:docMk/>
            <pc:sldMk cId="0" sldId="267"/>
            <ac:spMk id="18" creationId="{00000000-0000-0000-0000-000000000000}"/>
          </ac:spMkLst>
        </pc:spChg>
        <pc:spChg chg="mod">
          <ac:chgData name="Mondal, Tanmay" userId="83c199d5-d146-4e16-b08e-fa47ebac23d7" providerId="ADAL" clId="{7889F8E4-3B11-44EC-BF56-408DF8153FC1}" dt="2020-07-27T05:54:12.536" v="19"/>
          <ac:spMkLst>
            <pc:docMk/>
            <pc:sldMk cId="0" sldId="267"/>
            <ac:spMk id="19" creationId="{00000000-0000-0000-0000-000000000000}"/>
          </ac:spMkLst>
        </pc:spChg>
        <pc:spChg chg="mod">
          <ac:chgData name="Mondal, Tanmay" userId="83c199d5-d146-4e16-b08e-fa47ebac23d7" providerId="ADAL" clId="{7889F8E4-3B11-44EC-BF56-408DF8153FC1}" dt="2020-07-27T05:54:12.536" v="19"/>
          <ac:spMkLst>
            <pc:docMk/>
            <pc:sldMk cId="0" sldId="267"/>
            <ac:spMk id="20" creationId="{00000000-0000-0000-0000-000000000000}"/>
          </ac:spMkLst>
        </pc:spChg>
        <pc:spChg chg="mod">
          <ac:chgData name="Mondal, Tanmay" userId="83c199d5-d146-4e16-b08e-fa47ebac23d7" providerId="ADAL" clId="{7889F8E4-3B11-44EC-BF56-408DF8153FC1}" dt="2020-07-27T05:54:12.536" v="19"/>
          <ac:spMkLst>
            <pc:docMk/>
            <pc:sldMk cId="0" sldId="267"/>
            <ac:spMk id="21" creationId="{00000000-0000-0000-0000-000000000000}"/>
          </ac:spMkLst>
        </pc:spChg>
        <pc:spChg chg="mod">
          <ac:chgData name="Mondal, Tanmay" userId="83c199d5-d146-4e16-b08e-fa47ebac23d7" providerId="ADAL" clId="{7889F8E4-3B11-44EC-BF56-408DF8153FC1}" dt="2020-07-27T05:54:12.536" v="19"/>
          <ac:spMkLst>
            <pc:docMk/>
            <pc:sldMk cId="0" sldId="267"/>
            <ac:spMk id="22" creationId="{00000000-0000-0000-0000-000000000000}"/>
          </ac:spMkLst>
        </pc:spChg>
        <pc:spChg chg="mod">
          <ac:chgData name="Mondal, Tanmay" userId="83c199d5-d146-4e16-b08e-fa47ebac23d7" providerId="ADAL" clId="{7889F8E4-3B11-44EC-BF56-408DF8153FC1}" dt="2020-07-27T05:54:12.536" v="19"/>
          <ac:spMkLst>
            <pc:docMk/>
            <pc:sldMk cId="0" sldId="267"/>
            <ac:spMk id="23" creationId="{00000000-0000-0000-0000-000000000000}"/>
          </ac:spMkLst>
        </pc:spChg>
        <pc:spChg chg="mod">
          <ac:chgData name="Mondal, Tanmay" userId="83c199d5-d146-4e16-b08e-fa47ebac23d7" providerId="ADAL" clId="{7889F8E4-3B11-44EC-BF56-408DF8153FC1}" dt="2020-07-27T05:54:12.536" v="19"/>
          <ac:spMkLst>
            <pc:docMk/>
            <pc:sldMk cId="0" sldId="267"/>
            <ac:spMk id="26" creationId="{00000000-0000-0000-0000-000000000000}"/>
          </ac:spMkLst>
        </pc:spChg>
      </pc:sldChg>
      <pc:sldChg chg="addSp delSp modSp add">
        <pc:chgData name="Mondal, Tanmay" userId="83c199d5-d146-4e16-b08e-fa47ebac23d7" providerId="ADAL" clId="{7889F8E4-3B11-44EC-BF56-408DF8153FC1}" dt="2020-07-27T07:30:32.726" v="567" actId="478"/>
        <pc:sldMkLst>
          <pc:docMk/>
          <pc:sldMk cId="4201604781" sldId="267"/>
        </pc:sldMkLst>
        <pc:spChg chg="add del mod">
          <ac:chgData name="Mondal, Tanmay" userId="83c199d5-d146-4e16-b08e-fa47ebac23d7" providerId="ADAL" clId="{7889F8E4-3B11-44EC-BF56-408DF8153FC1}" dt="2020-07-27T07:30:32.726" v="567" actId="478"/>
          <ac:spMkLst>
            <pc:docMk/>
            <pc:sldMk cId="4201604781" sldId="267"/>
            <ac:spMk id="7" creationId="{B8B52EC0-28B5-46CA-9185-2B1941271B08}"/>
          </ac:spMkLst>
        </pc:spChg>
        <pc:spChg chg="add del mod">
          <ac:chgData name="Mondal, Tanmay" userId="83c199d5-d146-4e16-b08e-fa47ebac23d7" providerId="ADAL" clId="{7889F8E4-3B11-44EC-BF56-408DF8153FC1}" dt="2020-07-27T07:30:29.688" v="566" actId="478"/>
          <ac:spMkLst>
            <pc:docMk/>
            <pc:sldMk cId="4201604781" sldId="267"/>
            <ac:spMk id="8" creationId="{657C41B9-CBA0-4EF0-87BF-77BD28AC75D9}"/>
          </ac:spMkLst>
        </pc:spChg>
      </pc:sldChg>
      <pc:sldChg chg="addSp delSp modSp">
        <pc:chgData name="Mondal, Tanmay" userId="83c199d5-d146-4e16-b08e-fa47ebac23d7" providerId="ADAL" clId="{7889F8E4-3B11-44EC-BF56-408DF8153FC1}" dt="2020-07-27T07:28:37.957" v="543" actId="1035"/>
        <pc:sldMkLst>
          <pc:docMk/>
          <pc:sldMk cId="0" sldId="269"/>
        </pc:sldMkLst>
        <pc:spChg chg="mod">
          <ac:chgData name="Mondal, Tanmay" userId="83c199d5-d146-4e16-b08e-fa47ebac23d7" providerId="ADAL" clId="{7889F8E4-3B11-44EC-BF56-408DF8153FC1}" dt="2020-07-27T05:54:12.536" v="19"/>
          <ac:spMkLst>
            <pc:docMk/>
            <pc:sldMk cId="0" sldId="269"/>
            <ac:spMk id="2" creationId="{00000000-0000-0000-0000-000000000000}"/>
          </ac:spMkLst>
        </pc:spChg>
        <pc:spChg chg="mod">
          <ac:chgData name="Mondal, Tanmay" userId="83c199d5-d146-4e16-b08e-fa47ebac23d7" providerId="ADAL" clId="{7889F8E4-3B11-44EC-BF56-408DF8153FC1}" dt="2020-07-27T05:54:12.536" v="19"/>
          <ac:spMkLst>
            <pc:docMk/>
            <pc:sldMk cId="0" sldId="269"/>
            <ac:spMk id="3" creationId="{00000000-0000-0000-0000-000000000000}"/>
          </ac:spMkLst>
        </pc:spChg>
        <pc:spChg chg="mod">
          <ac:chgData name="Mondal, Tanmay" userId="83c199d5-d146-4e16-b08e-fa47ebac23d7" providerId="ADAL" clId="{7889F8E4-3B11-44EC-BF56-408DF8153FC1}" dt="2020-07-27T07:28:37.957" v="543" actId="1035"/>
          <ac:spMkLst>
            <pc:docMk/>
            <pc:sldMk cId="0" sldId="269"/>
            <ac:spMk id="4" creationId="{00000000-0000-0000-0000-000000000000}"/>
          </ac:spMkLst>
        </pc:spChg>
        <pc:spChg chg="mod">
          <ac:chgData name="Mondal, Tanmay" userId="83c199d5-d146-4e16-b08e-fa47ebac23d7" providerId="ADAL" clId="{7889F8E4-3B11-44EC-BF56-408DF8153FC1}" dt="2020-07-27T07:23:54.183" v="507" actId="1076"/>
          <ac:spMkLst>
            <pc:docMk/>
            <pc:sldMk cId="0" sldId="269"/>
            <ac:spMk id="5" creationId="{00000000-0000-0000-0000-000000000000}"/>
          </ac:spMkLst>
        </pc:spChg>
        <pc:spChg chg="mod">
          <ac:chgData name="Mondal, Tanmay" userId="83c199d5-d146-4e16-b08e-fa47ebac23d7" providerId="ADAL" clId="{7889F8E4-3B11-44EC-BF56-408DF8153FC1}" dt="2020-07-27T07:27:22.932" v="533" actId="1035"/>
          <ac:spMkLst>
            <pc:docMk/>
            <pc:sldMk cId="0" sldId="269"/>
            <ac:spMk id="6" creationId="{00000000-0000-0000-0000-000000000000}"/>
          </ac:spMkLst>
        </pc:spChg>
        <pc:spChg chg="mod">
          <ac:chgData name="Mondal, Tanmay" userId="83c199d5-d146-4e16-b08e-fa47ebac23d7" providerId="ADAL" clId="{7889F8E4-3B11-44EC-BF56-408DF8153FC1}" dt="2020-07-27T07:27:48.105" v="542" actId="1076"/>
          <ac:spMkLst>
            <pc:docMk/>
            <pc:sldMk cId="0" sldId="269"/>
            <ac:spMk id="7" creationId="{00000000-0000-0000-0000-000000000000}"/>
          </ac:spMkLst>
        </pc:spChg>
        <pc:spChg chg="mod">
          <ac:chgData name="Mondal, Tanmay" userId="83c199d5-d146-4e16-b08e-fa47ebac23d7" providerId="ADAL" clId="{7889F8E4-3B11-44EC-BF56-408DF8153FC1}" dt="2020-07-27T05:54:12.536" v="19"/>
          <ac:spMkLst>
            <pc:docMk/>
            <pc:sldMk cId="0" sldId="269"/>
            <ac:spMk id="8" creationId="{00000000-0000-0000-0000-000000000000}"/>
          </ac:spMkLst>
        </pc:spChg>
        <pc:spChg chg="mod">
          <ac:chgData name="Mondal, Tanmay" userId="83c199d5-d146-4e16-b08e-fa47ebac23d7" providerId="ADAL" clId="{7889F8E4-3B11-44EC-BF56-408DF8153FC1}" dt="2020-07-27T05:54:12.536" v="19"/>
          <ac:spMkLst>
            <pc:docMk/>
            <pc:sldMk cId="0" sldId="269"/>
            <ac:spMk id="9" creationId="{00000000-0000-0000-0000-000000000000}"/>
          </ac:spMkLst>
        </pc:spChg>
        <pc:spChg chg="mod">
          <ac:chgData name="Mondal, Tanmay" userId="83c199d5-d146-4e16-b08e-fa47ebac23d7" providerId="ADAL" clId="{7889F8E4-3B11-44EC-BF56-408DF8153FC1}" dt="2020-07-27T05:54:12.536" v="19"/>
          <ac:spMkLst>
            <pc:docMk/>
            <pc:sldMk cId="0" sldId="269"/>
            <ac:spMk id="10" creationId="{00000000-0000-0000-0000-000000000000}"/>
          </ac:spMkLst>
        </pc:spChg>
        <pc:spChg chg="mod">
          <ac:chgData name="Mondal, Tanmay" userId="83c199d5-d146-4e16-b08e-fa47ebac23d7" providerId="ADAL" clId="{7889F8E4-3B11-44EC-BF56-408DF8153FC1}" dt="2020-07-27T05:54:12.536" v="19"/>
          <ac:spMkLst>
            <pc:docMk/>
            <pc:sldMk cId="0" sldId="269"/>
            <ac:spMk id="11" creationId="{00000000-0000-0000-0000-000000000000}"/>
          </ac:spMkLst>
        </pc:spChg>
        <pc:spChg chg="mod">
          <ac:chgData name="Mondal, Tanmay" userId="83c199d5-d146-4e16-b08e-fa47ebac23d7" providerId="ADAL" clId="{7889F8E4-3B11-44EC-BF56-408DF8153FC1}" dt="2020-07-27T05:54:12.536" v="19"/>
          <ac:spMkLst>
            <pc:docMk/>
            <pc:sldMk cId="0" sldId="269"/>
            <ac:spMk id="12" creationId="{00000000-0000-0000-0000-000000000000}"/>
          </ac:spMkLst>
        </pc:spChg>
        <pc:spChg chg="add del mod">
          <ac:chgData name="Mondal, Tanmay" userId="83c199d5-d146-4e16-b08e-fa47ebac23d7" providerId="ADAL" clId="{7889F8E4-3B11-44EC-BF56-408DF8153FC1}" dt="2020-07-27T07:23:38.992" v="506" actId="478"/>
          <ac:spMkLst>
            <pc:docMk/>
            <pc:sldMk cId="0" sldId="269"/>
            <ac:spMk id="13" creationId="{119BC27D-AA59-4502-89E0-CC79BFA9DCE0}"/>
          </ac:spMkLst>
        </pc:spChg>
        <pc:spChg chg="add del mod">
          <ac:chgData name="Mondal, Tanmay" userId="83c199d5-d146-4e16-b08e-fa47ebac23d7" providerId="ADAL" clId="{7889F8E4-3B11-44EC-BF56-408DF8153FC1}" dt="2020-07-27T07:23:36.181" v="505" actId="478"/>
          <ac:spMkLst>
            <pc:docMk/>
            <pc:sldMk cId="0" sldId="269"/>
            <ac:spMk id="14" creationId="{342B43F3-1769-4421-8062-0435FE6D881F}"/>
          </ac:spMkLst>
        </pc:spChg>
        <pc:spChg chg="mod">
          <ac:chgData name="Mondal, Tanmay" userId="83c199d5-d146-4e16-b08e-fa47ebac23d7" providerId="ADAL" clId="{7889F8E4-3B11-44EC-BF56-408DF8153FC1}" dt="2020-07-27T05:54:12.536" v="19"/>
          <ac:spMkLst>
            <pc:docMk/>
            <pc:sldMk cId="0" sldId="269"/>
            <ac:spMk id="15" creationId="{00000000-0000-0000-0000-000000000000}"/>
          </ac:spMkLst>
        </pc:spChg>
        <pc:spChg chg="mod">
          <ac:chgData name="Mondal, Tanmay" userId="83c199d5-d146-4e16-b08e-fa47ebac23d7" providerId="ADAL" clId="{7889F8E4-3B11-44EC-BF56-408DF8153FC1}" dt="2020-07-27T05:54:12.536" v="19"/>
          <ac:spMkLst>
            <pc:docMk/>
            <pc:sldMk cId="0" sldId="269"/>
            <ac:spMk id="16" creationId="{00000000-0000-0000-0000-000000000000}"/>
          </ac:spMkLst>
        </pc:spChg>
        <pc:spChg chg="mod">
          <ac:chgData name="Mondal, Tanmay" userId="83c199d5-d146-4e16-b08e-fa47ebac23d7" providerId="ADAL" clId="{7889F8E4-3B11-44EC-BF56-408DF8153FC1}" dt="2020-07-27T05:54:12.536" v="19"/>
          <ac:spMkLst>
            <pc:docMk/>
            <pc:sldMk cId="0" sldId="269"/>
            <ac:spMk id="17" creationId="{00000000-0000-0000-0000-000000000000}"/>
          </ac:spMkLst>
        </pc:spChg>
        <pc:spChg chg="mod">
          <ac:chgData name="Mondal, Tanmay" userId="83c199d5-d146-4e16-b08e-fa47ebac23d7" providerId="ADAL" clId="{7889F8E4-3B11-44EC-BF56-408DF8153FC1}" dt="2020-07-27T05:54:12.536" v="19"/>
          <ac:spMkLst>
            <pc:docMk/>
            <pc:sldMk cId="0" sldId="269"/>
            <ac:spMk id="18" creationId="{00000000-0000-0000-0000-000000000000}"/>
          </ac:spMkLst>
        </pc:spChg>
        <pc:spChg chg="mod">
          <ac:chgData name="Mondal, Tanmay" userId="83c199d5-d146-4e16-b08e-fa47ebac23d7" providerId="ADAL" clId="{7889F8E4-3B11-44EC-BF56-408DF8153FC1}" dt="2020-07-27T05:54:12.536" v="19"/>
          <ac:spMkLst>
            <pc:docMk/>
            <pc:sldMk cId="0" sldId="269"/>
            <ac:spMk id="19" creationId="{00000000-0000-0000-0000-000000000000}"/>
          </ac:spMkLst>
        </pc:spChg>
        <pc:spChg chg="mod">
          <ac:chgData name="Mondal, Tanmay" userId="83c199d5-d146-4e16-b08e-fa47ebac23d7" providerId="ADAL" clId="{7889F8E4-3B11-44EC-BF56-408DF8153FC1}" dt="2020-07-27T05:54:12.536" v="19"/>
          <ac:spMkLst>
            <pc:docMk/>
            <pc:sldMk cId="0" sldId="269"/>
            <ac:spMk id="20" creationId="{00000000-0000-0000-0000-000000000000}"/>
          </ac:spMkLst>
        </pc:spChg>
        <pc:spChg chg="mod">
          <ac:chgData name="Mondal, Tanmay" userId="83c199d5-d146-4e16-b08e-fa47ebac23d7" providerId="ADAL" clId="{7889F8E4-3B11-44EC-BF56-408DF8153FC1}" dt="2020-07-27T05:54:12.536" v="19"/>
          <ac:spMkLst>
            <pc:docMk/>
            <pc:sldMk cId="0" sldId="269"/>
            <ac:spMk id="21" creationId="{00000000-0000-0000-0000-000000000000}"/>
          </ac:spMkLst>
        </pc:spChg>
        <pc:spChg chg="mod">
          <ac:chgData name="Mondal, Tanmay" userId="83c199d5-d146-4e16-b08e-fa47ebac23d7" providerId="ADAL" clId="{7889F8E4-3B11-44EC-BF56-408DF8153FC1}" dt="2020-07-27T05:54:12.536" v="19"/>
          <ac:spMkLst>
            <pc:docMk/>
            <pc:sldMk cId="0" sldId="269"/>
            <ac:spMk id="22" creationId="{00000000-0000-0000-0000-000000000000}"/>
          </ac:spMkLst>
        </pc:spChg>
      </pc:sldChg>
      <pc:sldChg chg="addSp delSp modSp">
        <pc:chgData name="Mondal, Tanmay" userId="83c199d5-d146-4e16-b08e-fa47ebac23d7" providerId="ADAL" clId="{7889F8E4-3B11-44EC-BF56-408DF8153FC1}" dt="2020-07-27T07:25:24.371" v="514" actId="478"/>
        <pc:sldMkLst>
          <pc:docMk/>
          <pc:sldMk cId="0" sldId="270"/>
        </pc:sldMkLst>
        <pc:spChg chg="mod">
          <ac:chgData name="Mondal, Tanmay" userId="83c199d5-d146-4e16-b08e-fa47ebac23d7" providerId="ADAL" clId="{7889F8E4-3B11-44EC-BF56-408DF8153FC1}" dt="2020-07-27T05:54:12.536" v="19"/>
          <ac:spMkLst>
            <pc:docMk/>
            <pc:sldMk cId="0" sldId="270"/>
            <ac:spMk id="2" creationId="{00000000-0000-0000-0000-000000000000}"/>
          </ac:spMkLst>
        </pc:spChg>
        <pc:spChg chg="mod">
          <ac:chgData name="Mondal, Tanmay" userId="83c199d5-d146-4e16-b08e-fa47ebac23d7" providerId="ADAL" clId="{7889F8E4-3B11-44EC-BF56-408DF8153FC1}" dt="2020-07-27T05:54:12.536" v="19"/>
          <ac:spMkLst>
            <pc:docMk/>
            <pc:sldMk cId="0" sldId="270"/>
            <ac:spMk id="3" creationId="{00000000-0000-0000-0000-000000000000}"/>
          </ac:spMkLst>
        </pc:spChg>
        <pc:spChg chg="mod">
          <ac:chgData name="Mondal, Tanmay" userId="83c199d5-d146-4e16-b08e-fa47ebac23d7" providerId="ADAL" clId="{7889F8E4-3B11-44EC-BF56-408DF8153FC1}" dt="2020-07-27T05:54:12.536" v="19"/>
          <ac:spMkLst>
            <pc:docMk/>
            <pc:sldMk cId="0" sldId="270"/>
            <ac:spMk id="4" creationId="{00000000-0000-0000-0000-000000000000}"/>
          </ac:spMkLst>
        </pc:spChg>
        <pc:spChg chg="mod">
          <ac:chgData name="Mondal, Tanmay" userId="83c199d5-d146-4e16-b08e-fa47ebac23d7" providerId="ADAL" clId="{7889F8E4-3B11-44EC-BF56-408DF8153FC1}" dt="2020-07-27T05:54:12.536" v="19"/>
          <ac:spMkLst>
            <pc:docMk/>
            <pc:sldMk cId="0" sldId="270"/>
            <ac:spMk id="5" creationId="{00000000-0000-0000-0000-000000000000}"/>
          </ac:spMkLst>
        </pc:spChg>
        <pc:spChg chg="mod">
          <ac:chgData name="Mondal, Tanmay" userId="83c199d5-d146-4e16-b08e-fa47ebac23d7" providerId="ADAL" clId="{7889F8E4-3B11-44EC-BF56-408DF8153FC1}" dt="2020-07-27T05:54:12.536" v="19"/>
          <ac:spMkLst>
            <pc:docMk/>
            <pc:sldMk cId="0" sldId="270"/>
            <ac:spMk id="6" creationId="{00000000-0000-0000-0000-000000000000}"/>
          </ac:spMkLst>
        </pc:spChg>
        <pc:spChg chg="mod">
          <ac:chgData name="Mondal, Tanmay" userId="83c199d5-d146-4e16-b08e-fa47ebac23d7" providerId="ADAL" clId="{7889F8E4-3B11-44EC-BF56-408DF8153FC1}" dt="2020-07-27T05:54:12.536" v="19"/>
          <ac:spMkLst>
            <pc:docMk/>
            <pc:sldMk cId="0" sldId="270"/>
            <ac:spMk id="7" creationId="{00000000-0000-0000-0000-000000000000}"/>
          </ac:spMkLst>
        </pc:spChg>
        <pc:spChg chg="mod">
          <ac:chgData name="Mondal, Tanmay" userId="83c199d5-d146-4e16-b08e-fa47ebac23d7" providerId="ADAL" clId="{7889F8E4-3B11-44EC-BF56-408DF8153FC1}" dt="2020-07-27T05:54:12.536" v="19"/>
          <ac:spMkLst>
            <pc:docMk/>
            <pc:sldMk cId="0" sldId="270"/>
            <ac:spMk id="8" creationId="{00000000-0000-0000-0000-000000000000}"/>
          </ac:spMkLst>
        </pc:spChg>
        <pc:spChg chg="mod">
          <ac:chgData name="Mondal, Tanmay" userId="83c199d5-d146-4e16-b08e-fa47ebac23d7" providerId="ADAL" clId="{7889F8E4-3B11-44EC-BF56-408DF8153FC1}" dt="2020-07-27T05:54:12.536" v="19"/>
          <ac:spMkLst>
            <pc:docMk/>
            <pc:sldMk cId="0" sldId="270"/>
            <ac:spMk id="9" creationId="{00000000-0000-0000-0000-000000000000}"/>
          </ac:spMkLst>
        </pc:spChg>
        <pc:spChg chg="mod">
          <ac:chgData name="Mondal, Tanmay" userId="83c199d5-d146-4e16-b08e-fa47ebac23d7" providerId="ADAL" clId="{7889F8E4-3B11-44EC-BF56-408DF8153FC1}" dt="2020-07-27T05:54:12.536" v="19"/>
          <ac:spMkLst>
            <pc:docMk/>
            <pc:sldMk cId="0" sldId="270"/>
            <ac:spMk id="10" creationId="{00000000-0000-0000-0000-000000000000}"/>
          </ac:spMkLst>
        </pc:spChg>
        <pc:spChg chg="mod">
          <ac:chgData name="Mondal, Tanmay" userId="83c199d5-d146-4e16-b08e-fa47ebac23d7" providerId="ADAL" clId="{7889F8E4-3B11-44EC-BF56-408DF8153FC1}" dt="2020-07-27T05:54:12.536" v="19"/>
          <ac:spMkLst>
            <pc:docMk/>
            <pc:sldMk cId="0" sldId="270"/>
            <ac:spMk id="11" creationId="{00000000-0000-0000-0000-000000000000}"/>
          </ac:spMkLst>
        </pc:spChg>
        <pc:spChg chg="mod">
          <ac:chgData name="Mondal, Tanmay" userId="83c199d5-d146-4e16-b08e-fa47ebac23d7" providerId="ADAL" clId="{7889F8E4-3B11-44EC-BF56-408DF8153FC1}" dt="2020-07-27T05:54:12.536" v="19"/>
          <ac:spMkLst>
            <pc:docMk/>
            <pc:sldMk cId="0" sldId="270"/>
            <ac:spMk id="12" creationId="{00000000-0000-0000-0000-000000000000}"/>
          </ac:spMkLst>
        </pc:spChg>
        <pc:spChg chg="mod">
          <ac:chgData name="Mondal, Tanmay" userId="83c199d5-d146-4e16-b08e-fa47ebac23d7" providerId="ADAL" clId="{7889F8E4-3B11-44EC-BF56-408DF8153FC1}" dt="2020-07-27T05:54:12.536" v="19"/>
          <ac:spMkLst>
            <pc:docMk/>
            <pc:sldMk cId="0" sldId="270"/>
            <ac:spMk id="13" creationId="{00000000-0000-0000-0000-000000000000}"/>
          </ac:spMkLst>
        </pc:spChg>
        <pc:spChg chg="mod">
          <ac:chgData name="Mondal, Tanmay" userId="83c199d5-d146-4e16-b08e-fa47ebac23d7" providerId="ADAL" clId="{7889F8E4-3B11-44EC-BF56-408DF8153FC1}" dt="2020-07-27T05:54:12.536" v="19"/>
          <ac:spMkLst>
            <pc:docMk/>
            <pc:sldMk cId="0" sldId="270"/>
            <ac:spMk id="14" creationId="{00000000-0000-0000-0000-000000000000}"/>
          </ac:spMkLst>
        </pc:spChg>
        <pc:spChg chg="mod">
          <ac:chgData name="Mondal, Tanmay" userId="83c199d5-d146-4e16-b08e-fa47ebac23d7" providerId="ADAL" clId="{7889F8E4-3B11-44EC-BF56-408DF8153FC1}" dt="2020-07-27T05:54:12.536" v="19"/>
          <ac:spMkLst>
            <pc:docMk/>
            <pc:sldMk cId="0" sldId="270"/>
            <ac:spMk id="15" creationId="{00000000-0000-0000-0000-000000000000}"/>
          </ac:spMkLst>
        </pc:spChg>
        <pc:spChg chg="mod">
          <ac:chgData name="Mondal, Tanmay" userId="83c199d5-d146-4e16-b08e-fa47ebac23d7" providerId="ADAL" clId="{7889F8E4-3B11-44EC-BF56-408DF8153FC1}" dt="2020-07-27T05:54:12.536" v="19"/>
          <ac:spMkLst>
            <pc:docMk/>
            <pc:sldMk cId="0" sldId="270"/>
            <ac:spMk id="16" creationId="{00000000-0000-0000-0000-000000000000}"/>
          </ac:spMkLst>
        </pc:spChg>
        <pc:spChg chg="mod">
          <ac:chgData name="Mondal, Tanmay" userId="83c199d5-d146-4e16-b08e-fa47ebac23d7" providerId="ADAL" clId="{7889F8E4-3B11-44EC-BF56-408DF8153FC1}" dt="2020-07-27T05:54:12.536" v="19"/>
          <ac:spMkLst>
            <pc:docMk/>
            <pc:sldMk cId="0" sldId="270"/>
            <ac:spMk id="17" creationId="{00000000-0000-0000-0000-000000000000}"/>
          </ac:spMkLst>
        </pc:spChg>
        <pc:spChg chg="mod">
          <ac:chgData name="Mondal, Tanmay" userId="83c199d5-d146-4e16-b08e-fa47ebac23d7" providerId="ADAL" clId="{7889F8E4-3B11-44EC-BF56-408DF8153FC1}" dt="2020-07-27T05:54:12.536" v="19"/>
          <ac:spMkLst>
            <pc:docMk/>
            <pc:sldMk cId="0" sldId="270"/>
            <ac:spMk id="18" creationId="{00000000-0000-0000-0000-000000000000}"/>
          </ac:spMkLst>
        </pc:spChg>
        <pc:spChg chg="mod">
          <ac:chgData name="Mondal, Tanmay" userId="83c199d5-d146-4e16-b08e-fa47ebac23d7" providerId="ADAL" clId="{7889F8E4-3B11-44EC-BF56-408DF8153FC1}" dt="2020-07-27T05:54:12.536" v="19"/>
          <ac:spMkLst>
            <pc:docMk/>
            <pc:sldMk cId="0" sldId="270"/>
            <ac:spMk id="19" creationId="{00000000-0000-0000-0000-000000000000}"/>
          </ac:spMkLst>
        </pc:spChg>
        <pc:spChg chg="mod">
          <ac:chgData name="Mondal, Tanmay" userId="83c199d5-d146-4e16-b08e-fa47ebac23d7" providerId="ADAL" clId="{7889F8E4-3B11-44EC-BF56-408DF8153FC1}" dt="2020-07-27T05:54:12.536" v="19"/>
          <ac:spMkLst>
            <pc:docMk/>
            <pc:sldMk cId="0" sldId="270"/>
            <ac:spMk id="20" creationId="{00000000-0000-0000-0000-000000000000}"/>
          </ac:spMkLst>
        </pc:spChg>
        <pc:spChg chg="mod">
          <ac:chgData name="Mondal, Tanmay" userId="83c199d5-d146-4e16-b08e-fa47ebac23d7" providerId="ADAL" clId="{7889F8E4-3B11-44EC-BF56-408DF8153FC1}" dt="2020-07-27T05:54:12.536" v="19"/>
          <ac:spMkLst>
            <pc:docMk/>
            <pc:sldMk cId="0" sldId="270"/>
            <ac:spMk id="21" creationId="{00000000-0000-0000-0000-000000000000}"/>
          </ac:spMkLst>
        </pc:spChg>
        <pc:spChg chg="mod">
          <ac:chgData name="Mondal, Tanmay" userId="83c199d5-d146-4e16-b08e-fa47ebac23d7" providerId="ADAL" clId="{7889F8E4-3B11-44EC-BF56-408DF8153FC1}" dt="2020-07-27T05:54:12.536" v="19"/>
          <ac:spMkLst>
            <pc:docMk/>
            <pc:sldMk cId="0" sldId="270"/>
            <ac:spMk id="22" creationId="{00000000-0000-0000-0000-000000000000}"/>
          </ac:spMkLst>
        </pc:spChg>
        <pc:spChg chg="mod">
          <ac:chgData name="Mondal, Tanmay" userId="83c199d5-d146-4e16-b08e-fa47ebac23d7" providerId="ADAL" clId="{7889F8E4-3B11-44EC-BF56-408DF8153FC1}" dt="2020-07-27T05:54:12.536" v="19"/>
          <ac:spMkLst>
            <pc:docMk/>
            <pc:sldMk cId="0" sldId="270"/>
            <ac:spMk id="23" creationId="{00000000-0000-0000-0000-000000000000}"/>
          </ac:spMkLst>
        </pc:spChg>
        <pc:spChg chg="mod">
          <ac:chgData name="Mondal, Tanmay" userId="83c199d5-d146-4e16-b08e-fa47ebac23d7" providerId="ADAL" clId="{7889F8E4-3B11-44EC-BF56-408DF8153FC1}" dt="2020-07-27T05:54:12.536" v="19"/>
          <ac:spMkLst>
            <pc:docMk/>
            <pc:sldMk cId="0" sldId="270"/>
            <ac:spMk id="24" creationId="{00000000-0000-0000-0000-000000000000}"/>
          </ac:spMkLst>
        </pc:spChg>
        <pc:spChg chg="mod">
          <ac:chgData name="Mondal, Tanmay" userId="83c199d5-d146-4e16-b08e-fa47ebac23d7" providerId="ADAL" clId="{7889F8E4-3B11-44EC-BF56-408DF8153FC1}" dt="2020-07-27T05:54:12.536" v="19"/>
          <ac:spMkLst>
            <pc:docMk/>
            <pc:sldMk cId="0" sldId="270"/>
            <ac:spMk id="25" creationId="{00000000-0000-0000-0000-000000000000}"/>
          </ac:spMkLst>
        </pc:spChg>
        <pc:spChg chg="add del mod">
          <ac:chgData name="Mondal, Tanmay" userId="83c199d5-d146-4e16-b08e-fa47ebac23d7" providerId="ADAL" clId="{7889F8E4-3B11-44EC-BF56-408DF8153FC1}" dt="2020-07-27T07:25:24.371" v="514" actId="478"/>
          <ac:spMkLst>
            <pc:docMk/>
            <pc:sldMk cId="0" sldId="270"/>
            <ac:spMk id="26" creationId="{DB16404F-D09A-4C3B-8D59-1B2BD0918082}"/>
          </ac:spMkLst>
        </pc:spChg>
        <pc:spChg chg="add del mod">
          <ac:chgData name="Mondal, Tanmay" userId="83c199d5-d146-4e16-b08e-fa47ebac23d7" providerId="ADAL" clId="{7889F8E4-3B11-44EC-BF56-408DF8153FC1}" dt="2020-07-27T07:25:20.922" v="513" actId="478"/>
          <ac:spMkLst>
            <pc:docMk/>
            <pc:sldMk cId="0" sldId="270"/>
            <ac:spMk id="27" creationId="{4761038A-AD30-4ABB-89FD-9D7FB447A07F}"/>
          </ac:spMkLst>
        </pc:spChg>
        <pc:spChg chg="mod">
          <ac:chgData name="Mondal, Tanmay" userId="83c199d5-d146-4e16-b08e-fa47ebac23d7" providerId="ADAL" clId="{7889F8E4-3B11-44EC-BF56-408DF8153FC1}" dt="2020-07-27T05:54:12.536" v="19"/>
          <ac:spMkLst>
            <pc:docMk/>
            <pc:sldMk cId="0" sldId="270"/>
            <ac:spMk id="29" creationId="{00000000-0000-0000-0000-000000000000}"/>
          </ac:spMkLst>
        </pc:spChg>
        <pc:spChg chg="mod">
          <ac:chgData name="Mondal, Tanmay" userId="83c199d5-d146-4e16-b08e-fa47ebac23d7" providerId="ADAL" clId="{7889F8E4-3B11-44EC-BF56-408DF8153FC1}" dt="2020-07-27T05:54:12.536" v="19"/>
          <ac:spMkLst>
            <pc:docMk/>
            <pc:sldMk cId="0" sldId="270"/>
            <ac:spMk id="30" creationId="{00000000-0000-0000-0000-000000000000}"/>
          </ac:spMkLst>
        </pc:spChg>
        <pc:spChg chg="mod">
          <ac:chgData name="Mondal, Tanmay" userId="83c199d5-d146-4e16-b08e-fa47ebac23d7" providerId="ADAL" clId="{7889F8E4-3B11-44EC-BF56-408DF8153FC1}" dt="2020-07-27T05:54:12.536" v="19"/>
          <ac:spMkLst>
            <pc:docMk/>
            <pc:sldMk cId="0" sldId="270"/>
            <ac:spMk id="31" creationId="{00000000-0000-0000-0000-000000000000}"/>
          </ac:spMkLst>
        </pc:spChg>
        <pc:spChg chg="mod">
          <ac:chgData name="Mondal, Tanmay" userId="83c199d5-d146-4e16-b08e-fa47ebac23d7" providerId="ADAL" clId="{7889F8E4-3B11-44EC-BF56-408DF8153FC1}" dt="2020-07-27T05:54:12.536" v="19"/>
          <ac:spMkLst>
            <pc:docMk/>
            <pc:sldMk cId="0" sldId="270"/>
            <ac:spMk id="32" creationId="{00000000-0000-0000-0000-000000000000}"/>
          </ac:spMkLst>
        </pc:spChg>
        <pc:spChg chg="mod">
          <ac:chgData name="Mondal, Tanmay" userId="83c199d5-d146-4e16-b08e-fa47ebac23d7" providerId="ADAL" clId="{7889F8E4-3B11-44EC-BF56-408DF8153FC1}" dt="2020-07-27T05:54:12.536" v="19"/>
          <ac:spMkLst>
            <pc:docMk/>
            <pc:sldMk cId="0" sldId="270"/>
            <ac:spMk id="33" creationId="{00000000-0000-0000-0000-000000000000}"/>
          </ac:spMkLst>
        </pc:spChg>
        <pc:spChg chg="mod">
          <ac:chgData name="Mondal, Tanmay" userId="83c199d5-d146-4e16-b08e-fa47ebac23d7" providerId="ADAL" clId="{7889F8E4-3B11-44EC-BF56-408DF8153FC1}" dt="2020-07-27T05:54:12.536" v="19"/>
          <ac:spMkLst>
            <pc:docMk/>
            <pc:sldMk cId="0" sldId="270"/>
            <ac:spMk id="34" creationId="{00000000-0000-0000-0000-000000000000}"/>
          </ac:spMkLst>
        </pc:spChg>
        <pc:spChg chg="mod">
          <ac:chgData name="Mondal, Tanmay" userId="83c199d5-d146-4e16-b08e-fa47ebac23d7" providerId="ADAL" clId="{7889F8E4-3B11-44EC-BF56-408DF8153FC1}" dt="2020-07-27T05:54:12.536" v="19"/>
          <ac:spMkLst>
            <pc:docMk/>
            <pc:sldMk cId="0" sldId="270"/>
            <ac:spMk id="35" creationId="{00000000-0000-0000-0000-000000000000}"/>
          </ac:spMkLst>
        </pc:spChg>
        <pc:spChg chg="mod">
          <ac:chgData name="Mondal, Tanmay" userId="83c199d5-d146-4e16-b08e-fa47ebac23d7" providerId="ADAL" clId="{7889F8E4-3B11-44EC-BF56-408DF8153FC1}" dt="2020-07-27T05:54:12.536" v="19"/>
          <ac:spMkLst>
            <pc:docMk/>
            <pc:sldMk cId="0" sldId="270"/>
            <ac:spMk id="36" creationId="{00000000-0000-0000-0000-000000000000}"/>
          </ac:spMkLst>
        </pc:spChg>
        <pc:spChg chg="mod">
          <ac:chgData name="Mondal, Tanmay" userId="83c199d5-d146-4e16-b08e-fa47ebac23d7" providerId="ADAL" clId="{7889F8E4-3B11-44EC-BF56-408DF8153FC1}" dt="2020-07-27T05:54:12.536" v="19"/>
          <ac:spMkLst>
            <pc:docMk/>
            <pc:sldMk cId="0" sldId="270"/>
            <ac:spMk id="37" creationId="{00000000-0000-0000-0000-000000000000}"/>
          </ac:spMkLst>
        </pc:spChg>
        <pc:spChg chg="mod">
          <ac:chgData name="Mondal, Tanmay" userId="83c199d5-d146-4e16-b08e-fa47ebac23d7" providerId="ADAL" clId="{7889F8E4-3B11-44EC-BF56-408DF8153FC1}" dt="2020-07-27T05:54:12.536" v="19"/>
          <ac:spMkLst>
            <pc:docMk/>
            <pc:sldMk cId="0" sldId="270"/>
            <ac:spMk id="38" creationId="{00000000-0000-0000-0000-000000000000}"/>
          </ac:spMkLst>
        </pc:spChg>
        <pc:spChg chg="mod">
          <ac:chgData name="Mondal, Tanmay" userId="83c199d5-d146-4e16-b08e-fa47ebac23d7" providerId="ADAL" clId="{7889F8E4-3B11-44EC-BF56-408DF8153FC1}" dt="2020-07-27T05:54:12.536" v="19"/>
          <ac:spMkLst>
            <pc:docMk/>
            <pc:sldMk cId="0" sldId="270"/>
            <ac:spMk id="39" creationId="{00000000-0000-0000-0000-000000000000}"/>
          </ac:spMkLst>
        </pc:spChg>
        <pc:spChg chg="mod">
          <ac:chgData name="Mondal, Tanmay" userId="83c199d5-d146-4e16-b08e-fa47ebac23d7" providerId="ADAL" clId="{7889F8E4-3B11-44EC-BF56-408DF8153FC1}" dt="2020-07-27T05:54:12.536" v="19"/>
          <ac:spMkLst>
            <pc:docMk/>
            <pc:sldMk cId="0" sldId="270"/>
            <ac:spMk id="40" creationId="{00000000-0000-0000-0000-000000000000}"/>
          </ac:spMkLst>
        </pc:spChg>
        <pc:spChg chg="mod">
          <ac:chgData name="Mondal, Tanmay" userId="83c199d5-d146-4e16-b08e-fa47ebac23d7" providerId="ADAL" clId="{7889F8E4-3B11-44EC-BF56-408DF8153FC1}" dt="2020-07-27T05:54:12.536" v="19"/>
          <ac:spMkLst>
            <pc:docMk/>
            <pc:sldMk cId="0" sldId="270"/>
            <ac:spMk id="41" creationId="{00000000-0000-0000-0000-000000000000}"/>
          </ac:spMkLst>
        </pc:spChg>
        <pc:spChg chg="mod">
          <ac:chgData name="Mondal, Tanmay" userId="83c199d5-d146-4e16-b08e-fa47ebac23d7" providerId="ADAL" clId="{7889F8E4-3B11-44EC-BF56-408DF8153FC1}" dt="2020-07-27T05:54:12.536" v="19"/>
          <ac:spMkLst>
            <pc:docMk/>
            <pc:sldMk cId="0" sldId="270"/>
            <ac:spMk id="42" creationId="{00000000-0000-0000-0000-000000000000}"/>
          </ac:spMkLst>
        </pc:spChg>
        <pc:spChg chg="mod">
          <ac:chgData name="Mondal, Tanmay" userId="83c199d5-d146-4e16-b08e-fa47ebac23d7" providerId="ADAL" clId="{7889F8E4-3B11-44EC-BF56-408DF8153FC1}" dt="2020-07-27T05:54:12.536" v="19"/>
          <ac:spMkLst>
            <pc:docMk/>
            <pc:sldMk cId="0" sldId="270"/>
            <ac:spMk id="43" creationId="{00000000-0000-0000-0000-000000000000}"/>
          </ac:spMkLst>
        </pc:spChg>
        <pc:spChg chg="mod">
          <ac:chgData name="Mondal, Tanmay" userId="83c199d5-d146-4e16-b08e-fa47ebac23d7" providerId="ADAL" clId="{7889F8E4-3B11-44EC-BF56-408DF8153FC1}" dt="2020-07-27T05:54:12.536" v="19"/>
          <ac:spMkLst>
            <pc:docMk/>
            <pc:sldMk cId="0" sldId="270"/>
            <ac:spMk id="44" creationId="{00000000-0000-0000-0000-000000000000}"/>
          </ac:spMkLst>
        </pc:spChg>
        <pc:spChg chg="mod">
          <ac:chgData name="Mondal, Tanmay" userId="83c199d5-d146-4e16-b08e-fa47ebac23d7" providerId="ADAL" clId="{7889F8E4-3B11-44EC-BF56-408DF8153FC1}" dt="2020-07-27T05:54:12.536" v="19"/>
          <ac:spMkLst>
            <pc:docMk/>
            <pc:sldMk cId="0" sldId="270"/>
            <ac:spMk id="45" creationId="{00000000-0000-0000-0000-000000000000}"/>
          </ac:spMkLst>
        </pc:spChg>
        <pc:spChg chg="mod">
          <ac:chgData name="Mondal, Tanmay" userId="83c199d5-d146-4e16-b08e-fa47ebac23d7" providerId="ADAL" clId="{7889F8E4-3B11-44EC-BF56-408DF8153FC1}" dt="2020-07-27T05:54:12.536" v="19"/>
          <ac:spMkLst>
            <pc:docMk/>
            <pc:sldMk cId="0" sldId="270"/>
            <ac:spMk id="46" creationId="{00000000-0000-0000-0000-000000000000}"/>
          </ac:spMkLst>
        </pc:spChg>
        <pc:spChg chg="mod">
          <ac:chgData name="Mondal, Tanmay" userId="83c199d5-d146-4e16-b08e-fa47ebac23d7" providerId="ADAL" clId="{7889F8E4-3B11-44EC-BF56-408DF8153FC1}" dt="2020-07-27T05:54:12.536" v="19"/>
          <ac:spMkLst>
            <pc:docMk/>
            <pc:sldMk cId="0" sldId="270"/>
            <ac:spMk id="47" creationId="{00000000-0000-0000-0000-000000000000}"/>
          </ac:spMkLst>
        </pc:spChg>
        <pc:spChg chg="mod">
          <ac:chgData name="Mondal, Tanmay" userId="83c199d5-d146-4e16-b08e-fa47ebac23d7" providerId="ADAL" clId="{7889F8E4-3B11-44EC-BF56-408DF8153FC1}" dt="2020-07-27T05:54:12.536" v="19"/>
          <ac:spMkLst>
            <pc:docMk/>
            <pc:sldMk cId="0" sldId="270"/>
            <ac:spMk id="48" creationId="{00000000-0000-0000-0000-000000000000}"/>
          </ac:spMkLst>
        </pc:spChg>
        <pc:spChg chg="mod">
          <ac:chgData name="Mondal, Tanmay" userId="83c199d5-d146-4e16-b08e-fa47ebac23d7" providerId="ADAL" clId="{7889F8E4-3B11-44EC-BF56-408DF8153FC1}" dt="2020-07-27T05:54:12.536" v="19"/>
          <ac:spMkLst>
            <pc:docMk/>
            <pc:sldMk cId="0" sldId="270"/>
            <ac:spMk id="49" creationId="{00000000-0000-0000-0000-000000000000}"/>
          </ac:spMkLst>
        </pc:spChg>
        <pc:spChg chg="mod">
          <ac:chgData name="Mondal, Tanmay" userId="83c199d5-d146-4e16-b08e-fa47ebac23d7" providerId="ADAL" clId="{7889F8E4-3B11-44EC-BF56-408DF8153FC1}" dt="2020-07-27T05:54:12.536" v="19"/>
          <ac:spMkLst>
            <pc:docMk/>
            <pc:sldMk cId="0" sldId="270"/>
            <ac:spMk id="50" creationId="{00000000-0000-0000-0000-000000000000}"/>
          </ac:spMkLst>
        </pc:spChg>
        <pc:spChg chg="mod">
          <ac:chgData name="Mondal, Tanmay" userId="83c199d5-d146-4e16-b08e-fa47ebac23d7" providerId="ADAL" clId="{7889F8E4-3B11-44EC-BF56-408DF8153FC1}" dt="2020-07-27T05:54:12.536" v="19"/>
          <ac:spMkLst>
            <pc:docMk/>
            <pc:sldMk cId="0" sldId="270"/>
            <ac:spMk id="51" creationId="{00000000-0000-0000-0000-000000000000}"/>
          </ac:spMkLst>
        </pc:spChg>
        <pc:spChg chg="mod">
          <ac:chgData name="Mondal, Tanmay" userId="83c199d5-d146-4e16-b08e-fa47ebac23d7" providerId="ADAL" clId="{7889F8E4-3B11-44EC-BF56-408DF8153FC1}" dt="2020-07-27T05:54:12.536" v="19"/>
          <ac:spMkLst>
            <pc:docMk/>
            <pc:sldMk cId="0" sldId="270"/>
            <ac:spMk id="52" creationId="{00000000-0000-0000-0000-000000000000}"/>
          </ac:spMkLst>
        </pc:spChg>
        <pc:spChg chg="mod">
          <ac:chgData name="Mondal, Tanmay" userId="83c199d5-d146-4e16-b08e-fa47ebac23d7" providerId="ADAL" clId="{7889F8E4-3B11-44EC-BF56-408DF8153FC1}" dt="2020-07-27T05:54:12.536" v="19"/>
          <ac:spMkLst>
            <pc:docMk/>
            <pc:sldMk cId="0" sldId="270"/>
            <ac:spMk id="53" creationId="{00000000-0000-0000-0000-000000000000}"/>
          </ac:spMkLst>
        </pc:spChg>
        <pc:spChg chg="mod">
          <ac:chgData name="Mondal, Tanmay" userId="83c199d5-d146-4e16-b08e-fa47ebac23d7" providerId="ADAL" clId="{7889F8E4-3B11-44EC-BF56-408DF8153FC1}" dt="2020-07-27T05:54:12.536" v="19"/>
          <ac:spMkLst>
            <pc:docMk/>
            <pc:sldMk cId="0" sldId="270"/>
            <ac:spMk id="54" creationId="{00000000-0000-0000-0000-000000000000}"/>
          </ac:spMkLst>
        </pc:spChg>
        <pc:spChg chg="mod">
          <ac:chgData name="Mondal, Tanmay" userId="83c199d5-d146-4e16-b08e-fa47ebac23d7" providerId="ADAL" clId="{7889F8E4-3B11-44EC-BF56-408DF8153FC1}" dt="2020-07-27T05:54:12.536" v="19"/>
          <ac:spMkLst>
            <pc:docMk/>
            <pc:sldMk cId="0" sldId="270"/>
            <ac:spMk id="55" creationId="{00000000-0000-0000-0000-000000000000}"/>
          </ac:spMkLst>
        </pc:spChg>
        <pc:spChg chg="mod">
          <ac:chgData name="Mondal, Tanmay" userId="83c199d5-d146-4e16-b08e-fa47ebac23d7" providerId="ADAL" clId="{7889F8E4-3B11-44EC-BF56-408DF8153FC1}" dt="2020-07-27T05:54:12.536" v="19"/>
          <ac:spMkLst>
            <pc:docMk/>
            <pc:sldMk cId="0" sldId="270"/>
            <ac:spMk id="56" creationId="{00000000-0000-0000-0000-000000000000}"/>
          </ac:spMkLst>
        </pc:spChg>
        <pc:spChg chg="mod">
          <ac:chgData name="Mondal, Tanmay" userId="83c199d5-d146-4e16-b08e-fa47ebac23d7" providerId="ADAL" clId="{7889F8E4-3B11-44EC-BF56-408DF8153FC1}" dt="2020-07-27T05:54:12.536" v="19"/>
          <ac:spMkLst>
            <pc:docMk/>
            <pc:sldMk cId="0" sldId="270"/>
            <ac:spMk id="57" creationId="{00000000-0000-0000-0000-000000000000}"/>
          </ac:spMkLst>
        </pc:spChg>
        <pc:spChg chg="mod">
          <ac:chgData name="Mondal, Tanmay" userId="83c199d5-d146-4e16-b08e-fa47ebac23d7" providerId="ADAL" clId="{7889F8E4-3B11-44EC-BF56-408DF8153FC1}" dt="2020-07-27T05:54:12.536" v="19"/>
          <ac:spMkLst>
            <pc:docMk/>
            <pc:sldMk cId="0" sldId="270"/>
            <ac:spMk id="58" creationId="{00000000-0000-0000-0000-000000000000}"/>
          </ac:spMkLst>
        </pc:spChg>
        <pc:spChg chg="mod">
          <ac:chgData name="Mondal, Tanmay" userId="83c199d5-d146-4e16-b08e-fa47ebac23d7" providerId="ADAL" clId="{7889F8E4-3B11-44EC-BF56-408DF8153FC1}" dt="2020-07-27T05:54:12.536" v="19"/>
          <ac:spMkLst>
            <pc:docMk/>
            <pc:sldMk cId="0" sldId="270"/>
            <ac:spMk id="59" creationId="{00000000-0000-0000-0000-000000000000}"/>
          </ac:spMkLst>
        </pc:spChg>
        <pc:spChg chg="mod">
          <ac:chgData name="Mondal, Tanmay" userId="83c199d5-d146-4e16-b08e-fa47ebac23d7" providerId="ADAL" clId="{7889F8E4-3B11-44EC-BF56-408DF8153FC1}" dt="2020-07-27T05:54:12.536" v="19"/>
          <ac:spMkLst>
            <pc:docMk/>
            <pc:sldMk cId="0" sldId="270"/>
            <ac:spMk id="60" creationId="{00000000-0000-0000-0000-000000000000}"/>
          </ac:spMkLst>
        </pc:spChg>
        <pc:spChg chg="mod">
          <ac:chgData name="Mondal, Tanmay" userId="83c199d5-d146-4e16-b08e-fa47ebac23d7" providerId="ADAL" clId="{7889F8E4-3B11-44EC-BF56-408DF8153FC1}" dt="2020-07-27T05:54:12.536" v="19"/>
          <ac:spMkLst>
            <pc:docMk/>
            <pc:sldMk cId="0" sldId="270"/>
            <ac:spMk id="61" creationId="{00000000-0000-0000-0000-000000000000}"/>
          </ac:spMkLst>
        </pc:spChg>
        <pc:spChg chg="mod">
          <ac:chgData name="Mondal, Tanmay" userId="83c199d5-d146-4e16-b08e-fa47ebac23d7" providerId="ADAL" clId="{7889F8E4-3B11-44EC-BF56-408DF8153FC1}" dt="2020-07-27T05:54:12.536" v="19"/>
          <ac:spMkLst>
            <pc:docMk/>
            <pc:sldMk cId="0" sldId="270"/>
            <ac:spMk id="62" creationId="{00000000-0000-0000-0000-000000000000}"/>
          </ac:spMkLst>
        </pc:spChg>
        <pc:spChg chg="mod">
          <ac:chgData name="Mondal, Tanmay" userId="83c199d5-d146-4e16-b08e-fa47ebac23d7" providerId="ADAL" clId="{7889F8E4-3B11-44EC-BF56-408DF8153FC1}" dt="2020-07-27T05:54:12.536" v="19"/>
          <ac:spMkLst>
            <pc:docMk/>
            <pc:sldMk cId="0" sldId="270"/>
            <ac:spMk id="63" creationId="{00000000-0000-0000-0000-000000000000}"/>
          </ac:spMkLst>
        </pc:spChg>
        <pc:spChg chg="mod">
          <ac:chgData name="Mondal, Tanmay" userId="83c199d5-d146-4e16-b08e-fa47ebac23d7" providerId="ADAL" clId="{7889F8E4-3B11-44EC-BF56-408DF8153FC1}" dt="2020-07-27T05:54:12.536" v="19"/>
          <ac:spMkLst>
            <pc:docMk/>
            <pc:sldMk cId="0" sldId="270"/>
            <ac:spMk id="64" creationId="{00000000-0000-0000-0000-000000000000}"/>
          </ac:spMkLst>
        </pc:spChg>
        <pc:spChg chg="mod">
          <ac:chgData name="Mondal, Tanmay" userId="83c199d5-d146-4e16-b08e-fa47ebac23d7" providerId="ADAL" clId="{7889F8E4-3B11-44EC-BF56-408DF8153FC1}" dt="2020-07-27T05:54:12.536" v="19"/>
          <ac:spMkLst>
            <pc:docMk/>
            <pc:sldMk cId="0" sldId="270"/>
            <ac:spMk id="65" creationId="{00000000-0000-0000-0000-000000000000}"/>
          </ac:spMkLst>
        </pc:spChg>
        <pc:spChg chg="mod">
          <ac:chgData name="Mondal, Tanmay" userId="83c199d5-d146-4e16-b08e-fa47ebac23d7" providerId="ADAL" clId="{7889F8E4-3B11-44EC-BF56-408DF8153FC1}" dt="2020-07-27T05:54:12.536" v="19"/>
          <ac:spMkLst>
            <pc:docMk/>
            <pc:sldMk cId="0" sldId="270"/>
            <ac:spMk id="66" creationId="{00000000-0000-0000-0000-000000000000}"/>
          </ac:spMkLst>
        </pc:spChg>
        <pc:spChg chg="mod">
          <ac:chgData name="Mondal, Tanmay" userId="83c199d5-d146-4e16-b08e-fa47ebac23d7" providerId="ADAL" clId="{7889F8E4-3B11-44EC-BF56-408DF8153FC1}" dt="2020-07-27T05:54:12.536" v="19"/>
          <ac:spMkLst>
            <pc:docMk/>
            <pc:sldMk cId="0" sldId="270"/>
            <ac:spMk id="67" creationId="{00000000-0000-0000-0000-000000000000}"/>
          </ac:spMkLst>
        </pc:spChg>
      </pc:sldChg>
      <pc:sldChg chg="addSp delSp modSp">
        <pc:chgData name="Mondal, Tanmay" userId="83c199d5-d146-4e16-b08e-fa47ebac23d7" providerId="ADAL" clId="{7889F8E4-3B11-44EC-BF56-408DF8153FC1}" dt="2020-07-27T07:25:56.361" v="517" actId="478"/>
        <pc:sldMkLst>
          <pc:docMk/>
          <pc:sldMk cId="0" sldId="271"/>
        </pc:sldMkLst>
        <pc:spChg chg="mod">
          <ac:chgData name="Mondal, Tanmay" userId="83c199d5-d146-4e16-b08e-fa47ebac23d7" providerId="ADAL" clId="{7889F8E4-3B11-44EC-BF56-408DF8153FC1}" dt="2020-07-27T05:54:12.536" v="19"/>
          <ac:spMkLst>
            <pc:docMk/>
            <pc:sldMk cId="0" sldId="271"/>
            <ac:spMk id="2" creationId="{00000000-0000-0000-0000-000000000000}"/>
          </ac:spMkLst>
        </pc:spChg>
        <pc:spChg chg="mod">
          <ac:chgData name="Mondal, Tanmay" userId="83c199d5-d146-4e16-b08e-fa47ebac23d7" providerId="ADAL" clId="{7889F8E4-3B11-44EC-BF56-408DF8153FC1}" dt="2020-07-27T05:54:12.536" v="19"/>
          <ac:spMkLst>
            <pc:docMk/>
            <pc:sldMk cId="0" sldId="271"/>
            <ac:spMk id="3" creationId="{00000000-0000-0000-0000-000000000000}"/>
          </ac:spMkLst>
        </pc:spChg>
        <pc:spChg chg="mod">
          <ac:chgData name="Mondal, Tanmay" userId="83c199d5-d146-4e16-b08e-fa47ebac23d7" providerId="ADAL" clId="{7889F8E4-3B11-44EC-BF56-408DF8153FC1}" dt="2020-07-27T05:54:12.536" v="19"/>
          <ac:spMkLst>
            <pc:docMk/>
            <pc:sldMk cId="0" sldId="271"/>
            <ac:spMk id="4" creationId="{00000000-0000-0000-0000-000000000000}"/>
          </ac:spMkLst>
        </pc:spChg>
        <pc:spChg chg="mod">
          <ac:chgData name="Mondal, Tanmay" userId="83c199d5-d146-4e16-b08e-fa47ebac23d7" providerId="ADAL" clId="{7889F8E4-3B11-44EC-BF56-408DF8153FC1}" dt="2020-07-27T05:54:12.536" v="19"/>
          <ac:spMkLst>
            <pc:docMk/>
            <pc:sldMk cId="0" sldId="271"/>
            <ac:spMk id="5" creationId="{00000000-0000-0000-0000-000000000000}"/>
          </ac:spMkLst>
        </pc:spChg>
        <pc:spChg chg="mod">
          <ac:chgData name="Mondal, Tanmay" userId="83c199d5-d146-4e16-b08e-fa47ebac23d7" providerId="ADAL" clId="{7889F8E4-3B11-44EC-BF56-408DF8153FC1}" dt="2020-07-27T05:54:12.536" v="19"/>
          <ac:spMkLst>
            <pc:docMk/>
            <pc:sldMk cId="0" sldId="271"/>
            <ac:spMk id="6" creationId="{00000000-0000-0000-0000-000000000000}"/>
          </ac:spMkLst>
        </pc:spChg>
        <pc:spChg chg="mod">
          <ac:chgData name="Mondal, Tanmay" userId="83c199d5-d146-4e16-b08e-fa47ebac23d7" providerId="ADAL" clId="{7889F8E4-3B11-44EC-BF56-408DF8153FC1}" dt="2020-07-27T05:54:12.536" v="19"/>
          <ac:spMkLst>
            <pc:docMk/>
            <pc:sldMk cId="0" sldId="271"/>
            <ac:spMk id="7" creationId="{00000000-0000-0000-0000-000000000000}"/>
          </ac:spMkLst>
        </pc:spChg>
        <pc:spChg chg="mod">
          <ac:chgData name="Mondal, Tanmay" userId="83c199d5-d146-4e16-b08e-fa47ebac23d7" providerId="ADAL" clId="{7889F8E4-3B11-44EC-BF56-408DF8153FC1}" dt="2020-07-27T05:54:12.536" v="19"/>
          <ac:spMkLst>
            <pc:docMk/>
            <pc:sldMk cId="0" sldId="271"/>
            <ac:spMk id="8" creationId="{00000000-0000-0000-0000-000000000000}"/>
          </ac:spMkLst>
        </pc:spChg>
        <pc:spChg chg="mod">
          <ac:chgData name="Mondal, Tanmay" userId="83c199d5-d146-4e16-b08e-fa47ebac23d7" providerId="ADAL" clId="{7889F8E4-3B11-44EC-BF56-408DF8153FC1}" dt="2020-07-27T05:54:12.536" v="19"/>
          <ac:spMkLst>
            <pc:docMk/>
            <pc:sldMk cId="0" sldId="271"/>
            <ac:spMk id="9" creationId="{00000000-0000-0000-0000-000000000000}"/>
          </ac:spMkLst>
        </pc:spChg>
        <pc:spChg chg="add del mod">
          <ac:chgData name="Mondal, Tanmay" userId="83c199d5-d146-4e16-b08e-fa47ebac23d7" providerId="ADAL" clId="{7889F8E4-3B11-44EC-BF56-408DF8153FC1}" dt="2020-07-27T07:25:56.361" v="517" actId="478"/>
          <ac:spMkLst>
            <pc:docMk/>
            <pc:sldMk cId="0" sldId="271"/>
            <ac:spMk id="10" creationId="{6044EEF1-5779-4DD0-892B-7B7245800509}"/>
          </ac:spMkLst>
        </pc:spChg>
        <pc:spChg chg="add del mod">
          <ac:chgData name="Mondal, Tanmay" userId="83c199d5-d146-4e16-b08e-fa47ebac23d7" providerId="ADAL" clId="{7889F8E4-3B11-44EC-BF56-408DF8153FC1}" dt="2020-07-27T07:25:53.973" v="516" actId="478"/>
          <ac:spMkLst>
            <pc:docMk/>
            <pc:sldMk cId="0" sldId="271"/>
            <ac:spMk id="11" creationId="{38B10039-2A55-45D2-B225-329840D80125}"/>
          </ac:spMkLst>
        </pc:spChg>
        <pc:spChg chg="mod">
          <ac:chgData name="Mondal, Tanmay" userId="83c199d5-d146-4e16-b08e-fa47ebac23d7" providerId="ADAL" clId="{7889F8E4-3B11-44EC-BF56-408DF8153FC1}" dt="2020-07-27T05:54:12.536" v="19"/>
          <ac:spMkLst>
            <pc:docMk/>
            <pc:sldMk cId="0" sldId="271"/>
            <ac:spMk id="14" creationId="{00000000-0000-0000-0000-000000000000}"/>
          </ac:spMkLst>
        </pc:spChg>
        <pc:spChg chg="mod">
          <ac:chgData name="Mondal, Tanmay" userId="83c199d5-d146-4e16-b08e-fa47ebac23d7" providerId="ADAL" clId="{7889F8E4-3B11-44EC-BF56-408DF8153FC1}" dt="2020-07-27T05:54:12.536" v="19"/>
          <ac:spMkLst>
            <pc:docMk/>
            <pc:sldMk cId="0" sldId="271"/>
            <ac:spMk id="15" creationId="{00000000-0000-0000-0000-000000000000}"/>
          </ac:spMkLst>
        </pc:spChg>
        <pc:spChg chg="mod">
          <ac:chgData name="Mondal, Tanmay" userId="83c199d5-d146-4e16-b08e-fa47ebac23d7" providerId="ADAL" clId="{7889F8E4-3B11-44EC-BF56-408DF8153FC1}" dt="2020-07-27T05:54:12.536" v="19"/>
          <ac:spMkLst>
            <pc:docMk/>
            <pc:sldMk cId="0" sldId="271"/>
            <ac:spMk id="16" creationId="{00000000-0000-0000-0000-000000000000}"/>
          </ac:spMkLst>
        </pc:spChg>
        <pc:spChg chg="mod">
          <ac:chgData name="Mondal, Tanmay" userId="83c199d5-d146-4e16-b08e-fa47ebac23d7" providerId="ADAL" clId="{7889F8E4-3B11-44EC-BF56-408DF8153FC1}" dt="2020-07-27T05:54:12.536" v="19"/>
          <ac:spMkLst>
            <pc:docMk/>
            <pc:sldMk cId="0" sldId="271"/>
            <ac:spMk id="17" creationId="{00000000-0000-0000-0000-000000000000}"/>
          </ac:spMkLst>
        </pc:spChg>
        <pc:spChg chg="mod">
          <ac:chgData name="Mondal, Tanmay" userId="83c199d5-d146-4e16-b08e-fa47ebac23d7" providerId="ADAL" clId="{7889F8E4-3B11-44EC-BF56-408DF8153FC1}" dt="2020-07-27T05:54:12.536" v="19"/>
          <ac:spMkLst>
            <pc:docMk/>
            <pc:sldMk cId="0" sldId="271"/>
            <ac:spMk id="18" creationId="{00000000-0000-0000-0000-000000000000}"/>
          </ac:spMkLst>
        </pc:spChg>
        <pc:spChg chg="mod">
          <ac:chgData name="Mondal, Tanmay" userId="83c199d5-d146-4e16-b08e-fa47ebac23d7" providerId="ADAL" clId="{7889F8E4-3B11-44EC-BF56-408DF8153FC1}" dt="2020-07-27T05:54:12.536" v="19"/>
          <ac:spMkLst>
            <pc:docMk/>
            <pc:sldMk cId="0" sldId="271"/>
            <ac:spMk id="19" creationId="{00000000-0000-0000-0000-000000000000}"/>
          </ac:spMkLst>
        </pc:spChg>
        <pc:spChg chg="mod">
          <ac:chgData name="Mondal, Tanmay" userId="83c199d5-d146-4e16-b08e-fa47ebac23d7" providerId="ADAL" clId="{7889F8E4-3B11-44EC-BF56-408DF8153FC1}" dt="2020-07-27T05:54:12.536" v="19"/>
          <ac:spMkLst>
            <pc:docMk/>
            <pc:sldMk cId="0" sldId="271"/>
            <ac:spMk id="20" creationId="{00000000-0000-0000-0000-000000000000}"/>
          </ac:spMkLst>
        </pc:spChg>
        <pc:spChg chg="mod">
          <ac:chgData name="Mondal, Tanmay" userId="83c199d5-d146-4e16-b08e-fa47ebac23d7" providerId="ADAL" clId="{7889F8E4-3B11-44EC-BF56-408DF8153FC1}" dt="2020-07-27T05:54:12.536" v="19"/>
          <ac:spMkLst>
            <pc:docMk/>
            <pc:sldMk cId="0" sldId="271"/>
            <ac:spMk id="21" creationId="{00000000-0000-0000-0000-000000000000}"/>
          </ac:spMkLst>
        </pc:spChg>
        <pc:spChg chg="mod">
          <ac:chgData name="Mondal, Tanmay" userId="83c199d5-d146-4e16-b08e-fa47ebac23d7" providerId="ADAL" clId="{7889F8E4-3B11-44EC-BF56-408DF8153FC1}" dt="2020-07-27T05:54:12.536" v="19"/>
          <ac:spMkLst>
            <pc:docMk/>
            <pc:sldMk cId="0" sldId="271"/>
            <ac:spMk id="22" creationId="{00000000-0000-0000-0000-000000000000}"/>
          </ac:spMkLst>
        </pc:spChg>
        <pc:spChg chg="mod">
          <ac:chgData name="Mondal, Tanmay" userId="83c199d5-d146-4e16-b08e-fa47ebac23d7" providerId="ADAL" clId="{7889F8E4-3B11-44EC-BF56-408DF8153FC1}" dt="2020-07-27T05:54:12.536" v="19"/>
          <ac:spMkLst>
            <pc:docMk/>
            <pc:sldMk cId="0" sldId="271"/>
            <ac:spMk id="23" creationId="{00000000-0000-0000-0000-000000000000}"/>
          </ac:spMkLst>
        </pc:spChg>
        <pc:spChg chg="mod">
          <ac:chgData name="Mondal, Tanmay" userId="83c199d5-d146-4e16-b08e-fa47ebac23d7" providerId="ADAL" clId="{7889F8E4-3B11-44EC-BF56-408DF8153FC1}" dt="2020-07-27T05:54:12.536" v="19"/>
          <ac:spMkLst>
            <pc:docMk/>
            <pc:sldMk cId="0" sldId="271"/>
            <ac:spMk id="24" creationId="{00000000-0000-0000-0000-000000000000}"/>
          </ac:spMkLst>
        </pc:spChg>
        <pc:spChg chg="mod">
          <ac:chgData name="Mondal, Tanmay" userId="83c199d5-d146-4e16-b08e-fa47ebac23d7" providerId="ADAL" clId="{7889F8E4-3B11-44EC-BF56-408DF8153FC1}" dt="2020-07-27T05:54:12.536" v="19"/>
          <ac:spMkLst>
            <pc:docMk/>
            <pc:sldMk cId="0" sldId="271"/>
            <ac:spMk id="25" creationId="{00000000-0000-0000-0000-000000000000}"/>
          </ac:spMkLst>
        </pc:spChg>
        <pc:spChg chg="mod">
          <ac:chgData name="Mondal, Tanmay" userId="83c199d5-d146-4e16-b08e-fa47ebac23d7" providerId="ADAL" clId="{7889F8E4-3B11-44EC-BF56-408DF8153FC1}" dt="2020-07-27T05:54:12.536" v="19"/>
          <ac:spMkLst>
            <pc:docMk/>
            <pc:sldMk cId="0" sldId="271"/>
            <ac:spMk id="26" creationId="{00000000-0000-0000-0000-000000000000}"/>
          </ac:spMkLst>
        </pc:spChg>
        <pc:spChg chg="mod">
          <ac:chgData name="Mondal, Tanmay" userId="83c199d5-d146-4e16-b08e-fa47ebac23d7" providerId="ADAL" clId="{7889F8E4-3B11-44EC-BF56-408DF8153FC1}" dt="2020-07-27T05:54:12.536" v="19"/>
          <ac:spMkLst>
            <pc:docMk/>
            <pc:sldMk cId="0" sldId="271"/>
            <ac:spMk id="27" creationId="{00000000-0000-0000-0000-000000000000}"/>
          </ac:spMkLst>
        </pc:spChg>
        <pc:spChg chg="mod">
          <ac:chgData name="Mondal, Tanmay" userId="83c199d5-d146-4e16-b08e-fa47ebac23d7" providerId="ADAL" clId="{7889F8E4-3B11-44EC-BF56-408DF8153FC1}" dt="2020-07-27T05:54:12.536" v="19"/>
          <ac:spMkLst>
            <pc:docMk/>
            <pc:sldMk cId="0" sldId="271"/>
            <ac:spMk id="28" creationId="{00000000-0000-0000-0000-000000000000}"/>
          </ac:spMkLst>
        </pc:spChg>
        <pc:spChg chg="mod">
          <ac:chgData name="Mondal, Tanmay" userId="83c199d5-d146-4e16-b08e-fa47ebac23d7" providerId="ADAL" clId="{7889F8E4-3B11-44EC-BF56-408DF8153FC1}" dt="2020-07-27T05:54:12.536" v="19"/>
          <ac:spMkLst>
            <pc:docMk/>
            <pc:sldMk cId="0" sldId="271"/>
            <ac:spMk id="29" creationId="{00000000-0000-0000-0000-000000000000}"/>
          </ac:spMkLst>
        </pc:spChg>
        <pc:spChg chg="mod">
          <ac:chgData name="Mondal, Tanmay" userId="83c199d5-d146-4e16-b08e-fa47ebac23d7" providerId="ADAL" clId="{7889F8E4-3B11-44EC-BF56-408DF8153FC1}" dt="2020-07-27T05:54:12.536" v="19"/>
          <ac:spMkLst>
            <pc:docMk/>
            <pc:sldMk cId="0" sldId="271"/>
            <ac:spMk id="30" creationId="{00000000-0000-0000-0000-000000000000}"/>
          </ac:spMkLst>
        </pc:spChg>
        <pc:spChg chg="mod">
          <ac:chgData name="Mondal, Tanmay" userId="83c199d5-d146-4e16-b08e-fa47ebac23d7" providerId="ADAL" clId="{7889F8E4-3B11-44EC-BF56-408DF8153FC1}" dt="2020-07-27T05:54:12.536" v="19"/>
          <ac:spMkLst>
            <pc:docMk/>
            <pc:sldMk cId="0" sldId="271"/>
            <ac:spMk id="31" creationId="{00000000-0000-0000-0000-000000000000}"/>
          </ac:spMkLst>
        </pc:spChg>
        <pc:spChg chg="mod">
          <ac:chgData name="Mondal, Tanmay" userId="83c199d5-d146-4e16-b08e-fa47ebac23d7" providerId="ADAL" clId="{7889F8E4-3B11-44EC-BF56-408DF8153FC1}" dt="2020-07-27T05:54:12.536" v="19"/>
          <ac:spMkLst>
            <pc:docMk/>
            <pc:sldMk cId="0" sldId="271"/>
            <ac:spMk id="32" creationId="{00000000-0000-0000-0000-000000000000}"/>
          </ac:spMkLst>
        </pc:spChg>
        <pc:spChg chg="mod">
          <ac:chgData name="Mondal, Tanmay" userId="83c199d5-d146-4e16-b08e-fa47ebac23d7" providerId="ADAL" clId="{7889F8E4-3B11-44EC-BF56-408DF8153FC1}" dt="2020-07-27T05:54:12.536" v="19"/>
          <ac:spMkLst>
            <pc:docMk/>
            <pc:sldMk cId="0" sldId="271"/>
            <ac:spMk id="33" creationId="{00000000-0000-0000-0000-000000000000}"/>
          </ac:spMkLst>
        </pc:spChg>
        <pc:spChg chg="mod">
          <ac:chgData name="Mondal, Tanmay" userId="83c199d5-d146-4e16-b08e-fa47ebac23d7" providerId="ADAL" clId="{7889F8E4-3B11-44EC-BF56-408DF8153FC1}" dt="2020-07-27T05:54:12.536" v="19"/>
          <ac:spMkLst>
            <pc:docMk/>
            <pc:sldMk cId="0" sldId="271"/>
            <ac:spMk id="34" creationId="{00000000-0000-0000-0000-000000000000}"/>
          </ac:spMkLst>
        </pc:spChg>
        <pc:spChg chg="mod">
          <ac:chgData name="Mondal, Tanmay" userId="83c199d5-d146-4e16-b08e-fa47ebac23d7" providerId="ADAL" clId="{7889F8E4-3B11-44EC-BF56-408DF8153FC1}" dt="2020-07-27T05:54:12.536" v="19"/>
          <ac:spMkLst>
            <pc:docMk/>
            <pc:sldMk cId="0" sldId="271"/>
            <ac:spMk id="35" creationId="{00000000-0000-0000-0000-000000000000}"/>
          </ac:spMkLst>
        </pc:spChg>
        <pc:spChg chg="mod">
          <ac:chgData name="Mondal, Tanmay" userId="83c199d5-d146-4e16-b08e-fa47ebac23d7" providerId="ADAL" clId="{7889F8E4-3B11-44EC-BF56-408DF8153FC1}" dt="2020-07-27T05:54:12.536" v="19"/>
          <ac:spMkLst>
            <pc:docMk/>
            <pc:sldMk cId="0" sldId="271"/>
            <ac:spMk id="36" creationId="{00000000-0000-0000-0000-000000000000}"/>
          </ac:spMkLst>
        </pc:spChg>
        <pc:spChg chg="mod">
          <ac:chgData name="Mondal, Tanmay" userId="83c199d5-d146-4e16-b08e-fa47ebac23d7" providerId="ADAL" clId="{7889F8E4-3B11-44EC-BF56-408DF8153FC1}" dt="2020-07-27T05:54:12.536" v="19"/>
          <ac:spMkLst>
            <pc:docMk/>
            <pc:sldMk cId="0" sldId="271"/>
            <ac:spMk id="37" creationId="{00000000-0000-0000-0000-000000000000}"/>
          </ac:spMkLst>
        </pc:spChg>
        <pc:spChg chg="mod">
          <ac:chgData name="Mondal, Tanmay" userId="83c199d5-d146-4e16-b08e-fa47ebac23d7" providerId="ADAL" clId="{7889F8E4-3B11-44EC-BF56-408DF8153FC1}" dt="2020-07-27T05:54:12.536" v="19"/>
          <ac:spMkLst>
            <pc:docMk/>
            <pc:sldMk cId="0" sldId="271"/>
            <ac:spMk id="38" creationId="{00000000-0000-0000-0000-000000000000}"/>
          </ac:spMkLst>
        </pc:spChg>
        <pc:spChg chg="mod">
          <ac:chgData name="Mondal, Tanmay" userId="83c199d5-d146-4e16-b08e-fa47ebac23d7" providerId="ADAL" clId="{7889F8E4-3B11-44EC-BF56-408DF8153FC1}" dt="2020-07-27T05:54:12.536" v="19"/>
          <ac:spMkLst>
            <pc:docMk/>
            <pc:sldMk cId="0" sldId="271"/>
            <ac:spMk id="39" creationId="{00000000-0000-0000-0000-000000000000}"/>
          </ac:spMkLst>
        </pc:spChg>
        <pc:spChg chg="mod">
          <ac:chgData name="Mondal, Tanmay" userId="83c199d5-d146-4e16-b08e-fa47ebac23d7" providerId="ADAL" clId="{7889F8E4-3B11-44EC-BF56-408DF8153FC1}" dt="2020-07-27T05:54:12.536" v="19"/>
          <ac:spMkLst>
            <pc:docMk/>
            <pc:sldMk cId="0" sldId="271"/>
            <ac:spMk id="40" creationId="{00000000-0000-0000-0000-000000000000}"/>
          </ac:spMkLst>
        </pc:spChg>
        <pc:spChg chg="mod">
          <ac:chgData name="Mondal, Tanmay" userId="83c199d5-d146-4e16-b08e-fa47ebac23d7" providerId="ADAL" clId="{7889F8E4-3B11-44EC-BF56-408DF8153FC1}" dt="2020-07-27T05:54:12.536" v="19"/>
          <ac:spMkLst>
            <pc:docMk/>
            <pc:sldMk cId="0" sldId="271"/>
            <ac:spMk id="41" creationId="{00000000-0000-0000-0000-000000000000}"/>
          </ac:spMkLst>
        </pc:spChg>
        <pc:spChg chg="mod">
          <ac:chgData name="Mondal, Tanmay" userId="83c199d5-d146-4e16-b08e-fa47ebac23d7" providerId="ADAL" clId="{7889F8E4-3B11-44EC-BF56-408DF8153FC1}" dt="2020-07-27T05:54:12.536" v="19"/>
          <ac:spMkLst>
            <pc:docMk/>
            <pc:sldMk cId="0" sldId="271"/>
            <ac:spMk id="42" creationId="{00000000-0000-0000-0000-000000000000}"/>
          </ac:spMkLst>
        </pc:spChg>
        <pc:spChg chg="mod">
          <ac:chgData name="Mondal, Tanmay" userId="83c199d5-d146-4e16-b08e-fa47ebac23d7" providerId="ADAL" clId="{7889F8E4-3B11-44EC-BF56-408DF8153FC1}" dt="2020-07-27T05:54:12.536" v="19"/>
          <ac:spMkLst>
            <pc:docMk/>
            <pc:sldMk cId="0" sldId="271"/>
            <ac:spMk id="43" creationId="{00000000-0000-0000-0000-000000000000}"/>
          </ac:spMkLst>
        </pc:spChg>
        <pc:spChg chg="mod">
          <ac:chgData name="Mondal, Tanmay" userId="83c199d5-d146-4e16-b08e-fa47ebac23d7" providerId="ADAL" clId="{7889F8E4-3B11-44EC-BF56-408DF8153FC1}" dt="2020-07-27T05:54:12.536" v="19"/>
          <ac:spMkLst>
            <pc:docMk/>
            <pc:sldMk cId="0" sldId="271"/>
            <ac:spMk id="44" creationId="{00000000-0000-0000-0000-000000000000}"/>
          </ac:spMkLst>
        </pc:spChg>
        <pc:spChg chg="mod">
          <ac:chgData name="Mondal, Tanmay" userId="83c199d5-d146-4e16-b08e-fa47ebac23d7" providerId="ADAL" clId="{7889F8E4-3B11-44EC-BF56-408DF8153FC1}" dt="2020-07-27T05:54:12.536" v="19"/>
          <ac:spMkLst>
            <pc:docMk/>
            <pc:sldMk cId="0" sldId="271"/>
            <ac:spMk id="45" creationId="{00000000-0000-0000-0000-000000000000}"/>
          </ac:spMkLst>
        </pc:spChg>
        <pc:spChg chg="mod">
          <ac:chgData name="Mondal, Tanmay" userId="83c199d5-d146-4e16-b08e-fa47ebac23d7" providerId="ADAL" clId="{7889F8E4-3B11-44EC-BF56-408DF8153FC1}" dt="2020-07-27T05:54:12.536" v="19"/>
          <ac:spMkLst>
            <pc:docMk/>
            <pc:sldMk cId="0" sldId="271"/>
            <ac:spMk id="46" creationId="{00000000-0000-0000-0000-000000000000}"/>
          </ac:spMkLst>
        </pc:spChg>
        <pc:spChg chg="mod">
          <ac:chgData name="Mondal, Tanmay" userId="83c199d5-d146-4e16-b08e-fa47ebac23d7" providerId="ADAL" clId="{7889F8E4-3B11-44EC-BF56-408DF8153FC1}" dt="2020-07-27T05:54:12.536" v="19"/>
          <ac:spMkLst>
            <pc:docMk/>
            <pc:sldMk cId="0" sldId="271"/>
            <ac:spMk id="47" creationId="{00000000-0000-0000-0000-000000000000}"/>
          </ac:spMkLst>
        </pc:spChg>
      </pc:sldChg>
      <pc:sldChg chg="addSp delSp modSp">
        <pc:chgData name="Mondal, Tanmay" userId="83c199d5-d146-4e16-b08e-fa47ebac23d7" providerId="ADAL" clId="{7889F8E4-3B11-44EC-BF56-408DF8153FC1}" dt="2020-07-27T07:26:14.644" v="520" actId="478"/>
        <pc:sldMkLst>
          <pc:docMk/>
          <pc:sldMk cId="0" sldId="272"/>
        </pc:sldMkLst>
        <pc:spChg chg="mod">
          <ac:chgData name="Mondal, Tanmay" userId="83c199d5-d146-4e16-b08e-fa47ebac23d7" providerId="ADAL" clId="{7889F8E4-3B11-44EC-BF56-408DF8153FC1}" dt="2020-07-27T05:54:12.536" v="19"/>
          <ac:spMkLst>
            <pc:docMk/>
            <pc:sldMk cId="0" sldId="272"/>
            <ac:spMk id="2" creationId="{00000000-0000-0000-0000-000000000000}"/>
          </ac:spMkLst>
        </pc:spChg>
        <pc:spChg chg="mod">
          <ac:chgData name="Mondal, Tanmay" userId="83c199d5-d146-4e16-b08e-fa47ebac23d7" providerId="ADAL" clId="{7889F8E4-3B11-44EC-BF56-408DF8153FC1}" dt="2020-07-27T05:54:12.536" v="19"/>
          <ac:spMkLst>
            <pc:docMk/>
            <pc:sldMk cId="0" sldId="272"/>
            <ac:spMk id="3" creationId="{00000000-0000-0000-0000-000000000000}"/>
          </ac:spMkLst>
        </pc:spChg>
        <pc:spChg chg="mod">
          <ac:chgData name="Mondal, Tanmay" userId="83c199d5-d146-4e16-b08e-fa47ebac23d7" providerId="ADAL" clId="{7889F8E4-3B11-44EC-BF56-408DF8153FC1}" dt="2020-07-27T05:54:12.536" v="19"/>
          <ac:spMkLst>
            <pc:docMk/>
            <pc:sldMk cId="0" sldId="272"/>
            <ac:spMk id="4" creationId="{00000000-0000-0000-0000-000000000000}"/>
          </ac:spMkLst>
        </pc:spChg>
        <pc:spChg chg="mod">
          <ac:chgData name="Mondal, Tanmay" userId="83c199d5-d146-4e16-b08e-fa47ebac23d7" providerId="ADAL" clId="{7889F8E4-3B11-44EC-BF56-408DF8153FC1}" dt="2020-07-27T05:54:12.536" v="19"/>
          <ac:spMkLst>
            <pc:docMk/>
            <pc:sldMk cId="0" sldId="272"/>
            <ac:spMk id="5" creationId="{00000000-0000-0000-0000-000000000000}"/>
          </ac:spMkLst>
        </pc:spChg>
        <pc:spChg chg="mod">
          <ac:chgData name="Mondal, Tanmay" userId="83c199d5-d146-4e16-b08e-fa47ebac23d7" providerId="ADAL" clId="{7889F8E4-3B11-44EC-BF56-408DF8153FC1}" dt="2020-07-27T05:54:12.536" v="19"/>
          <ac:spMkLst>
            <pc:docMk/>
            <pc:sldMk cId="0" sldId="272"/>
            <ac:spMk id="6" creationId="{00000000-0000-0000-0000-000000000000}"/>
          </ac:spMkLst>
        </pc:spChg>
        <pc:spChg chg="mod">
          <ac:chgData name="Mondal, Tanmay" userId="83c199d5-d146-4e16-b08e-fa47ebac23d7" providerId="ADAL" clId="{7889F8E4-3B11-44EC-BF56-408DF8153FC1}" dt="2020-07-27T05:54:12.536" v="19"/>
          <ac:spMkLst>
            <pc:docMk/>
            <pc:sldMk cId="0" sldId="272"/>
            <ac:spMk id="7" creationId="{00000000-0000-0000-0000-000000000000}"/>
          </ac:spMkLst>
        </pc:spChg>
        <pc:spChg chg="mod">
          <ac:chgData name="Mondal, Tanmay" userId="83c199d5-d146-4e16-b08e-fa47ebac23d7" providerId="ADAL" clId="{7889F8E4-3B11-44EC-BF56-408DF8153FC1}" dt="2020-07-27T05:54:12.536" v="19"/>
          <ac:spMkLst>
            <pc:docMk/>
            <pc:sldMk cId="0" sldId="272"/>
            <ac:spMk id="8" creationId="{00000000-0000-0000-0000-000000000000}"/>
          </ac:spMkLst>
        </pc:spChg>
        <pc:spChg chg="mod">
          <ac:chgData name="Mondal, Tanmay" userId="83c199d5-d146-4e16-b08e-fa47ebac23d7" providerId="ADAL" clId="{7889F8E4-3B11-44EC-BF56-408DF8153FC1}" dt="2020-07-27T05:54:12.536" v="19"/>
          <ac:spMkLst>
            <pc:docMk/>
            <pc:sldMk cId="0" sldId="272"/>
            <ac:spMk id="9" creationId="{00000000-0000-0000-0000-000000000000}"/>
          </ac:spMkLst>
        </pc:spChg>
        <pc:spChg chg="mod">
          <ac:chgData name="Mondal, Tanmay" userId="83c199d5-d146-4e16-b08e-fa47ebac23d7" providerId="ADAL" clId="{7889F8E4-3B11-44EC-BF56-408DF8153FC1}" dt="2020-07-27T05:54:12.536" v="19"/>
          <ac:spMkLst>
            <pc:docMk/>
            <pc:sldMk cId="0" sldId="272"/>
            <ac:spMk id="10" creationId="{00000000-0000-0000-0000-000000000000}"/>
          </ac:spMkLst>
        </pc:spChg>
        <pc:spChg chg="mod">
          <ac:chgData name="Mondal, Tanmay" userId="83c199d5-d146-4e16-b08e-fa47ebac23d7" providerId="ADAL" clId="{7889F8E4-3B11-44EC-BF56-408DF8153FC1}" dt="2020-07-27T05:54:12.536" v="19"/>
          <ac:spMkLst>
            <pc:docMk/>
            <pc:sldMk cId="0" sldId="272"/>
            <ac:spMk id="11" creationId="{00000000-0000-0000-0000-000000000000}"/>
          </ac:spMkLst>
        </pc:spChg>
        <pc:spChg chg="mod">
          <ac:chgData name="Mondal, Tanmay" userId="83c199d5-d146-4e16-b08e-fa47ebac23d7" providerId="ADAL" clId="{7889F8E4-3B11-44EC-BF56-408DF8153FC1}" dt="2020-07-27T05:54:12.536" v="19"/>
          <ac:spMkLst>
            <pc:docMk/>
            <pc:sldMk cId="0" sldId="272"/>
            <ac:spMk id="12" creationId="{00000000-0000-0000-0000-000000000000}"/>
          </ac:spMkLst>
        </pc:spChg>
        <pc:spChg chg="add del mod">
          <ac:chgData name="Mondal, Tanmay" userId="83c199d5-d146-4e16-b08e-fa47ebac23d7" providerId="ADAL" clId="{7889F8E4-3B11-44EC-BF56-408DF8153FC1}" dt="2020-07-27T07:26:14.644" v="520" actId="478"/>
          <ac:spMkLst>
            <pc:docMk/>
            <pc:sldMk cId="0" sldId="272"/>
            <ac:spMk id="13" creationId="{4936D8FF-3BB8-40CF-BFFA-6C2B8DE963C5}"/>
          </ac:spMkLst>
        </pc:spChg>
        <pc:spChg chg="add del mod">
          <ac:chgData name="Mondal, Tanmay" userId="83c199d5-d146-4e16-b08e-fa47ebac23d7" providerId="ADAL" clId="{7889F8E4-3B11-44EC-BF56-408DF8153FC1}" dt="2020-07-27T07:26:11.788" v="519" actId="478"/>
          <ac:spMkLst>
            <pc:docMk/>
            <pc:sldMk cId="0" sldId="272"/>
            <ac:spMk id="14" creationId="{956ECCBD-0664-4A1A-9642-20439A5B53D4}"/>
          </ac:spMkLst>
        </pc:spChg>
        <pc:spChg chg="mod">
          <ac:chgData name="Mondal, Tanmay" userId="83c199d5-d146-4e16-b08e-fa47ebac23d7" providerId="ADAL" clId="{7889F8E4-3B11-44EC-BF56-408DF8153FC1}" dt="2020-07-27T05:54:12.536" v="19"/>
          <ac:spMkLst>
            <pc:docMk/>
            <pc:sldMk cId="0" sldId="272"/>
            <ac:spMk id="15" creationId="{00000000-0000-0000-0000-000000000000}"/>
          </ac:spMkLst>
        </pc:spChg>
        <pc:spChg chg="mod">
          <ac:chgData name="Mondal, Tanmay" userId="83c199d5-d146-4e16-b08e-fa47ebac23d7" providerId="ADAL" clId="{7889F8E4-3B11-44EC-BF56-408DF8153FC1}" dt="2020-07-27T05:54:12.536" v="19"/>
          <ac:spMkLst>
            <pc:docMk/>
            <pc:sldMk cId="0" sldId="272"/>
            <ac:spMk id="16" creationId="{00000000-0000-0000-0000-000000000000}"/>
          </ac:spMkLst>
        </pc:spChg>
        <pc:spChg chg="mod">
          <ac:chgData name="Mondal, Tanmay" userId="83c199d5-d146-4e16-b08e-fa47ebac23d7" providerId="ADAL" clId="{7889F8E4-3B11-44EC-BF56-408DF8153FC1}" dt="2020-07-27T05:54:12.536" v="19"/>
          <ac:spMkLst>
            <pc:docMk/>
            <pc:sldMk cId="0" sldId="272"/>
            <ac:spMk id="17" creationId="{00000000-0000-0000-0000-000000000000}"/>
          </ac:spMkLst>
        </pc:spChg>
        <pc:spChg chg="mod">
          <ac:chgData name="Mondal, Tanmay" userId="83c199d5-d146-4e16-b08e-fa47ebac23d7" providerId="ADAL" clId="{7889F8E4-3B11-44EC-BF56-408DF8153FC1}" dt="2020-07-27T05:54:12.536" v="19"/>
          <ac:spMkLst>
            <pc:docMk/>
            <pc:sldMk cId="0" sldId="272"/>
            <ac:spMk id="18" creationId="{00000000-0000-0000-0000-000000000000}"/>
          </ac:spMkLst>
        </pc:spChg>
        <pc:spChg chg="mod">
          <ac:chgData name="Mondal, Tanmay" userId="83c199d5-d146-4e16-b08e-fa47ebac23d7" providerId="ADAL" clId="{7889F8E4-3B11-44EC-BF56-408DF8153FC1}" dt="2020-07-27T05:54:12.536" v="19"/>
          <ac:spMkLst>
            <pc:docMk/>
            <pc:sldMk cId="0" sldId="272"/>
            <ac:spMk id="19" creationId="{00000000-0000-0000-0000-000000000000}"/>
          </ac:spMkLst>
        </pc:spChg>
        <pc:spChg chg="mod">
          <ac:chgData name="Mondal, Tanmay" userId="83c199d5-d146-4e16-b08e-fa47ebac23d7" providerId="ADAL" clId="{7889F8E4-3B11-44EC-BF56-408DF8153FC1}" dt="2020-07-27T05:54:12.536" v="19"/>
          <ac:spMkLst>
            <pc:docMk/>
            <pc:sldMk cId="0" sldId="272"/>
            <ac:spMk id="20" creationId="{00000000-0000-0000-0000-000000000000}"/>
          </ac:spMkLst>
        </pc:spChg>
        <pc:spChg chg="mod">
          <ac:chgData name="Mondal, Tanmay" userId="83c199d5-d146-4e16-b08e-fa47ebac23d7" providerId="ADAL" clId="{7889F8E4-3B11-44EC-BF56-408DF8153FC1}" dt="2020-07-27T05:54:12.536" v="19"/>
          <ac:spMkLst>
            <pc:docMk/>
            <pc:sldMk cId="0" sldId="272"/>
            <ac:spMk id="21" creationId="{00000000-0000-0000-0000-000000000000}"/>
          </ac:spMkLst>
        </pc:spChg>
        <pc:spChg chg="mod">
          <ac:chgData name="Mondal, Tanmay" userId="83c199d5-d146-4e16-b08e-fa47ebac23d7" providerId="ADAL" clId="{7889F8E4-3B11-44EC-BF56-408DF8153FC1}" dt="2020-07-27T05:54:12.536" v="19"/>
          <ac:spMkLst>
            <pc:docMk/>
            <pc:sldMk cId="0" sldId="272"/>
            <ac:spMk id="22" creationId="{00000000-0000-0000-0000-000000000000}"/>
          </ac:spMkLst>
        </pc:spChg>
        <pc:spChg chg="mod">
          <ac:chgData name="Mondal, Tanmay" userId="83c199d5-d146-4e16-b08e-fa47ebac23d7" providerId="ADAL" clId="{7889F8E4-3B11-44EC-BF56-408DF8153FC1}" dt="2020-07-27T05:54:12.536" v="19"/>
          <ac:spMkLst>
            <pc:docMk/>
            <pc:sldMk cId="0" sldId="272"/>
            <ac:spMk id="23" creationId="{00000000-0000-0000-0000-000000000000}"/>
          </ac:spMkLst>
        </pc:spChg>
        <pc:spChg chg="mod">
          <ac:chgData name="Mondal, Tanmay" userId="83c199d5-d146-4e16-b08e-fa47ebac23d7" providerId="ADAL" clId="{7889F8E4-3B11-44EC-BF56-408DF8153FC1}" dt="2020-07-27T05:54:12.536" v="19"/>
          <ac:spMkLst>
            <pc:docMk/>
            <pc:sldMk cId="0" sldId="272"/>
            <ac:spMk id="24" creationId="{00000000-0000-0000-0000-000000000000}"/>
          </ac:spMkLst>
        </pc:spChg>
        <pc:spChg chg="mod">
          <ac:chgData name="Mondal, Tanmay" userId="83c199d5-d146-4e16-b08e-fa47ebac23d7" providerId="ADAL" clId="{7889F8E4-3B11-44EC-BF56-408DF8153FC1}" dt="2020-07-27T05:54:12.536" v="19"/>
          <ac:spMkLst>
            <pc:docMk/>
            <pc:sldMk cId="0" sldId="272"/>
            <ac:spMk id="25" creationId="{00000000-0000-0000-0000-000000000000}"/>
          </ac:spMkLst>
        </pc:spChg>
        <pc:spChg chg="mod">
          <ac:chgData name="Mondal, Tanmay" userId="83c199d5-d146-4e16-b08e-fa47ebac23d7" providerId="ADAL" clId="{7889F8E4-3B11-44EC-BF56-408DF8153FC1}" dt="2020-07-27T05:54:12.536" v="19"/>
          <ac:spMkLst>
            <pc:docMk/>
            <pc:sldMk cId="0" sldId="272"/>
            <ac:spMk id="26" creationId="{00000000-0000-0000-0000-000000000000}"/>
          </ac:spMkLst>
        </pc:spChg>
        <pc:spChg chg="mod">
          <ac:chgData name="Mondal, Tanmay" userId="83c199d5-d146-4e16-b08e-fa47ebac23d7" providerId="ADAL" clId="{7889F8E4-3B11-44EC-BF56-408DF8153FC1}" dt="2020-07-27T05:54:12.536" v="19"/>
          <ac:spMkLst>
            <pc:docMk/>
            <pc:sldMk cId="0" sldId="272"/>
            <ac:spMk id="27" creationId="{00000000-0000-0000-0000-000000000000}"/>
          </ac:spMkLst>
        </pc:spChg>
        <pc:spChg chg="mod">
          <ac:chgData name="Mondal, Tanmay" userId="83c199d5-d146-4e16-b08e-fa47ebac23d7" providerId="ADAL" clId="{7889F8E4-3B11-44EC-BF56-408DF8153FC1}" dt="2020-07-27T05:54:12.536" v="19"/>
          <ac:spMkLst>
            <pc:docMk/>
            <pc:sldMk cId="0" sldId="272"/>
            <ac:spMk id="28" creationId="{00000000-0000-0000-0000-000000000000}"/>
          </ac:spMkLst>
        </pc:spChg>
        <pc:spChg chg="mod">
          <ac:chgData name="Mondal, Tanmay" userId="83c199d5-d146-4e16-b08e-fa47ebac23d7" providerId="ADAL" clId="{7889F8E4-3B11-44EC-BF56-408DF8153FC1}" dt="2020-07-27T05:54:12.536" v="19"/>
          <ac:spMkLst>
            <pc:docMk/>
            <pc:sldMk cId="0" sldId="272"/>
            <ac:spMk id="29" creationId="{00000000-0000-0000-0000-000000000000}"/>
          </ac:spMkLst>
        </pc:spChg>
        <pc:spChg chg="mod">
          <ac:chgData name="Mondal, Tanmay" userId="83c199d5-d146-4e16-b08e-fa47ebac23d7" providerId="ADAL" clId="{7889F8E4-3B11-44EC-BF56-408DF8153FC1}" dt="2020-07-27T05:54:12.536" v="19"/>
          <ac:spMkLst>
            <pc:docMk/>
            <pc:sldMk cId="0" sldId="272"/>
            <ac:spMk id="30" creationId="{00000000-0000-0000-0000-000000000000}"/>
          </ac:spMkLst>
        </pc:spChg>
        <pc:spChg chg="mod">
          <ac:chgData name="Mondal, Tanmay" userId="83c199d5-d146-4e16-b08e-fa47ebac23d7" providerId="ADAL" clId="{7889F8E4-3B11-44EC-BF56-408DF8153FC1}" dt="2020-07-27T05:54:12.536" v="19"/>
          <ac:spMkLst>
            <pc:docMk/>
            <pc:sldMk cId="0" sldId="272"/>
            <ac:spMk id="31" creationId="{00000000-0000-0000-0000-000000000000}"/>
          </ac:spMkLst>
        </pc:spChg>
        <pc:spChg chg="mod">
          <ac:chgData name="Mondal, Tanmay" userId="83c199d5-d146-4e16-b08e-fa47ebac23d7" providerId="ADAL" clId="{7889F8E4-3B11-44EC-BF56-408DF8153FC1}" dt="2020-07-27T05:54:12.536" v="19"/>
          <ac:spMkLst>
            <pc:docMk/>
            <pc:sldMk cId="0" sldId="272"/>
            <ac:spMk id="32" creationId="{00000000-0000-0000-0000-000000000000}"/>
          </ac:spMkLst>
        </pc:spChg>
        <pc:spChg chg="mod">
          <ac:chgData name="Mondal, Tanmay" userId="83c199d5-d146-4e16-b08e-fa47ebac23d7" providerId="ADAL" clId="{7889F8E4-3B11-44EC-BF56-408DF8153FC1}" dt="2020-07-27T05:54:12.536" v="19"/>
          <ac:spMkLst>
            <pc:docMk/>
            <pc:sldMk cId="0" sldId="272"/>
            <ac:spMk id="33" creationId="{00000000-0000-0000-0000-000000000000}"/>
          </ac:spMkLst>
        </pc:spChg>
        <pc:spChg chg="mod">
          <ac:chgData name="Mondal, Tanmay" userId="83c199d5-d146-4e16-b08e-fa47ebac23d7" providerId="ADAL" clId="{7889F8E4-3B11-44EC-BF56-408DF8153FC1}" dt="2020-07-27T05:54:12.536" v="19"/>
          <ac:spMkLst>
            <pc:docMk/>
            <pc:sldMk cId="0" sldId="272"/>
            <ac:spMk id="34" creationId="{00000000-0000-0000-0000-000000000000}"/>
          </ac:spMkLst>
        </pc:spChg>
        <pc:spChg chg="mod">
          <ac:chgData name="Mondal, Tanmay" userId="83c199d5-d146-4e16-b08e-fa47ebac23d7" providerId="ADAL" clId="{7889F8E4-3B11-44EC-BF56-408DF8153FC1}" dt="2020-07-27T05:54:12.536" v="19"/>
          <ac:spMkLst>
            <pc:docMk/>
            <pc:sldMk cId="0" sldId="272"/>
            <ac:spMk id="35" creationId="{00000000-0000-0000-0000-000000000000}"/>
          </ac:spMkLst>
        </pc:spChg>
        <pc:spChg chg="mod">
          <ac:chgData name="Mondal, Tanmay" userId="83c199d5-d146-4e16-b08e-fa47ebac23d7" providerId="ADAL" clId="{7889F8E4-3B11-44EC-BF56-408DF8153FC1}" dt="2020-07-27T05:54:12.536" v="19"/>
          <ac:spMkLst>
            <pc:docMk/>
            <pc:sldMk cId="0" sldId="272"/>
            <ac:spMk id="36" creationId="{00000000-0000-0000-0000-000000000000}"/>
          </ac:spMkLst>
        </pc:spChg>
        <pc:spChg chg="mod">
          <ac:chgData name="Mondal, Tanmay" userId="83c199d5-d146-4e16-b08e-fa47ebac23d7" providerId="ADAL" clId="{7889F8E4-3B11-44EC-BF56-408DF8153FC1}" dt="2020-07-27T05:54:12.536" v="19"/>
          <ac:spMkLst>
            <pc:docMk/>
            <pc:sldMk cId="0" sldId="272"/>
            <ac:spMk id="37" creationId="{00000000-0000-0000-0000-000000000000}"/>
          </ac:spMkLst>
        </pc:spChg>
        <pc:spChg chg="mod">
          <ac:chgData name="Mondal, Tanmay" userId="83c199d5-d146-4e16-b08e-fa47ebac23d7" providerId="ADAL" clId="{7889F8E4-3B11-44EC-BF56-408DF8153FC1}" dt="2020-07-27T05:54:12.536" v="19"/>
          <ac:spMkLst>
            <pc:docMk/>
            <pc:sldMk cId="0" sldId="272"/>
            <ac:spMk id="38" creationId="{00000000-0000-0000-0000-000000000000}"/>
          </ac:spMkLst>
        </pc:spChg>
        <pc:spChg chg="mod">
          <ac:chgData name="Mondal, Tanmay" userId="83c199d5-d146-4e16-b08e-fa47ebac23d7" providerId="ADAL" clId="{7889F8E4-3B11-44EC-BF56-408DF8153FC1}" dt="2020-07-27T05:54:12.536" v="19"/>
          <ac:spMkLst>
            <pc:docMk/>
            <pc:sldMk cId="0" sldId="272"/>
            <ac:spMk id="39" creationId="{00000000-0000-0000-0000-000000000000}"/>
          </ac:spMkLst>
        </pc:spChg>
        <pc:spChg chg="mod">
          <ac:chgData name="Mondal, Tanmay" userId="83c199d5-d146-4e16-b08e-fa47ebac23d7" providerId="ADAL" clId="{7889F8E4-3B11-44EC-BF56-408DF8153FC1}" dt="2020-07-27T05:54:12.536" v="19"/>
          <ac:spMkLst>
            <pc:docMk/>
            <pc:sldMk cId="0" sldId="272"/>
            <ac:spMk id="40" creationId="{00000000-0000-0000-0000-000000000000}"/>
          </ac:spMkLst>
        </pc:spChg>
        <pc:spChg chg="mod">
          <ac:chgData name="Mondal, Tanmay" userId="83c199d5-d146-4e16-b08e-fa47ebac23d7" providerId="ADAL" clId="{7889F8E4-3B11-44EC-BF56-408DF8153FC1}" dt="2020-07-27T05:54:12.536" v="19"/>
          <ac:spMkLst>
            <pc:docMk/>
            <pc:sldMk cId="0" sldId="272"/>
            <ac:spMk id="41" creationId="{00000000-0000-0000-0000-000000000000}"/>
          </ac:spMkLst>
        </pc:spChg>
        <pc:spChg chg="mod">
          <ac:chgData name="Mondal, Tanmay" userId="83c199d5-d146-4e16-b08e-fa47ebac23d7" providerId="ADAL" clId="{7889F8E4-3B11-44EC-BF56-408DF8153FC1}" dt="2020-07-27T05:54:12.536" v="19"/>
          <ac:spMkLst>
            <pc:docMk/>
            <pc:sldMk cId="0" sldId="272"/>
            <ac:spMk id="42" creationId="{00000000-0000-0000-0000-000000000000}"/>
          </ac:spMkLst>
        </pc:spChg>
        <pc:spChg chg="mod">
          <ac:chgData name="Mondal, Tanmay" userId="83c199d5-d146-4e16-b08e-fa47ebac23d7" providerId="ADAL" clId="{7889F8E4-3B11-44EC-BF56-408DF8153FC1}" dt="2020-07-27T05:54:12.536" v="19"/>
          <ac:spMkLst>
            <pc:docMk/>
            <pc:sldMk cId="0" sldId="272"/>
            <ac:spMk id="43" creationId="{00000000-0000-0000-0000-000000000000}"/>
          </ac:spMkLst>
        </pc:spChg>
        <pc:spChg chg="mod">
          <ac:chgData name="Mondal, Tanmay" userId="83c199d5-d146-4e16-b08e-fa47ebac23d7" providerId="ADAL" clId="{7889F8E4-3B11-44EC-BF56-408DF8153FC1}" dt="2020-07-27T05:54:12.536" v="19"/>
          <ac:spMkLst>
            <pc:docMk/>
            <pc:sldMk cId="0" sldId="272"/>
            <ac:spMk id="44" creationId="{00000000-0000-0000-0000-000000000000}"/>
          </ac:spMkLst>
        </pc:spChg>
        <pc:spChg chg="mod">
          <ac:chgData name="Mondal, Tanmay" userId="83c199d5-d146-4e16-b08e-fa47ebac23d7" providerId="ADAL" clId="{7889F8E4-3B11-44EC-BF56-408DF8153FC1}" dt="2020-07-27T05:54:12.536" v="19"/>
          <ac:spMkLst>
            <pc:docMk/>
            <pc:sldMk cId="0" sldId="272"/>
            <ac:spMk id="45" creationId="{00000000-0000-0000-0000-000000000000}"/>
          </ac:spMkLst>
        </pc:spChg>
        <pc:spChg chg="mod">
          <ac:chgData name="Mondal, Tanmay" userId="83c199d5-d146-4e16-b08e-fa47ebac23d7" providerId="ADAL" clId="{7889F8E4-3B11-44EC-BF56-408DF8153FC1}" dt="2020-07-27T05:54:12.536" v="19"/>
          <ac:spMkLst>
            <pc:docMk/>
            <pc:sldMk cId="0" sldId="272"/>
            <ac:spMk id="46" creationId="{00000000-0000-0000-0000-000000000000}"/>
          </ac:spMkLst>
        </pc:spChg>
        <pc:spChg chg="mod">
          <ac:chgData name="Mondal, Tanmay" userId="83c199d5-d146-4e16-b08e-fa47ebac23d7" providerId="ADAL" clId="{7889F8E4-3B11-44EC-BF56-408DF8153FC1}" dt="2020-07-27T05:54:12.536" v="19"/>
          <ac:spMkLst>
            <pc:docMk/>
            <pc:sldMk cId="0" sldId="272"/>
            <ac:spMk id="47" creationId="{00000000-0000-0000-0000-000000000000}"/>
          </ac:spMkLst>
        </pc:spChg>
        <pc:spChg chg="mod">
          <ac:chgData name="Mondal, Tanmay" userId="83c199d5-d146-4e16-b08e-fa47ebac23d7" providerId="ADAL" clId="{7889F8E4-3B11-44EC-BF56-408DF8153FC1}" dt="2020-07-27T05:54:12.536" v="19"/>
          <ac:spMkLst>
            <pc:docMk/>
            <pc:sldMk cId="0" sldId="272"/>
            <ac:spMk id="48" creationId="{00000000-0000-0000-0000-000000000000}"/>
          </ac:spMkLst>
        </pc:spChg>
        <pc:spChg chg="mod">
          <ac:chgData name="Mondal, Tanmay" userId="83c199d5-d146-4e16-b08e-fa47ebac23d7" providerId="ADAL" clId="{7889F8E4-3B11-44EC-BF56-408DF8153FC1}" dt="2020-07-27T05:54:12.536" v="19"/>
          <ac:spMkLst>
            <pc:docMk/>
            <pc:sldMk cId="0" sldId="272"/>
            <ac:spMk id="49" creationId="{00000000-0000-0000-0000-000000000000}"/>
          </ac:spMkLst>
        </pc:spChg>
        <pc:spChg chg="mod">
          <ac:chgData name="Mondal, Tanmay" userId="83c199d5-d146-4e16-b08e-fa47ebac23d7" providerId="ADAL" clId="{7889F8E4-3B11-44EC-BF56-408DF8153FC1}" dt="2020-07-27T05:54:12.536" v="19"/>
          <ac:spMkLst>
            <pc:docMk/>
            <pc:sldMk cId="0" sldId="272"/>
            <ac:spMk id="50" creationId="{00000000-0000-0000-0000-000000000000}"/>
          </ac:spMkLst>
        </pc:spChg>
        <pc:spChg chg="mod">
          <ac:chgData name="Mondal, Tanmay" userId="83c199d5-d146-4e16-b08e-fa47ebac23d7" providerId="ADAL" clId="{7889F8E4-3B11-44EC-BF56-408DF8153FC1}" dt="2020-07-27T05:54:12.536" v="19"/>
          <ac:spMkLst>
            <pc:docMk/>
            <pc:sldMk cId="0" sldId="272"/>
            <ac:spMk id="51" creationId="{00000000-0000-0000-0000-000000000000}"/>
          </ac:spMkLst>
        </pc:spChg>
        <pc:spChg chg="mod">
          <ac:chgData name="Mondal, Tanmay" userId="83c199d5-d146-4e16-b08e-fa47ebac23d7" providerId="ADAL" clId="{7889F8E4-3B11-44EC-BF56-408DF8153FC1}" dt="2020-07-27T05:54:12.536" v="19"/>
          <ac:spMkLst>
            <pc:docMk/>
            <pc:sldMk cId="0" sldId="272"/>
            <ac:spMk id="52" creationId="{00000000-0000-0000-0000-000000000000}"/>
          </ac:spMkLst>
        </pc:spChg>
        <pc:spChg chg="mod">
          <ac:chgData name="Mondal, Tanmay" userId="83c199d5-d146-4e16-b08e-fa47ebac23d7" providerId="ADAL" clId="{7889F8E4-3B11-44EC-BF56-408DF8153FC1}" dt="2020-07-27T05:54:12.536" v="19"/>
          <ac:spMkLst>
            <pc:docMk/>
            <pc:sldMk cId="0" sldId="272"/>
            <ac:spMk id="53" creationId="{00000000-0000-0000-0000-000000000000}"/>
          </ac:spMkLst>
        </pc:spChg>
      </pc:sldChg>
      <pc:sldChg chg="addSp delSp modSp">
        <pc:chgData name="Mondal, Tanmay" userId="83c199d5-d146-4e16-b08e-fa47ebac23d7" providerId="ADAL" clId="{7889F8E4-3B11-44EC-BF56-408DF8153FC1}" dt="2020-07-27T07:26:26.764" v="523" actId="478"/>
        <pc:sldMkLst>
          <pc:docMk/>
          <pc:sldMk cId="0" sldId="273"/>
        </pc:sldMkLst>
        <pc:spChg chg="mod">
          <ac:chgData name="Mondal, Tanmay" userId="83c199d5-d146-4e16-b08e-fa47ebac23d7" providerId="ADAL" clId="{7889F8E4-3B11-44EC-BF56-408DF8153FC1}" dt="2020-07-27T05:54:12.536" v="19"/>
          <ac:spMkLst>
            <pc:docMk/>
            <pc:sldMk cId="0" sldId="273"/>
            <ac:spMk id="2" creationId="{00000000-0000-0000-0000-000000000000}"/>
          </ac:spMkLst>
        </pc:spChg>
        <pc:spChg chg="mod">
          <ac:chgData name="Mondal, Tanmay" userId="83c199d5-d146-4e16-b08e-fa47ebac23d7" providerId="ADAL" clId="{7889F8E4-3B11-44EC-BF56-408DF8153FC1}" dt="2020-07-27T05:54:12.536" v="19"/>
          <ac:spMkLst>
            <pc:docMk/>
            <pc:sldMk cId="0" sldId="273"/>
            <ac:spMk id="3" creationId="{00000000-0000-0000-0000-000000000000}"/>
          </ac:spMkLst>
        </pc:spChg>
        <pc:spChg chg="mod">
          <ac:chgData name="Mondal, Tanmay" userId="83c199d5-d146-4e16-b08e-fa47ebac23d7" providerId="ADAL" clId="{7889F8E4-3B11-44EC-BF56-408DF8153FC1}" dt="2020-07-27T05:54:12.536" v="19"/>
          <ac:spMkLst>
            <pc:docMk/>
            <pc:sldMk cId="0" sldId="273"/>
            <ac:spMk id="4" creationId="{00000000-0000-0000-0000-000000000000}"/>
          </ac:spMkLst>
        </pc:spChg>
        <pc:spChg chg="mod">
          <ac:chgData name="Mondal, Tanmay" userId="83c199d5-d146-4e16-b08e-fa47ebac23d7" providerId="ADAL" clId="{7889F8E4-3B11-44EC-BF56-408DF8153FC1}" dt="2020-07-27T05:54:12.536" v="19"/>
          <ac:spMkLst>
            <pc:docMk/>
            <pc:sldMk cId="0" sldId="273"/>
            <ac:spMk id="5" creationId="{00000000-0000-0000-0000-000000000000}"/>
          </ac:spMkLst>
        </pc:spChg>
        <pc:spChg chg="mod">
          <ac:chgData name="Mondal, Tanmay" userId="83c199d5-d146-4e16-b08e-fa47ebac23d7" providerId="ADAL" clId="{7889F8E4-3B11-44EC-BF56-408DF8153FC1}" dt="2020-07-27T05:54:12.536" v="19"/>
          <ac:spMkLst>
            <pc:docMk/>
            <pc:sldMk cId="0" sldId="273"/>
            <ac:spMk id="6" creationId="{00000000-0000-0000-0000-000000000000}"/>
          </ac:spMkLst>
        </pc:spChg>
        <pc:spChg chg="mod">
          <ac:chgData name="Mondal, Tanmay" userId="83c199d5-d146-4e16-b08e-fa47ebac23d7" providerId="ADAL" clId="{7889F8E4-3B11-44EC-BF56-408DF8153FC1}" dt="2020-07-27T05:54:12.536" v="19"/>
          <ac:spMkLst>
            <pc:docMk/>
            <pc:sldMk cId="0" sldId="273"/>
            <ac:spMk id="7" creationId="{00000000-0000-0000-0000-000000000000}"/>
          </ac:spMkLst>
        </pc:spChg>
        <pc:spChg chg="mod">
          <ac:chgData name="Mondal, Tanmay" userId="83c199d5-d146-4e16-b08e-fa47ebac23d7" providerId="ADAL" clId="{7889F8E4-3B11-44EC-BF56-408DF8153FC1}" dt="2020-07-27T05:54:12.536" v="19"/>
          <ac:spMkLst>
            <pc:docMk/>
            <pc:sldMk cId="0" sldId="273"/>
            <ac:spMk id="8" creationId="{00000000-0000-0000-0000-000000000000}"/>
          </ac:spMkLst>
        </pc:spChg>
        <pc:spChg chg="mod">
          <ac:chgData name="Mondal, Tanmay" userId="83c199d5-d146-4e16-b08e-fa47ebac23d7" providerId="ADAL" clId="{7889F8E4-3B11-44EC-BF56-408DF8153FC1}" dt="2020-07-27T05:54:12.536" v="19"/>
          <ac:spMkLst>
            <pc:docMk/>
            <pc:sldMk cId="0" sldId="273"/>
            <ac:spMk id="9" creationId="{00000000-0000-0000-0000-000000000000}"/>
          </ac:spMkLst>
        </pc:spChg>
        <pc:spChg chg="mod">
          <ac:chgData name="Mondal, Tanmay" userId="83c199d5-d146-4e16-b08e-fa47ebac23d7" providerId="ADAL" clId="{7889F8E4-3B11-44EC-BF56-408DF8153FC1}" dt="2020-07-27T05:54:12.536" v="19"/>
          <ac:spMkLst>
            <pc:docMk/>
            <pc:sldMk cId="0" sldId="273"/>
            <ac:spMk id="10" creationId="{00000000-0000-0000-0000-000000000000}"/>
          </ac:spMkLst>
        </pc:spChg>
        <pc:spChg chg="mod">
          <ac:chgData name="Mondal, Tanmay" userId="83c199d5-d146-4e16-b08e-fa47ebac23d7" providerId="ADAL" clId="{7889F8E4-3B11-44EC-BF56-408DF8153FC1}" dt="2020-07-27T05:54:12.536" v="19"/>
          <ac:spMkLst>
            <pc:docMk/>
            <pc:sldMk cId="0" sldId="273"/>
            <ac:spMk id="11" creationId="{00000000-0000-0000-0000-000000000000}"/>
          </ac:spMkLst>
        </pc:spChg>
        <pc:spChg chg="mod">
          <ac:chgData name="Mondal, Tanmay" userId="83c199d5-d146-4e16-b08e-fa47ebac23d7" providerId="ADAL" clId="{7889F8E4-3B11-44EC-BF56-408DF8153FC1}" dt="2020-07-27T05:54:12.536" v="19"/>
          <ac:spMkLst>
            <pc:docMk/>
            <pc:sldMk cId="0" sldId="273"/>
            <ac:spMk id="12" creationId="{00000000-0000-0000-0000-000000000000}"/>
          </ac:spMkLst>
        </pc:spChg>
        <pc:spChg chg="mod">
          <ac:chgData name="Mondal, Tanmay" userId="83c199d5-d146-4e16-b08e-fa47ebac23d7" providerId="ADAL" clId="{7889F8E4-3B11-44EC-BF56-408DF8153FC1}" dt="2020-07-27T05:54:12.536" v="19"/>
          <ac:spMkLst>
            <pc:docMk/>
            <pc:sldMk cId="0" sldId="273"/>
            <ac:spMk id="13" creationId="{00000000-0000-0000-0000-000000000000}"/>
          </ac:spMkLst>
        </pc:spChg>
        <pc:spChg chg="mod">
          <ac:chgData name="Mondal, Tanmay" userId="83c199d5-d146-4e16-b08e-fa47ebac23d7" providerId="ADAL" clId="{7889F8E4-3B11-44EC-BF56-408DF8153FC1}" dt="2020-07-27T05:54:12.536" v="19"/>
          <ac:spMkLst>
            <pc:docMk/>
            <pc:sldMk cId="0" sldId="273"/>
            <ac:spMk id="14" creationId="{00000000-0000-0000-0000-000000000000}"/>
          </ac:spMkLst>
        </pc:spChg>
        <pc:spChg chg="mod">
          <ac:chgData name="Mondal, Tanmay" userId="83c199d5-d146-4e16-b08e-fa47ebac23d7" providerId="ADAL" clId="{7889F8E4-3B11-44EC-BF56-408DF8153FC1}" dt="2020-07-27T05:54:12.536" v="19"/>
          <ac:spMkLst>
            <pc:docMk/>
            <pc:sldMk cId="0" sldId="273"/>
            <ac:spMk id="15" creationId="{00000000-0000-0000-0000-000000000000}"/>
          </ac:spMkLst>
        </pc:spChg>
        <pc:spChg chg="mod">
          <ac:chgData name="Mondal, Tanmay" userId="83c199d5-d146-4e16-b08e-fa47ebac23d7" providerId="ADAL" clId="{7889F8E4-3B11-44EC-BF56-408DF8153FC1}" dt="2020-07-27T05:54:12.536" v="19"/>
          <ac:spMkLst>
            <pc:docMk/>
            <pc:sldMk cId="0" sldId="273"/>
            <ac:spMk id="16" creationId="{00000000-0000-0000-0000-000000000000}"/>
          </ac:spMkLst>
        </pc:spChg>
        <pc:spChg chg="mod">
          <ac:chgData name="Mondal, Tanmay" userId="83c199d5-d146-4e16-b08e-fa47ebac23d7" providerId="ADAL" clId="{7889F8E4-3B11-44EC-BF56-408DF8153FC1}" dt="2020-07-27T05:54:12.536" v="19"/>
          <ac:spMkLst>
            <pc:docMk/>
            <pc:sldMk cId="0" sldId="273"/>
            <ac:spMk id="17" creationId="{00000000-0000-0000-0000-000000000000}"/>
          </ac:spMkLst>
        </pc:spChg>
        <pc:spChg chg="add del mod">
          <ac:chgData name="Mondal, Tanmay" userId="83c199d5-d146-4e16-b08e-fa47ebac23d7" providerId="ADAL" clId="{7889F8E4-3B11-44EC-BF56-408DF8153FC1}" dt="2020-07-27T07:26:26.764" v="523" actId="478"/>
          <ac:spMkLst>
            <pc:docMk/>
            <pc:sldMk cId="0" sldId="273"/>
            <ac:spMk id="18" creationId="{8199D630-D43A-4BE1-A836-82AB4D98FDE7}"/>
          </ac:spMkLst>
        </pc:spChg>
        <pc:spChg chg="add del mod">
          <ac:chgData name="Mondal, Tanmay" userId="83c199d5-d146-4e16-b08e-fa47ebac23d7" providerId="ADAL" clId="{7889F8E4-3B11-44EC-BF56-408DF8153FC1}" dt="2020-07-27T07:26:24.335" v="522" actId="478"/>
          <ac:spMkLst>
            <pc:docMk/>
            <pc:sldMk cId="0" sldId="273"/>
            <ac:spMk id="19" creationId="{5813BFCE-114F-4949-A6E3-77D48A8AC95A}"/>
          </ac:spMkLst>
        </pc:spChg>
        <pc:spChg chg="mod">
          <ac:chgData name="Mondal, Tanmay" userId="83c199d5-d146-4e16-b08e-fa47ebac23d7" providerId="ADAL" clId="{7889F8E4-3B11-44EC-BF56-408DF8153FC1}" dt="2020-07-27T05:54:12.536" v="19"/>
          <ac:spMkLst>
            <pc:docMk/>
            <pc:sldMk cId="0" sldId="273"/>
            <ac:spMk id="20" creationId="{00000000-0000-0000-0000-000000000000}"/>
          </ac:spMkLst>
        </pc:spChg>
        <pc:spChg chg="mod">
          <ac:chgData name="Mondal, Tanmay" userId="83c199d5-d146-4e16-b08e-fa47ebac23d7" providerId="ADAL" clId="{7889F8E4-3B11-44EC-BF56-408DF8153FC1}" dt="2020-07-27T05:54:12.536" v="19"/>
          <ac:spMkLst>
            <pc:docMk/>
            <pc:sldMk cId="0" sldId="273"/>
            <ac:spMk id="21" creationId="{00000000-0000-0000-0000-000000000000}"/>
          </ac:spMkLst>
        </pc:spChg>
        <pc:spChg chg="mod">
          <ac:chgData name="Mondal, Tanmay" userId="83c199d5-d146-4e16-b08e-fa47ebac23d7" providerId="ADAL" clId="{7889F8E4-3B11-44EC-BF56-408DF8153FC1}" dt="2020-07-27T05:54:12.536" v="19"/>
          <ac:spMkLst>
            <pc:docMk/>
            <pc:sldMk cId="0" sldId="273"/>
            <ac:spMk id="22" creationId="{00000000-0000-0000-0000-000000000000}"/>
          </ac:spMkLst>
        </pc:spChg>
        <pc:spChg chg="mod">
          <ac:chgData name="Mondal, Tanmay" userId="83c199d5-d146-4e16-b08e-fa47ebac23d7" providerId="ADAL" clId="{7889F8E4-3B11-44EC-BF56-408DF8153FC1}" dt="2020-07-27T05:54:12.536" v="19"/>
          <ac:spMkLst>
            <pc:docMk/>
            <pc:sldMk cId="0" sldId="273"/>
            <ac:spMk id="23" creationId="{00000000-0000-0000-0000-000000000000}"/>
          </ac:spMkLst>
        </pc:spChg>
        <pc:spChg chg="mod">
          <ac:chgData name="Mondal, Tanmay" userId="83c199d5-d146-4e16-b08e-fa47ebac23d7" providerId="ADAL" clId="{7889F8E4-3B11-44EC-BF56-408DF8153FC1}" dt="2020-07-27T05:54:12.536" v="19"/>
          <ac:spMkLst>
            <pc:docMk/>
            <pc:sldMk cId="0" sldId="273"/>
            <ac:spMk id="24" creationId="{00000000-0000-0000-0000-000000000000}"/>
          </ac:spMkLst>
        </pc:spChg>
        <pc:spChg chg="mod">
          <ac:chgData name="Mondal, Tanmay" userId="83c199d5-d146-4e16-b08e-fa47ebac23d7" providerId="ADAL" clId="{7889F8E4-3B11-44EC-BF56-408DF8153FC1}" dt="2020-07-27T05:54:12.536" v="19"/>
          <ac:spMkLst>
            <pc:docMk/>
            <pc:sldMk cId="0" sldId="273"/>
            <ac:spMk id="25" creationId="{00000000-0000-0000-0000-000000000000}"/>
          </ac:spMkLst>
        </pc:spChg>
        <pc:spChg chg="mod">
          <ac:chgData name="Mondal, Tanmay" userId="83c199d5-d146-4e16-b08e-fa47ebac23d7" providerId="ADAL" clId="{7889F8E4-3B11-44EC-BF56-408DF8153FC1}" dt="2020-07-27T05:54:12.536" v="19"/>
          <ac:spMkLst>
            <pc:docMk/>
            <pc:sldMk cId="0" sldId="273"/>
            <ac:spMk id="26" creationId="{00000000-0000-0000-0000-000000000000}"/>
          </ac:spMkLst>
        </pc:spChg>
        <pc:spChg chg="mod">
          <ac:chgData name="Mondal, Tanmay" userId="83c199d5-d146-4e16-b08e-fa47ebac23d7" providerId="ADAL" clId="{7889F8E4-3B11-44EC-BF56-408DF8153FC1}" dt="2020-07-27T05:54:12.536" v="19"/>
          <ac:spMkLst>
            <pc:docMk/>
            <pc:sldMk cId="0" sldId="273"/>
            <ac:spMk id="27" creationId="{00000000-0000-0000-0000-000000000000}"/>
          </ac:spMkLst>
        </pc:spChg>
        <pc:spChg chg="mod">
          <ac:chgData name="Mondal, Tanmay" userId="83c199d5-d146-4e16-b08e-fa47ebac23d7" providerId="ADAL" clId="{7889F8E4-3B11-44EC-BF56-408DF8153FC1}" dt="2020-07-27T05:54:12.536" v="19"/>
          <ac:spMkLst>
            <pc:docMk/>
            <pc:sldMk cId="0" sldId="273"/>
            <ac:spMk id="28" creationId="{00000000-0000-0000-0000-000000000000}"/>
          </ac:spMkLst>
        </pc:spChg>
        <pc:spChg chg="mod">
          <ac:chgData name="Mondal, Tanmay" userId="83c199d5-d146-4e16-b08e-fa47ebac23d7" providerId="ADAL" clId="{7889F8E4-3B11-44EC-BF56-408DF8153FC1}" dt="2020-07-27T05:54:12.536" v="19"/>
          <ac:spMkLst>
            <pc:docMk/>
            <pc:sldMk cId="0" sldId="273"/>
            <ac:spMk id="29" creationId="{00000000-0000-0000-0000-000000000000}"/>
          </ac:spMkLst>
        </pc:spChg>
        <pc:spChg chg="mod">
          <ac:chgData name="Mondal, Tanmay" userId="83c199d5-d146-4e16-b08e-fa47ebac23d7" providerId="ADAL" clId="{7889F8E4-3B11-44EC-BF56-408DF8153FC1}" dt="2020-07-27T05:54:12.536" v="19"/>
          <ac:spMkLst>
            <pc:docMk/>
            <pc:sldMk cId="0" sldId="273"/>
            <ac:spMk id="30" creationId="{00000000-0000-0000-0000-000000000000}"/>
          </ac:spMkLst>
        </pc:spChg>
        <pc:spChg chg="mod">
          <ac:chgData name="Mondal, Tanmay" userId="83c199d5-d146-4e16-b08e-fa47ebac23d7" providerId="ADAL" clId="{7889F8E4-3B11-44EC-BF56-408DF8153FC1}" dt="2020-07-27T05:54:12.536" v="19"/>
          <ac:spMkLst>
            <pc:docMk/>
            <pc:sldMk cId="0" sldId="273"/>
            <ac:spMk id="31" creationId="{00000000-0000-0000-0000-000000000000}"/>
          </ac:spMkLst>
        </pc:spChg>
        <pc:spChg chg="mod">
          <ac:chgData name="Mondal, Tanmay" userId="83c199d5-d146-4e16-b08e-fa47ebac23d7" providerId="ADAL" clId="{7889F8E4-3B11-44EC-BF56-408DF8153FC1}" dt="2020-07-27T05:54:12.536" v="19"/>
          <ac:spMkLst>
            <pc:docMk/>
            <pc:sldMk cId="0" sldId="273"/>
            <ac:spMk id="32" creationId="{00000000-0000-0000-0000-000000000000}"/>
          </ac:spMkLst>
        </pc:spChg>
        <pc:spChg chg="mod">
          <ac:chgData name="Mondal, Tanmay" userId="83c199d5-d146-4e16-b08e-fa47ebac23d7" providerId="ADAL" clId="{7889F8E4-3B11-44EC-BF56-408DF8153FC1}" dt="2020-07-27T05:54:12.536" v="19"/>
          <ac:spMkLst>
            <pc:docMk/>
            <pc:sldMk cId="0" sldId="273"/>
            <ac:spMk id="33" creationId="{00000000-0000-0000-0000-000000000000}"/>
          </ac:spMkLst>
        </pc:spChg>
        <pc:spChg chg="mod">
          <ac:chgData name="Mondal, Tanmay" userId="83c199d5-d146-4e16-b08e-fa47ebac23d7" providerId="ADAL" clId="{7889F8E4-3B11-44EC-BF56-408DF8153FC1}" dt="2020-07-27T05:54:12.536" v="19"/>
          <ac:spMkLst>
            <pc:docMk/>
            <pc:sldMk cId="0" sldId="273"/>
            <ac:spMk id="34" creationId="{00000000-0000-0000-0000-000000000000}"/>
          </ac:spMkLst>
        </pc:spChg>
        <pc:spChg chg="mod">
          <ac:chgData name="Mondal, Tanmay" userId="83c199d5-d146-4e16-b08e-fa47ebac23d7" providerId="ADAL" clId="{7889F8E4-3B11-44EC-BF56-408DF8153FC1}" dt="2020-07-27T05:54:12.536" v="19"/>
          <ac:spMkLst>
            <pc:docMk/>
            <pc:sldMk cId="0" sldId="273"/>
            <ac:spMk id="35" creationId="{00000000-0000-0000-0000-000000000000}"/>
          </ac:spMkLst>
        </pc:spChg>
        <pc:spChg chg="mod">
          <ac:chgData name="Mondal, Tanmay" userId="83c199d5-d146-4e16-b08e-fa47ebac23d7" providerId="ADAL" clId="{7889F8E4-3B11-44EC-BF56-408DF8153FC1}" dt="2020-07-27T05:54:12.536" v="19"/>
          <ac:spMkLst>
            <pc:docMk/>
            <pc:sldMk cId="0" sldId="273"/>
            <ac:spMk id="36" creationId="{00000000-0000-0000-0000-000000000000}"/>
          </ac:spMkLst>
        </pc:spChg>
        <pc:spChg chg="mod">
          <ac:chgData name="Mondal, Tanmay" userId="83c199d5-d146-4e16-b08e-fa47ebac23d7" providerId="ADAL" clId="{7889F8E4-3B11-44EC-BF56-408DF8153FC1}" dt="2020-07-27T05:54:12.536" v="19"/>
          <ac:spMkLst>
            <pc:docMk/>
            <pc:sldMk cId="0" sldId="273"/>
            <ac:spMk id="37" creationId="{00000000-0000-0000-0000-000000000000}"/>
          </ac:spMkLst>
        </pc:spChg>
        <pc:spChg chg="mod">
          <ac:chgData name="Mondal, Tanmay" userId="83c199d5-d146-4e16-b08e-fa47ebac23d7" providerId="ADAL" clId="{7889F8E4-3B11-44EC-BF56-408DF8153FC1}" dt="2020-07-27T05:54:12.536" v="19"/>
          <ac:spMkLst>
            <pc:docMk/>
            <pc:sldMk cId="0" sldId="273"/>
            <ac:spMk id="38" creationId="{00000000-0000-0000-0000-000000000000}"/>
          </ac:spMkLst>
        </pc:spChg>
        <pc:spChg chg="mod">
          <ac:chgData name="Mondal, Tanmay" userId="83c199d5-d146-4e16-b08e-fa47ebac23d7" providerId="ADAL" clId="{7889F8E4-3B11-44EC-BF56-408DF8153FC1}" dt="2020-07-27T05:54:12.536" v="19"/>
          <ac:spMkLst>
            <pc:docMk/>
            <pc:sldMk cId="0" sldId="273"/>
            <ac:spMk id="39" creationId="{00000000-0000-0000-0000-000000000000}"/>
          </ac:spMkLst>
        </pc:spChg>
        <pc:spChg chg="mod">
          <ac:chgData name="Mondal, Tanmay" userId="83c199d5-d146-4e16-b08e-fa47ebac23d7" providerId="ADAL" clId="{7889F8E4-3B11-44EC-BF56-408DF8153FC1}" dt="2020-07-27T05:54:12.536" v="19"/>
          <ac:spMkLst>
            <pc:docMk/>
            <pc:sldMk cId="0" sldId="273"/>
            <ac:spMk id="40" creationId="{00000000-0000-0000-0000-000000000000}"/>
          </ac:spMkLst>
        </pc:spChg>
        <pc:spChg chg="mod">
          <ac:chgData name="Mondal, Tanmay" userId="83c199d5-d146-4e16-b08e-fa47ebac23d7" providerId="ADAL" clId="{7889F8E4-3B11-44EC-BF56-408DF8153FC1}" dt="2020-07-27T05:54:12.536" v="19"/>
          <ac:spMkLst>
            <pc:docMk/>
            <pc:sldMk cId="0" sldId="273"/>
            <ac:spMk id="41" creationId="{00000000-0000-0000-0000-000000000000}"/>
          </ac:spMkLst>
        </pc:spChg>
        <pc:spChg chg="mod">
          <ac:chgData name="Mondal, Tanmay" userId="83c199d5-d146-4e16-b08e-fa47ebac23d7" providerId="ADAL" clId="{7889F8E4-3B11-44EC-BF56-408DF8153FC1}" dt="2020-07-27T05:54:12.536" v="19"/>
          <ac:spMkLst>
            <pc:docMk/>
            <pc:sldMk cId="0" sldId="273"/>
            <ac:spMk id="42" creationId="{00000000-0000-0000-0000-000000000000}"/>
          </ac:spMkLst>
        </pc:spChg>
        <pc:spChg chg="mod">
          <ac:chgData name="Mondal, Tanmay" userId="83c199d5-d146-4e16-b08e-fa47ebac23d7" providerId="ADAL" clId="{7889F8E4-3B11-44EC-BF56-408DF8153FC1}" dt="2020-07-27T05:54:12.536" v="19"/>
          <ac:spMkLst>
            <pc:docMk/>
            <pc:sldMk cId="0" sldId="273"/>
            <ac:spMk id="43" creationId="{00000000-0000-0000-0000-000000000000}"/>
          </ac:spMkLst>
        </pc:spChg>
        <pc:spChg chg="mod">
          <ac:chgData name="Mondal, Tanmay" userId="83c199d5-d146-4e16-b08e-fa47ebac23d7" providerId="ADAL" clId="{7889F8E4-3B11-44EC-BF56-408DF8153FC1}" dt="2020-07-27T05:54:12.536" v="19"/>
          <ac:spMkLst>
            <pc:docMk/>
            <pc:sldMk cId="0" sldId="273"/>
            <ac:spMk id="44" creationId="{00000000-0000-0000-0000-000000000000}"/>
          </ac:spMkLst>
        </pc:spChg>
        <pc:spChg chg="mod">
          <ac:chgData name="Mondal, Tanmay" userId="83c199d5-d146-4e16-b08e-fa47ebac23d7" providerId="ADAL" clId="{7889F8E4-3B11-44EC-BF56-408DF8153FC1}" dt="2020-07-27T05:54:12.536" v="19"/>
          <ac:spMkLst>
            <pc:docMk/>
            <pc:sldMk cId="0" sldId="273"/>
            <ac:spMk id="45" creationId="{00000000-0000-0000-0000-000000000000}"/>
          </ac:spMkLst>
        </pc:spChg>
        <pc:spChg chg="mod">
          <ac:chgData name="Mondal, Tanmay" userId="83c199d5-d146-4e16-b08e-fa47ebac23d7" providerId="ADAL" clId="{7889F8E4-3B11-44EC-BF56-408DF8153FC1}" dt="2020-07-27T05:54:12.536" v="19"/>
          <ac:spMkLst>
            <pc:docMk/>
            <pc:sldMk cId="0" sldId="273"/>
            <ac:spMk id="46" creationId="{00000000-0000-0000-0000-000000000000}"/>
          </ac:spMkLst>
        </pc:spChg>
        <pc:spChg chg="mod">
          <ac:chgData name="Mondal, Tanmay" userId="83c199d5-d146-4e16-b08e-fa47ebac23d7" providerId="ADAL" clId="{7889F8E4-3B11-44EC-BF56-408DF8153FC1}" dt="2020-07-27T05:54:12.536" v="19"/>
          <ac:spMkLst>
            <pc:docMk/>
            <pc:sldMk cId="0" sldId="273"/>
            <ac:spMk id="47" creationId="{00000000-0000-0000-0000-000000000000}"/>
          </ac:spMkLst>
        </pc:spChg>
        <pc:spChg chg="mod">
          <ac:chgData name="Mondal, Tanmay" userId="83c199d5-d146-4e16-b08e-fa47ebac23d7" providerId="ADAL" clId="{7889F8E4-3B11-44EC-BF56-408DF8153FC1}" dt="2020-07-27T05:54:12.536" v="19"/>
          <ac:spMkLst>
            <pc:docMk/>
            <pc:sldMk cId="0" sldId="273"/>
            <ac:spMk id="48" creationId="{00000000-0000-0000-0000-000000000000}"/>
          </ac:spMkLst>
        </pc:spChg>
        <pc:spChg chg="mod">
          <ac:chgData name="Mondal, Tanmay" userId="83c199d5-d146-4e16-b08e-fa47ebac23d7" providerId="ADAL" clId="{7889F8E4-3B11-44EC-BF56-408DF8153FC1}" dt="2020-07-27T05:54:12.536" v="19"/>
          <ac:spMkLst>
            <pc:docMk/>
            <pc:sldMk cId="0" sldId="273"/>
            <ac:spMk id="49" creationId="{00000000-0000-0000-0000-000000000000}"/>
          </ac:spMkLst>
        </pc:spChg>
        <pc:spChg chg="mod">
          <ac:chgData name="Mondal, Tanmay" userId="83c199d5-d146-4e16-b08e-fa47ebac23d7" providerId="ADAL" clId="{7889F8E4-3B11-44EC-BF56-408DF8153FC1}" dt="2020-07-27T05:54:12.536" v="19"/>
          <ac:spMkLst>
            <pc:docMk/>
            <pc:sldMk cId="0" sldId="273"/>
            <ac:spMk id="50" creationId="{00000000-0000-0000-0000-000000000000}"/>
          </ac:spMkLst>
        </pc:spChg>
        <pc:spChg chg="mod">
          <ac:chgData name="Mondal, Tanmay" userId="83c199d5-d146-4e16-b08e-fa47ebac23d7" providerId="ADAL" clId="{7889F8E4-3B11-44EC-BF56-408DF8153FC1}" dt="2020-07-27T05:54:12.536" v="19"/>
          <ac:spMkLst>
            <pc:docMk/>
            <pc:sldMk cId="0" sldId="273"/>
            <ac:spMk id="52" creationId="{00000000-0000-0000-0000-000000000000}"/>
          </ac:spMkLst>
        </pc:spChg>
        <pc:spChg chg="mod">
          <ac:chgData name="Mondal, Tanmay" userId="83c199d5-d146-4e16-b08e-fa47ebac23d7" providerId="ADAL" clId="{7889F8E4-3B11-44EC-BF56-408DF8153FC1}" dt="2020-07-27T05:54:12.536" v="19"/>
          <ac:spMkLst>
            <pc:docMk/>
            <pc:sldMk cId="0" sldId="273"/>
            <ac:spMk id="53" creationId="{00000000-0000-0000-0000-000000000000}"/>
          </ac:spMkLst>
        </pc:spChg>
        <pc:spChg chg="mod">
          <ac:chgData name="Mondal, Tanmay" userId="83c199d5-d146-4e16-b08e-fa47ebac23d7" providerId="ADAL" clId="{7889F8E4-3B11-44EC-BF56-408DF8153FC1}" dt="2020-07-27T05:54:12.536" v="19"/>
          <ac:spMkLst>
            <pc:docMk/>
            <pc:sldMk cId="0" sldId="273"/>
            <ac:spMk id="54" creationId="{00000000-0000-0000-0000-000000000000}"/>
          </ac:spMkLst>
        </pc:spChg>
        <pc:spChg chg="mod">
          <ac:chgData name="Mondal, Tanmay" userId="83c199d5-d146-4e16-b08e-fa47ebac23d7" providerId="ADAL" clId="{7889F8E4-3B11-44EC-BF56-408DF8153FC1}" dt="2020-07-27T05:54:12.536" v="19"/>
          <ac:spMkLst>
            <pc:docMk/>
            <pc:sldMk cId="0" sldId="273"/>
            <ac:spMk id="55" creationId="{00000000-0000-0000-0000-000000000000}"/>
          </ac:spMkLst>
        </pc:spChg>
        <pc:spChg chg="mod">
          <ac:chgData name="Mondal, Tanmay" userId="83c199d5-d146-4e16-b08e-fa47ebac23d7" providerId="ADAL" clId="{7889F8E4-3B11-44EC-BF56-408DF8153FC1}" dt="2020-07-27T05:54:12.536" v="19"/>
          <ac:spMkLst>
            <pc:docMk/>
            <pc:sldMk cId="0" sldId="273"/>
            <ac:spMk id="56" creationId="{00000000-0000-0000-0000-000000000000}"/>
          </ac:spMkLst>
        </pc:spChg>
        <pc:spChg chg="mod">
          <ac:chgData name="Mondal, Tanmay" userId="83c199d5-d146-4e16-b08e-fa47ebac23d7" providerId="ADAL" clId="{7889F8E4-3B11-44EC-BF56-408DF8153FC1}" dt="2020-07-27T05:54:12.536" v="19"/>
          <ac:spMkLst>
            <pc:docMk/>
            <pc:sldMk cId="0" sldId="273"/>
            <ac:spMk id="57" creationId="{00000000-0000-0000-0000-000000000000}"/>
          </ac:spMkLst>
        </pc:spChg>
      </pc:sldChg>
      <pc:sldChg chg="addSp delSp modSp">
        <pc:chgData name="Mondal, Tanmay" userId="83c199d5-d146-4e16-b08e-fa47ebac23d7" providerId="ADAL" clId="{7889F8E4-3B11-44EC-BF56-408DF8153FC1}" dt="2020-07-27T07:29:02.407" v="546" actId="478"/>
        <pc:sldMkLst>
          <pc:docMk/>
          <pc:sldMk cId="0" sldId="274"/>
        </pc:sldMkLst>
        <pc:spChg chg="mod">
          <ac:chgData name="Mondal, Tanmay" userId="83c199d5-d146-4e16-b08e-fa47ebac23d7" providerId="ADAL" clId="{7889F8E4-3B11-44EC-BF56-408DF8153FC1}" dt="2020-07-27T05:54:12.536" v="19"/>
          <ac:spMkLst>
            <pc:docMk/>
            <pc:sldMk cId="0" sldId="274"/>
            <ac:spMk id="2" creationId="{00000000-0000-0000-0000-000000000000}"/>
          </ac:spMkLst>
        </pc:spChg>
        <pc:spChg chg="mod">
          <ac:chgData name="Mondal, Tanmay" userId="83c199d5-d146-4e16-b08e-fa47ebac23d7" providerId="ADAL" clId="{7889F8E4-3B11-44EC-BF56-408DF8153FC1}" dt="2020-07-27T05:54:12.536" v="19"/>
          <ac:spMkLst>
            <pc:docMk/>
            <pc:sldMk cId="0" sldId="274"/>
            <ac:spMk id="3" creationId="{00000000-0000-0000-0000-000000000000}"/>
          </ac:spMkLst>
        </pc:spChg>
        <pc:spChg chg="mod">
          <ac:chgData name="Mondal, Tanmay" userId="83c199d5-d146-4e16-b08e-fa47ebac23d7" providerId="ADAL" clId="{7889F8E4-3B11-44EC-BF56-408DF8153FC1}" dt="2020-07-27T05:54:12.536" v="19"/>
          <ac:spMkLst>
            <pc:docMk/>
            <pc:sldMk cId="0" sldId="274"/>
            <ac:spMk id="4" creationId="{00000000-0000-0000-0000-000000000000}"/>
          </ac:spMkLst>
        </pc:spChg>
        <pc:spChg chg="mod">
          <ac:chgData name="Mondal, Tanmay" userId="83c199d5-d146-4e16-b08e-fa47ebac23d7" providerId="ADAL" clId="{7889F8E4-3B11-44EC-BF56-408DF8153FC1}" dt="2020-07-27T05:54:12.536" v="19"/>
          <ac:spMkLst>
            <pc:docMk/>
            <pc:sldMk cId="0" sldId="274"/>
            <ac:spMk id="5" creationId="{00000000-0000-0000-0000-000000000000}"/>
          </ac:spMkLst>
        </pc:spChg>
        <pc:spChg chg="mod">
          <ac:chgData name="Mondal, Tanmay" userId="83c199d5-d146-4e16-b08e-fa47ebac23d7" providerId="ADAL" clId="{7889F8E4-3B11-44EC-BF56-408DF8153FC1}" dt="2020-07-27T05:54:12.536" v="19"/>
          <ac:spMkLst>
            <pc:docMk/>
            <pc:sldMk cId="0" sldId="274"/>
            <ac:spMk id="6" creationId="{00000000-0000-0000-0000-000000000000}"/>
          </ac:spMkLst>
        </pc:spChg>
        <pc:spChg chg="mod">
          <ac:chgData name="Mondal, Tanmay" userId="83c199d5-d146-4e16-b08e-fa47ebac23d7" providerId="ADAL" clId="{7889F8E4-3B11-44EC-BF56-408DF8153FC1}" dt="2020-07-27T05:54:12.536" v="19"/>
          <ac:spMkLst>
            <pc:docMk/>
            <pc:sldMk cId="0" sldId="274"/>
            <ac:spMk id="7" creationId="{00000000-0000-0000-0000-000000000000}"/>
          </ac:spMkLst>
        </pc:spChg>
        <pc:spChg chg="mod">
          <ac:chgData name="Mondal, Tanmay" userId="83c199d5-d146-4e16-b08e-fa47ebac23d7" providerId="ADAL" clId="{7889F8E4-3B11-44EC-BF56-408DF8153FC1}" dt="2020-07-27T05:54:12.536" v="19"/>
          <ac:spMkLst>
            <pc:docMk/>
            <pc:sldMk cId="0" sldId="274"/>
            <ac:spMk id="8" creationId="{00000000-0000-0000-0000-000000000000}"/>
          </ac:spMkLst>
        </pc:spChg>
        <pc:spChg chg="add del mod">
          <ac:chgData name="Mondal, Tanmay" userId="83c199d5-d146-4e16-b08e-fa47ebac23d7" providerId="ADAL" clId="{7889F8E4-3B11-44EC-BF56-408DF8153FC1}" dt="2020-07-27T07:29:02.407" v="546" actId="478"/>
          <ac:spMkLst>
            <pc:docMk/>
            <pc:sldMk cId="0" sldId="274"/>
            <ac:spMk id="9" creationId="{1AA44251-8E96-4789-806F-2E5C0B6FDAB4}"/>
          </ac:spMkLst>
        </pc:spChg>
        <pc:spChg chg="add del mod">
          <ac:chgData name="Mondal, Tanmay" userId="83c199d5-d146-4e16-b08e-fa47ebac23d7" providerId="ADAL" clId="{7889F8E4-3B11-44EC-BF56-408DF8153FC1}" dt="2020-07-27T07:28:59.070" v="545" actId="478"/>
          <ac:spMkLst>
            <pc:docMk/>
            <pc:sldMk cId="0" sldId="274"/>
            <ac:spMk id="10" creationId="{5E5628A5-7C91-4AE0-A57C-4C652E18E47F}"/>
          </ac:spMkLst>
        </pc:spChg>
        <pc:spChg chg="mod">
          <ac:chgData name="Mondal, Tanmay" userId="83c199d5-d146-4e16-b08e-fa47ebac23d7" providerId="ADAL" clId="{7889F8E4-3B11-44EC-BF56-408DF8153FC1}" dt="2020-07-27T05:54:12.536" v="19"/>
          <ac:spMkLst>
            <pc:docMk/>
            <pc:sldMk cId="0" sldId="274"/>
            <ac:spMk id="14" creationId="{00000000-0000-0000-0000-000000000000}"/>
          </ac:spMkLst>
        </pc:spChg>
        <pc:spChg chg="mod">
          <ac:chgData name="Mondal, Tanmay" userId="83c199d5-d146-4e16-b08e-fa47ebac23d7" providerId="ADAL" clId="{7889F8E4-3B11-44EC-BF56-408DF8153FC1}" dt="2020-07-27T05:54:12.536" v="19"/>
          <ac:spMkLst>
            <pc:docMk/>
            <pc:sldMk cId="0" sldId="274"/>
            <ac:spMk id="15" creationId="{00000000-0000-0000-0000-000000000000}"/>
          </ac:spMkLst>
        </pc:spChg>
        <pc:spChg chg="mod">
          <ac:chgData name="Mondal, Tanmay" userId="83c199d5-d146-4e16-b08e-fa47ebac23d7" providerId="ADAL" clId="{7889F8E4-3B11-44EC-BF56-408DF8153FC1}" dt="2020-07-27T05:54:12.536" v="19"/>
          <ac:spMkLst>
            <pc:docMk/>
            <pc:sldMk cId="0" sldId="274"/>
            <ac:spMk id="16" creationId="{00000000-0000-0000-0000-000000000000}"/>
          </ac:spMkLst>
        </pc:spChg>
        <pc:spChg chg="mod">
          <ac:chgData name="Mondal, Tanmay" userId="83c199d5-d146-4e16-b08e-fa47ebac23d7" providerId="ADAL" clId="{7889F8E4-3B11-44EC-BF56-408DF8153FC1}" dt="2020-07-27T05:54:12.536" v="19"/>
          <ac:spMkLst>
            <pc:docMk/>
            <pc:sldMk cId="0" sldId="274"/>
            <ac:spMk id="17" creationId="{00000000-0000-0000-0000-000000000000}"/>
          </ac:spMkLst>
        </pc:spChg>
        <pc:spChg chg="mod">
          <ac:chgData name="Mondal, Tanmay" userId="83c199d5-d146-4e16-b08e-fa47ebac23d7" providerId="ADAL" clId="{7889F8E4-3B11-44EC-BF56-408DF8153FC1}" dt="2020-07-27T05:54:12.536" v="19"/>
          <ac:spMkLst>
            <pc:docMk/>
            <pc:sldMk cId="0" sldId="274"/>
            <ac:spMk id="18" creationId="{00000000-0000-0000-0000-000000000000}"/>
          </ac:spMkLst>
        </pc:spChg>
        <pc:spChg chg="mod">
          <ac:chgData name="Mondal, Tanmay" userId="83c199d5-d146-4e16-b08e-fa47ebac23d7" providerId="ADAL" clId="{7889F8E4-3B11-44EC-BF56-408DF8153FC1}" dt="2020-07-27T05:54:12.536" v="19"/>
          <ac:spMkLst>
            <pc:docMk/>
            <pc:sldMk cId="0" sldId="274"/>
            <ac:spMk id="19" creationId="{00000000-0000-0000-0000-000000000000}"/>
          </ac:spMkLst>
        </pc:spChg>
        <pc:spChg chg="mod">
          <ac:chgData name="Mondal, Tanmay" userId="83c199d5-d146-4e16-b08e-fa47ebac23d7" providerId="ADAL" clId="{7889F8E4-3B11-44EC-BF56-408DF8153FC1}" dt="2020-07-27T05:54:12.536" v="19"/>
          <ac:spMkLst>
            <pc:docMk/>
            <pc:sldMk cId="0" sldId="274"/>
            <ac:spMk id="20" creationId="{00000000-0000-0000-0000-000000000000}"/>
          </ac:spMkLst>
        </pc:spChg>
        <pc:spChg chg="mod">
          <ac:chgData name="Mondal, Tanmay" userId="83c199d5-d146-4e16-b08e-fa47ebac23d7" providerId="ADAL" clId="{7889F8E4-3B11-44EC-BF56-408DF8153FC1}" dt="2020-07-27T05:54:12.536" v="19"/>
          <ac:spMkLst>
            <pc:docMk/>
            <pc:sldMk cId="0" sldId="274"/>
            <ac:spMk id="21" creationId="{00000000-0000-0000-0000-000000000000}"/>
          </ac:spMkLst>
        </pc:spChg>
        <pc:spChg chg="mod">
          <ac:chgData name="Mondal, Tanmay" userId="83c199d5-d146-4e16-b08e-fa47ebac23d7" providerId="ADAL" clId="{7889F8E4-3B11-44EC-BF56-408DF8153FC1}" dt="2020-07-27T05:54:12.536" v="19"/>
          <ac:spMkLst>
            <pc:docMk/>
            <pc:sldMk cId="0" sldId="274"/>
            <ac:spMk id="22" creationId="{00000000-0000-0000-0000-000000000000}"/>
          </ac:spMkLst>
        </pc:spChg>
        <pc:spChg chg="mod">
          <ac:chgData name="Mondal, Tanmay" userId="83c199d5-d146-4e16-b08e-fa47ebac23d7" providerId="ADAL" clId="{7889F8E4-3B11-44EC-BF56-408DF8153FC1}" dt="2020-07-27T05:54:12.536" v="19"/>
          <ac:spMkLst>
            <pc:docMk/>
            <pc:sldMk cId="0" sldId="274"/>
            <ac:spMk id="23" creationId="{00000000-0000-0000-0000-000000000000}"/>
          </ac:spMkLst>
        </pc:spChg>
        <pc:spChg chg="mod">
          <ac:chgData name="Mondal, Tanmay" userId="83c199d5-d146-4e16-b08e-fa47ebac23d7" providerId="ADAL" clId="{7889F8E4-3B11-44EC-BF56-408DF8153FC1}" dt="2020-07-27T05:54:12.536" v="19"/>
          <ac:spMkLst>
            <pc:docMk/>
            <pc:sldMk cId="0" sldId="274"/>
            <ac:spMk id="24" creationId="{00000000-0000-0000-0000-000000000000}"/>
          </ac:spMkLst>
        </pc:spChg>
        <pc:spChg chg="mod">
          <ac:chgData name="Mondal, Tanmay" userId="83c199d5-d146-4e16-b08e-fa47ebac23d7" providerId="ADAL" clId="{7889F8E4-3B11-44EC-BF56-408DF8153FC1}" dt="2020-07-27T05:54:12.536" v="19"/>
          <ac:spMkLst>
            <pc:docMk/>
            <pc:sldMk cId="0" sldId="274"/>
            <ac:spMk id="25" creationId="{00000000-0000-0000-0000-000000000000}"/>
          </ac:spMkLst>
        </pc:spChg>
        <pc:spChg chg="mod">
          <ac:chgData name="Mondal, Tanmay" userId="83c199d5-d146-4e16-b08e-fa47ebac23d7" providerId="ADAL" clId="{7889F8E4-3B11-44EC-BF56-408DF8153FC1}" dt="2020-07-27T05:54:12.536" v="19"/>
          <ac:spMkLst>
            <pc:docMk/>
            <pc:sldMk cId="0" sldId="274"/>
            <ac:spMk id="26" creationId="{00000000-0000-0000-0000-000000000000}"/>
          </ac:spMkLst>
        </pc:spChg>
      </pc:sldChg>
      <pc:sldChg chg="addSp delSp modSp">
        <pc:chgData name="Mondal, Tanmay" userId="83c199d5-d146-4e16-b08e-fa47ebac23d7" providerId="ADAL" clId="{7889F8E4-3B11-44EC-BF56-408DF8153FC1}" dt="2020-07-27T07:29:14.864" v="549" actId="478"/>
        <pc:sldMkLst>
          <pc:docMk/>
          <pc:sldMk cId="0" sldId="275"/>
        </pc:sldMkLst>
        <pc:spChg chg="mod">
          <ac:chgData name="Mondal, Tanmay" userId="83c199d5-d146-4e16-b08e-fa47ebac23d7" providerId="ADAL" clId="{7889F8E4-3B11-44EC-BF56-408DF8153FC1}" dt="2020-07-27T05:54:12.536" v="19"/>
          <ac:spMkLst>
            <pc:docMk/>
            <pc:sldMk cId="0" sldId="275"/>
            <ac:spMk id="2" creationId="{00000000-0000-0000-0000-000000000000}"/>
          </ac:spMkLst>
        </pc:spChg>
        <pc:spChg chg="mod">
          <ac:chgData name="Mondal, Tanmay" userId="83c199d5-d146-4e16-b08e-fa47ebac23d7" providerId="ADAL" clId="{7889F8E4-3B11-44EC-BF56-408DF8153FC1}" dt="2020-07-27T05:54:12.536" v="19"/>
          <ac:spMkLst>
            <pc:docMk/>
            <pc:sldMk cId="0" sldId="275"/>
            <ac:spMk id="3" creationId="{00000000-0000-0000-0000-000000000000}"/>
          </ac:spMkLst>
        </pc:spChg>
        <pc:spChg chg="mod">
          <ac:chgData name="Mondal, Tanmay" userId="83c199d5-d146-4e16-b08e-fa47ebac23d7" providerId="ADAL" clId="{7889F8E4-3B11-44EC-BF56-408DF8153FC1}" dt="2020-07-27T05:54:12.536" v="19"/>
          <ac:spMkLst>
            <pc:docMk/>
            <pc:sldMk cId="0" sldId="275"/>
            <ac:spMk id="4" creationId="{00000000-0000-0000-0000-000000000000}"/>
          </ac:spMkLst>
        </pc:spChg>
        <pc:spChg chg="mod">
          <ac:chgData name="Mondal, Tanmay" userId="83c199d5-d146-4e16-b08e-fa47ebac23d7" providerId="ADAL" clId="{7889F8E4-3B11-44EC-BF56-408DF8153FC1}" dt="2020-07-27T05:54:12.536" v="19"/>
          <ac:spMkLst>
            <pc:docMk/>
            <pc:sldMk cId="0" sldId="275"/>
            <ac:spMk id="5" creationId="{00000000-0000-0000-0000-000000000000}"/>
          </ac:spMkLst>
        </pc:spChg>
        <pc:spChg chg="mod">
          <ac:chgData name="Mondal, Tanmay" userId="83c199d5-d146-4e16-b08e-fa47ebac23d7" providerId="ADAL" clId="{7889F8E4-3B11-44EC-BF56-408DF8153FC1}" dt="2020-07-27T05:54:12.536" v="19"/>
          <ac:spMkLst>
            <pc:docMk/>
            <pc:sldMk cId="0" sldId="275"/>
            <ac:spMk id="6" creationId="{00000000-0000-0000-0000-000000000000}"/>
          </ac:spMkLst>
        </pc:spChg>
        <pc:spChg chg="mod">
          <ac:chgData name="Mondal, Tanmay" userId="83c199d5-d146-4e16-b08e-fa47ebac23d7" providerId="ADAL" clId="{7889F8E4-3B11-44EC-BF56-408DF8153FC1}" dt="2020-07-27T05:54:12.536" v="19"/>
          <ac:spMkLst>
            <pc:docMk/>
            <pc:sldMk cId="0" sldId="275"/>
            <ac:spMk id="7" creationId="{00000000-0000-0000-0000-000000000000}"/>
          </ac:spMkLst>
        </pc:spChg>
        <pc:spChg chg="mod">
          <ac:chgData name="Mondal, Tanmay" userId="83c199d5-d146-4e16-b08e-fa47ebac23d7" providerId="ADAL" clId="{7889F8E4-3B11-44EC-BF56-408DF8153FC1}" dt="2020-07-27T05:54:12.536" v="19"/>
          <ac:spMkLst>
            <pc:docMk/>
            <pc:sldMk cId="0" sldId="275"/>
            <ac:spMk id="8" creationId="{00000000-0000-0000-0000-000000000000}"/>
          </ac:spMkLst>
        </pc:spChg>
        <pc:spChg chg="mod">
          <ac:chgData name="Mondal, Tanmay" userId="83c199d5-d146-4e16-b08e-fa47ebac23d7" providerId="ADAL" clId="{7889F8E4-3B11-44EC-BF56-408DF8153FC1}" dt="2020-07-27T05:54:12.536" v="19"/>
          <ac:spMkLst>
            <pc:docMk/>
            <pc:sldMk cId="0" sldId="275"/>
            <ac:spMk id="9" creationId="{00000000-0000-0000-0000-000000000000}"/>
          </ac:spMkLst>
        </pc:spChg>
        <pc:spChg chg="mod">
          <ac:chgData name="Mondal, Tanmay" userId="83c199d5-d146-4e16-b08e-fa47ebac23d7" providerId="ADAL" clId="{7889F8E4-3B11-44EC-BF56-408DF8153FC1}" dt="2020-07-27T05:54:12.536" v="19"/>
          <ac:spMkLst>
            <pc:docMk/>
            <pc:sldMk cId="0" sldId="275"/>
            <ac:spMk id="10" creationId="{00000000-0000-0000-0000-000000000000}"/>
          </ac:spMkLst>
        </pc:spChg>
        <pc:spChg chg="mod">
          <ac:chgData name="Mondal, Tanmay" userId="83c199d5-d146-4e16-b08e-fa47ebac23d7" providerId="ADAL" clId="{7889F8E4-3B11-44EC-BF56-408DF8153FC1}" dt="2020-07-27T05:54:12.536" v="19"/>
          <ac:spMkLst>
            <pc:docMk/>
            <pc:sldMk cId="0" sldId="275"/>
            <ac:spMk id="11" creationId="{00000000-0000-0000-0000-000000000000}"/>
          </ac:spMkLst>
        </pc:spChg>
        <pc:spChg chg="mod">
          <ac:chgData name="Mondal, Tanmay" userId="83c199d5-d146-4e16-b08e-fa47ebac23d7" providerId="ADAL" clId="{7889F8E4-3B11-44EC-BF56-408DF8153FC1}" dt="2020-07-27T05:54:12.536" v="19"/>
          <ac:spMkLst>
            <pc:docMk/>
            <pc:sldMk cId="0" sldId="275"/>
            <ac:spMk id="12" creationId="{00000000-0000-0000-0000-000000000000}"/>
          </ac:spMkLst>
        </pc:spChg>
        <pc:spChg chg="add del mod">
          <ac:chgData name="Mondal, Tanmay" userId="83c199d5-d146-4e16-b08e-fa47ebac23d7" providerId="ADAL" clId="{7889F8E4-3B11-44EC-BF56-408DF8153FC1}" dt="2020-07-27T07:29:14.864" v="549" actId="478"/>
          <ac:spMkLst>
            <pc:docMk/>
            <pc:sldMk cId="0" sldId="275"/>
            <ac:spMk id="13" creationId="{F0646563-14B0-48AC-AB29-E1D1A6ED1942}"/>
          </ac:spMkLst>
        </pc:spChg>
        <pc:spChg chg="mod">
          <ac:chgData name="Mondal, Tanmay" userId="83c199d5-d146-4e16-b08e-fa47ebac23d7" providerId="ADAL" clId="{7889F8E4-3B11-44EC-BF56-408DF8153FC1}" dt="2020-07-27T05:54:12.536" v="19"/>
          <ac:spMkLst>
            <pc:docMk/>
            <pc:sldMk cId="0" sldId="275"/>
            <ac:spMk id="14" creationId="{00000000-0000-0000-0000-000000000000}"/>
          </ac:spMkLst>
        </pc:spChg>
        <pc:spChg chg="add del mod">
          <ac:chgData name="Mondal, Tanmay" userId="83c199d5-d146-4e16-b08e-fa47ebac23d7" providerId="ADAL" clId="{7889F8E4-3B11-44EC-BF56-408DF8153FC1}" dt="2020-07-27T07:29:12.586" v="548" actId="478"/>
          <ac:spMkLst>
            <pc:docMk/>
            <pc:sldMk cId="0" sldId="275"/>
            <ac:spMk id="15" creationId="{5C8D0938-24A8-4137-9AFB-86FA078766F1}"/>
          </ac:spMkLst>
        </pc:spChg>
        <pc:spChg chg="mod">
          <ac:chgData name="Mondal, Tanmay" userId="83c199d5-d146-4e16-b08e-fa47ebac23d7" providerId="ADAL" clId="{7889F8E4-3B11-44EC-BF56-408DF8153FC1}" dt="2020-07-27T05:54:12.536" v="19"/>
          <ac:spMkLst>
            <pc:docMk/>
            <pc:sldMk cId="0" sldId="275"/>
            <ac:spMk id="17" creationId="{00000000-0000-0000-0000-000000000000}"/>
          </ac:spMkLst>
        </pc:spChg>
        <pc:spChg chg="mod">
          <ac:chgData name="Mondal, Tanmay" userId="83c199d5-d146-4e16-b08e-fa47ebac23d7" providerId="ADAL" clId="{7889F8E4-3B11-44EC-BF56-408DF8153FC1}" dt="2020-07-27T05:54:12.536" v="19"/>
          <ac:spMkLst>
            <pc:docMk/>
            <pc:sldMk cId="0" sldId="275"/>
            <ac:spMk id="18" creationId="{00000000-0000-0000-0000-000000000000}"/>
          </ac:spMkLst>
        </pc:spChg>
        <pc:spChg chg="mod">
          <ac:chgData name="Mondal, Tanmay" userId="83c199d5-d146-4e16-b08e-fa47ebac23d7" providerId="ADAL" clId="{7889F8E4-3B11-44EC-BF56-408DF8153FC1}" dt="2020-07-27T05:54:12.536" v="19"/>
          <ac:spMkLst>
            <pc:docMk/>
            <pc:sldMk cId="0" sldId="275"/>
            <ac:spMk id="19" creationId="{00000000-0000-0000-0000-000000000000}"/>
          </ac:spMkLst>
        </pc:spChg>
        <pc:spChg chg="mod">
          <ac:chgData name="Mondal, Tanmay" userId="83c199d5-d146-4e16-b08e-fa47ebac23d7" providerId="ADAL" clId="{7889F8E4-3B11-44EC-BF56-408DF8153FC1}" dt="2020-07-27T05:54:12.536" v="19"/>
          <ac:spMkLst>
            <pc:docMk/>
            <pc:sldMk cId="0" sldId="275"/>
            <ac:spMk id="20" creationId="{00000000-0000-0000-0000-000000000000}"/>
          </ac:spMkLst>
        </pc:spChg>
      </pc:sldChg>
      <pc:sldChg chg="addSp delSp modSp">
        <pc:chgData name="Mondal, Tanmay" userId="83c199d5-d146-4e16-b08e-fa47ebac23d7" providerId="ADAL" clId="{7889F8E4-3B11-44EC-BF56-408DF8153FC1}" dt="2020-07-27T07:42:11.454" v="682"/>
        <pc:sldMkLst>
          <pc:docMk/>
          <pc:sldMk cId="0" sldId="276"/>
        </pc:sldMkLst>
        <pc:spChg chg="mod">
          <ac:chgData name="Mondal, Tanmay" userId="83c199d5-d146-4e16-b08e-fa47ebac23d7" providerId="ADAL" clId="{7889F8E4-3B11-44EC-BF56-408DF8153FC1}" dt="2020-07-27T05:54:12.536" v="19"/>
          <ac:spMkLst>
            <pc:docMk/>
            <pc:sldMk cId="0" sldId="276"/>
            <ac:spMk id="2" creationId="{00000000-0000-0000-0000-000000000000}"/>
          </ac:spMkLst>
        </pc:spChg>
        <pc:spChg chg="mod">
          <ac:chgData name="Mondal, Tanmay" userId="83c199d5-d146-4e16-b08e-fa47ebac23d7" providerId="ADAL" clId="{7889F8E4-3B11-44EC-BF56-408DF8153FC1}" dt="2020-07-27T05:54:12.536" v="19"/>
          <ac:spMkLst>
            <pc:docMk/>
            <pc:sldMk cId="0" sldId="276"/>
            <ac:spMk id="3" creationId="{00000000-0000-0000-0000-000000000000}"/>
          </ac:spMkLst>
        </pc:spChg>
        <pc:spChg chg="add del mod">
          <ac:chgData name="Mondal, Tanmay" userId="83c199d5-d146-4e16-b08e-fa47ebac23d7" providerId="ADAL" clId="{7889F8E4-3B11-44EC-BF56-408DF8153FC1}" dt="2020-07-27T07:29:29.110" v="552" actId="478"/>
          <ac:spMkLst>
            <pc:docMk/>
            <pc:sldMk cId="0" sldId="276"/>
            <ac:spMk id="4" creationId="{99A160AE-1BA8-43AE-A7B3-DCE42A0D70B0}"/>
          </ac:spMkLst>
        </pc:spChg>
        <pc:spChg chg="mod">
          <ac:chgData name="Mondal, Tanmay" userId="83c199d5-d146-4e16-b08e-fa47ebac23d7" providerId="ADAL" clId="{7889F8E4-3B11-44EC-BF56-408DF8153FC1}" dt="2020-07-27T05:54:12.536" v="19"/>
          <ac:spMkLst>
            <pc:docMk/>
            <pc:sldMk cId="0" sldId="276"/>
            <ac:spMk id="5" creationId="{00000000-0000-0000-0000-000000000000}"/>
          </ac:spMkLst>
        </pc:spChg>
        <pc:spChg chg="add del mod">
          <ac:chgData name="Mondal, Tanmay" userId="83c199d5-d146-4e16-b08e-fa47ebac23d7" providerId="ADAL" clId="{7889F8E4-3B11-44EC-BF56-408DF8153FC1}" dt="2020-07-27T07:29:26.624" v="551" actId="478"/>
          <ac:spMkLst>
            <pc:docMk/>
            <pc:sldMk cId="0" sldId="276"/>
            <ac:spMk id="6" creationId="{8CA79F5F-7EBA-4622-A76A-9E903019FB13}"/>
          </ac:spMkLst>
        </pc:spChg>
        <pc:spChg chg="add del">
          <ac:chgData name="Mondal, Tanmay" userId="83c199d5-d146-4e16-b08e-fa47ebac23d7" providerId="ADAL" clId="{7889F8E4-3B11-44EC-BF56-408DF8153FC1}" dt="2020-07-27T07:41:06.303" v="678"/>
          <ac:spMkLst>
            <pc:docMk/>
            <pc:sldMk cId="0" sldId="276"/>
            <ac:spMk id="7" creationId="{52DA1FC5-2633-45D9-83A4-7FDF7D8A8E13}"/>
          </ac:spMkLst>
        </pc:spChg>
        <pc:spChg chg="add del">
          <ac:chgData name="Mondal, Tanmay" userId="83c199d5-d146-4e16-b08e-fa47ebac23d7" providerId="ADAL" clId="{7889F8E4-3B11-44EC-BF56-408DF8153FC1}" dt="2020-07-27T07:41:22.759" v="680"/>
          <ac:spMkLst>
            <pc:docMk/>
            <pc:sldMk cId="0" sldId="276"/>
            <ac:spMk id="8" creationId="{49931AD0-051B-4601-8E03-479F40B82C14}"/>
          </ac:spMkLst>
        </pc:spChg>
        <pc:spChg chg="mod">
          <ac:chgData name="Mondal, Tanmay" userId="83c199d5-d146-4e16-b08e-fa47ebac23d7" providerId="ADAL" clId="{7889F8E4-3B11-44EC-BF56-408DF8153FC1}" dt="2020-07-27T05:54:12.536" v="19"/>
          <ac:spMkLst>
            <pc:docMk/>
            <pc:sldMk cId="0" sldId="276"/>
            <ac:spMk id="11" creationId="{00000000-0000-0000-0000-000000000000}"/>
          </ac:spMkLst>
        </pc:spChg>
        <pc:spChg chg="mod">
          <ac:chgData name="Mondal, Tanmay" userId="83c199d5-d146-4e16-b08e-fa47ebac23d7" providerId="ADAL" clId="{7889F8E4-3B11-44EC-BF56-408DF8153FC1}" dt="2020-07-27T05:54:12.536" v="19"/>
          <ac:spMkLst>
            <pc:docMk/>
            <pc:sldMk cId="0" sldId="276"/>
            <ac:spMk id="12" creationId="{00000000-0000-0000-0000-000000000000}"/>
          </ac:spMkLst>
        </pc:spChg>
        <pc:spChg chg="mod">
          <ac:chgData name="Mondal, Tanmay" userId="83c199d5-d146-4e16-b08e-fa47ebac23d7" providerId="ADAL" clId="{7889F8E4-3B11-44EC-BF56-408DF8153FC1}" dt="2020-07-27T05:54:12.536" v="19"/>
          <ac:spMkLst>
            <pc:docMk/>
            <pc:sldMk cId="0" sldId="276"/>
            <ac:spMk id="13" creationId="{00000000-0000-0000-0000-000000000000}"/>
          </ac:spMkLst>
        </pc:spChg>
        <pc:graphicFrameChg chg="add del">
          <ac:chgData name="Mondal, Tanmay" userId="83c199d5-d146-4e16-b08e-fa47ebac23d7" providerId="ADAL" clId="{7889F8E4-3B11-44EC-BF56-408DF8153FC1}" dt="2020-07-27T07:42:11.454" v="682"/>
          <ac:graphicFrameMkLst>
            <pc:docMk/>
            <pc:sldMk cId="0" sldId="276"/>
            <ac:graphicFrameMk id="14" creationId="{EBEF68FF-18DC-413A-B710-AB0DBE514116}"/>
          </ac:graphicFrameMkLst>
        </pc:graphicFrameChg>
      </pc:sldChg>
      <pc:sldChg chg="addSp delSp modSp">
        <pc:chgData name="Mondal, Tanmay" userId="83c199d5-d146-4e16-b08e-fa47ebac23d7" providerId="ADAL" clId="{7889F8E4-3B11-44EC-BF56-408DF8153FC1}" dt="2020-07-27T07:29:41.254" v="555" actId="478"/>
        <pc:sldMkLst>
          <pc:docMk/>
          <pc:sldMk cId="0" sldId="277"/>
        </pc:sldMkLst>
        <pc:spChg chg="mod">
          <ac:chgData name="Mondal, Tanmay" userId="83c199d5-d146-4e16-b08e-fa47ebac23d7" providerId="ADAL" clId="{7889F8E4-3B11-44EC-BF56-408DF8153FC1}" dt="2020-07-27T05:54:12.536" v="19"/>
          <ac:spMkLst>
            <pc:docMk/>
            <pc:sldMk cId="0" sldId="277"/>
            <ac:spMk id="2" creationId="{00000000-0000-0000-0000-000000000000}"/>
          </ac:spMkLst>
        </pc:spChg>
        <pc:spChg chg="mod">
          <ac:chgData name="Mondal, Tanmay" userId="83c199d5-d146-4e16-b08e-fa47ebac23d7" providerId="ADAL" clId="{7889F8E4-3B11-44EC-BF56-408DF8153FC1}" dt="2020-07-27T05:54:12.536" v="19"/>
          <ac:spMkLst>
            <pc:docMk/>
            <pc:sldMk cId="0" sldId="277"/>
            <ac:spMk id="3" creationId="{00000000-0000-0000-0000-000000000000}"/>
          </ac:spMkLst>
        </pc:spChg>
        <pc:spChg chg="mod">
          <ac:chgData name="Mondal, Tanmay" userId="83c199d5-d146-4e16-b08e-fa47ebac23d7" providerId="ADAL" clId="{7889F8E4-3B11-44EC-BF56-408DF8153FC1}" dt="2020-07-27T05:54:12.536" v="19"/>
          <ac:spMkLst>
            <pc:docMk/>
            <pc:sldMk cId="0" sldId="277"/>
            <ac:spMk id="4" creationId="{00000000-0000-0000-0000-000000000000}"/>
          </ac:spMkLst>
        </pc:spChg>
        <pc:spChg chg="mod">
          <ac:chgData name="Mondal, Tanmay" userId="83c199d5-d146-4e16-b08e-fa47ebac23d7" providerId="ADAL" clId="{7889F8E4-3B11-44EC-BF56-408DF8153FC1}" dt="2020-07-27T05:54:12.536" v="19"/>
          <ac:spMkLst>
            <pc:docMk/>
            <pc:sldMk cId="0" sldId="277"/>
            <ac:spMk id="5" creationId="{00000000-0000-0000-0000-000000000000}"/>
          </ac:spMkLst>
        </pc:spChg>
        <pc:spChg chg="mod">
          <ac:chgData name="Mondal, Tanmay" userId="83c199d5-d146-4e16-b08e-fa47ebac23d7" providerId="ADAL" clId="{7889F8E4-3B11-44EC-BF56-408DF8153FC1}" dt="2020-07-27T05:54:12.536" v="19"/>
          <ac:spMkLst>
            <pc:docMk/>
            <pc:sldMk cId="0" sldId="277"/>
            <ac:spMk id="6" creationId="{00000000-0000-0000-0000-000000000000}"/>
          </ac:spMkLst>
        </pc:spChg>
        <pc:spChg chg="mod">
          <ac:chgData name="Mondal, Tanmay" userId="83c199d5-d146-4e16-b08e-fa47ebac23d7" providerId="ADAL" clId="{7889F8E4-3B11-44EC-BF56-408DF8153FC1}" dt="2020-07-27T05:54:12.536" v="19"/>
          <ac:spMkLst>
            <pc:docMk/>
            <pc:sldMk cId="0" sldId="277"/>
            <ac:spMk id="7" creationId="{00000000-0000-0000-0000-000000000000}"/>
          </ac:spMkLst>
        </pc:spChg>
        <pc:spChg chg="mod">
          <ac:chgData name="Mondal, Tanmay" userId="83c199d5-d146-4e16-b08e-fa47ebac23d7" providerId="ADAL" clId="{7889F8E4-3B11-44EC-BF56-408DF8153FC1}" dt="2020-07-27T05:54:12.536" v="19"/>
          <ac:spMkLst>
            <pc:docMk/>
            <pc:sldMk cId="0" sldId="277"/>
            <ac:spMk id="8" creationId="{00000000-0000-0000-0000-000000000000}"/>
          </ac:spMkLst>
        </pc:spChg>
        <pc:spChg chg="mod">
          <ac:chgData name="Mondal, Tanmay" userId="83c199d5-d146-4e16-b08e-fa47ebac23d7" providerId="ADAL" clId="{7889F8E4-3B11-44EC-BF56-408DF8153FC1}" dt="2020-07-27T05:54:12.536" v="19"/>
          <ac:spMkLst>
            <pc:docMk/>
            <pc:sldMk cId="0" sldId="277"/>
            <ac:spMk id="9" creationId="{00000000-0000-0000-0000-000000000000}"/>
          </ac:spMkLst>
        </pc:spChg>
        <pc:spChg chg="mod">
          <ac:chgData name="Mondal, Tanmay" userId="83c199d5-d146-4e16-b08e-fa47ebac23d7" providerId="ADAL" clId="{7889F8E4-3B11-44EC-BF56-408DF8153FC1}" dt="2020-07-27T05:54:12.536" v="19"/>
          <ac:spMkLst>
            <pc:docMk/>
            <pc:sldMk cId="0" sldId="277"/>
            <ac:spMk id="10" creationId="{00000000-0000-0000-0000-000000000000}"/>
          </ac:spMkLst>
        </pc:spChg>
        <pc:spChg chg="add del mod">
          <ac:chgData name="Mondal, Tanmay" userId="83c199d5-d146-4e16-b08e-fa47ebac23d7" providerId="ADAL" clId="{7889F8E4-3B11-44EC-BF56-408DF8153FC1}" dt="2020-07-27T07:29:41.254" v="555" actId="478"/>
          <ac:spMkLst>
            <pc:docMk/>
            <pc:sldMk cId="0" sldId="277"/>
            <ac:spMk id="11" creationId="{5B9E28E6-440C-45F2-B512-AD9E49815F2A}"/>
          </ac:spMkLst>
        </pc:spChg>
        <pc:spChg chg="add del mod">
          <ac:chgData name="Mondal, Tanmay" userId="83c199d5-d146-4e16-b08e-fa47ebac23d7" providerId="ADAL" clId="{7889F8E4-3B11-44EC-BF56-408DF8153FC1}" dt="2020-07-27T07:29:36.969" v="554" actId="478"/>
          <ac:spMkLst>
            <pc:docMk/>
            <pc:sldMk cId="0" sldId="277"/>
            <ac:spMk id="12" creationId="{77C9CF27-0F7A-4F42-8CAD-51E749133CBF}"/>
          </ac:spMkLst>
        </pc:spChg>
        <pc:spChg chg="mod">
          <ac:chgData name="Mondal, Tanmay" userId="83c199d5-d146-4e16-b08e-fa47ebac23d7" providerId="ADAL" clId="{7889F8E4-3B11-44EC-BF56-408DF8153FC1}" dt="2020-07-27T05:54:12.536" v="19"/>
          <ac:spMkLst>
            <pc:docMk/>
            <pc:sldMk cId="0" sldId="277"/>
            <ac:spMk id="17" creationId="{00000000-0000-0000-0000-000000000000}"/>
          </ac:spMkLst>
        </pc:spChg>
        <pc:spChg chg="mod">
          <ac:chgData name="Mondal, Tanmay" userId="83c199d5-d146-4e16-b08e-fa47ebac23d7" providerId="ADAL" clId="{7889F8E4-3B11-44EC-BF56-408DF8153FC1}" dt="2020-07-27T05:54:12.536" v="19"/>
          <ac:spMkLst>
            <pc:docMk/>
            <pc:sldMk cId="0" sldId="277"/>
            <ac:spMk id="18" creationId="{00000000-0000-0000-0000-000000000000}"/>
          </ac:spMkLst>
        </pc:spChg>
        <pc:spChg chg="mod">
          <ac:chgData name="Mondal, Tanmay" userId="83c199d5-d146-4e16-b08e-fa47ebac23d7" providerId="ADAL" clId="{7889F8E4-3B11-44EC-BF56-408DF8153FC1}" dt="2020-07-27T05:54:12.536" v="19"/>
          <ac:spMkLst>
            <pc:docMk/>
            <pc:sldMk cId="0" sldId="277"/>
            <ac:spMk id="19" creationId="{00000000-0000-0000-0000-000000000000}"/>
          </ac:spMkLst>
        </pc:spChg>
        <pc:spChg chg="mod">
          <ac:chgData name="Mondal, Tanmay" userId="83c199d5-d146-4e16-b08e-fa47ebac23d7" providerId="ADAL" clId="{7889F8E4-3B11-44EC-BF56-408DF8153FC1}" dt="2020-07-27T05:54:12.536" v="19"/>
          <ac:spMkLst>
            <pc:docMk/>
            <pc:sldMk cId="0" sldId="277"/>
            <ac:spMk id="20" creationId="{00000000-0000-0000-0000-000000000000}"/>
          </ac:spMkLst>
        </pc:spChg>
      </pc:sldChg>
      <pc:sldChg chg="addSp delSp modSp">
        <pc:chgData name="Mondal, Tanmay" userId="83c199d5-d146-4e16-b08e-fa47ebac23d7" providerId="ADAL" clId="{7889F8E4-3B11-44EC-BF56-408DF8153FC1}" dt="2020-07-27T07:29:52.009" v="558" actId="478"/>
        <pc:sldMkLst>
          <pc:docMk/>
          <pc:sldMk cId="0" sldId="278"/>
        </pc:sldMkLst>
        <pc:spChg chg="mod">
          <ac:chgData name="Mondal, Tanmay" userId="83c199d5-d146-4e16-b08e-fa47ebac23d7" providerId="ADAL" clId="{7889F8E4-3B11-44EC-BF56-408DF8153FC1}" dt="2020-07-27T05:54:12.536" v="19"/>
          <ac:spMkLst>
            <pc:docMk/>
            <pc:sldMk cId="0" sldId="278"/>
            <ac:spMk id="2" creationId="{00000000-0000-0000-0000-000000000000}"/>
          </ac:spMkLst>
        </pc:spChg>
        <pc:spChg chg="mod">
          <ac:chgData name="Mondal, Tanmay" userId="83c199d5-d146-4e16-b08e-fa47ebac23d7" providerId="ADAL" clId="{7889F8E4-3B11-44EC-BF56-408DF8153FC1}" dt="2020-07-27T05:54:12.536" v="19"/>
          <ac:spMkLst>
            <pc:docMk/>
            <pc:sldMk cId="0" sldId="278"/>
            <ac:spMk id="3" creationId="{00000000-0000-0000-0000-000000000000}"/>
          </ac:spMkLst>
        </pc:spChg>
        <pc:spChg chg="mod">
          <ac:chgData name="Mondal, Tanmay" userId="83c199d5-d146-4e16-b08e-fa47ebac23d7" providerId="ADAL" clId="{7889F8E4-3B11-44EC-BF56-408DF8153FC1}" dt="2020-07-27T05:54:12.536" v="19"/>
          <ac:spMkLst>
            <pc:docMk/>
            <pc:sldMk cId="0" sldId="278"/>
            <ac:spMk id="4" creationId="{00000000-0000-0000-0000-000000000000}"/>
          </ac:spMkLst>
        </pc:spChg>
        <pc:spChg chg="mod">
          <ac:chgData name="Mondal, Tanmay" userId="83c199d5-d146-4e16-b08e-fa47ebac23d7" providerId="ADAL" clId="{7889F8E4-3B11-44EC-BF56-408DF8153FC1}" dt="2020-07-27T05:54:12.536" v="19"/>
          <ac:spMkLst>
            <pc:docMk/>
            <pc:sldMk cId="0" sldId="278"/>
            <ac:spMk id="5" creationId="{00000000-0000-0000-0000-000000000000}"/>
          </ac:spMkLst>
        </pc:spChg>
        <pc:spChg chg="mod">
          <ac:chgData name="Mondal, Tanmay" userId="83c199d5-d146-4e16-b08e-fa47ebac23d7" providerId="ADAL" clId="{7889F8E4-3B11-44EC-BF56-408DF8153FC1}" dt="2020-07-27T05:54:12.536" v="19"/>
          <ac:spMkLst>
            <pc:docMk/>
            <pc:sldMk cId="0" sldId="278"/>
            <ac:spMk id="6" creationId="{00000000-0000-0000-0000-000000000000}"/>
          </ac:spMkLst>
        </pc:spChg>
        <pc:spChg chg="mod">
          <ac:chgData name="Mondal, Tanmay" userId="83c199d5-d146-4e16-b08e-fa47ebac23d7" providerId="ADAL" clId="{7889F8E4-3B11-44EC-BF56-408DF8153FC1}" dt="2020-07-27T05:54:12.536" v="19"/>
          <ac:spMkLst>
            <pc:docMk/>
            <pc:sldMk cId="0" sldId="278"/>
            <ac:spMk id="7" creationId="{00000000-0000-0000-0000-000000000000}"/>
          </ac:spMkLst>
        </pc:spChg>
        <pc:spChg chg="mod">
          <ac:chgData name="Mondal, Tanmay" userId="83c199d5-d146-4e16-b08e-fa47ebac23d7" providerId="ADAL" clId="{7889F8E4-3B11-44EC-BF56-408DF8153FC1}" dt="2020-07-27T05:54:12.536" v="19"/>
          <ac:spMkLst>
            <pc:docMk/>
            <pc:sldMk cId="0" sldId="278"/>
            <ac:spMk id="8" creationId="{00000000-0000-0000-0000-000000000000}"/>
          </ac:spMkLst>
        </pc:spChg>
        <pc:spChg chg="mod">
          <ac:chgData name="Mondal, Tanmay" userId="83c199d5-d146-4e16-b08e-fa47ebac23d7" providerId="ADAL" clId="{7889F8E4-3B11-44EC-BF56-408DF8153FC1}" dt="2020-07-27T05:54:12.536" v="19"/>
          <ac:spMkLst>
            <pc:docMk/>
            <pc:sldMk cId="0" sldId="278"/>
            <ac:spMk id="9" creationId="{00000000-0000-0000-0000-000000000000}"/>
          </ac:spMkLst>
        </pc:spChg>
        <pc:spChg chg="add del mod">
          <ac:chgData name="Mondal, Tanmay" userId="83c199d5-d146-4e16-b08e-fa47ebac23d7" providerId="ADAL" clId="{7889F8E4-3B11-44EC-BF56-408DF8153FC1}" dt="2020-07-27T07:29:52.009" v="558" actId="478"/>
          <ac:spMkLst>
            <pc:docMk/>
            <pc:sldMk cId="0" sldId="278"/>
            <ac:spMk id="10" creationId="{2D6B6C7C-E426-4958-B35D-68B2EF4E4B65}"/>
          </ac:spMkLst>
        </pc:spChg>
        <pc:spChg chg="add del mod">
          <ac:chgData name="Mondal, Tanmay" userId="83c199d5-d146-4e16-b08e-fa47ebac23d7" providerId="ADAL" clId="{7889F8E4-3B11-44EC-BF56-408DF8153FC1}" dt="2020-07-27T07:29:48.769" v="557" actId="478"/>
          <ac:spMkLst>
            <pc:docMk/>
            <pc:sldMk cId="0" sldId="278"/>
            <ac:spMk id="11" creationId="{F86149F9-8024-4403-B4E1-921857417ED0}"/>
          </ac:spMkLst>
        </pc:spChg>
        <pc:spChg chg="mod">
          <ac:chgData name="Mondal, Tanmay" userId="83c199d5-d146-4e16-b08e-fa47ebac23d7" providerId="ADAL" clId="{7889F8E4-3B11-44EC-BF56-408DF8153FC1}" dt="2020-07-27T05:54:12.536" v="19"/>
          <ac:spMkLst>
            <pc:docMk/>
            <pc:sldMk cId="0" sldId="278"/>
            <ac:spMk id="16" creationId="{00000000-0000-0000-0000-000000000000}"/>
          </ac:spMkLst>
        </pc:spChg>
        <pc:spChg chg="mod">
          <ac:chgData name="Mondal, Tanmay" userId="83c199d5-d146-4e16-b08e-fa47ebac23d7" providerId="ADAL" clId="{7889F8E4-3B11-44EC-BF56-408DF8153FC1}" dt="2020-07-27T05:54:12.536" v="19"/>
          <ac:spMkLst>
            <pc:docMk/>
            <pc:sldMk cId="0" sldId="278"/>
            <ac:spMk id="17" creationId="{00000000-0000-0000-0000-000000000000}"/>
          </ac:spMkLst>
        </pc:spChg>
        <pc:spChg chg="mod">
          <ac:chgData name="Mondal, Tanmay" userId="83c199d5-d146-4e16-b08e-fa47ebac23d7" providerId="ADAL" clId="{7889F8E4-3B11-44EC-BF56-408DF8153FC1}" dt="2020-07-27T05:54:12.536" v="19"/>
          <ac:spMkLst>
            <pc:docMk/>
            <pc:sldMk cId="0" sldId="278"/>
            <ac:spMk id="18" creationId="{00000000-0000-0000-0000-000000000000}"/>
          </ac:spMkLst>
        </pc:spChg>
        <pc:spChg chg="mod">
          <ac:chgData name="Mondal, Tanmay" userId="83c199d5-d146-4e16-b08e-fa47ebac23d7" providerId="ADAL" clId="{7889F8E4-3B11-44EC-BF56-408DF8153FC1}" dt="2020-07-27T05:54:12.536" v="19"/>
          <ac:spMkLst>
            <pc:docMk/>
            <pc:sldMk cId="0" sldId="278"/>
            <ac:spMk id="19" creationId="{00000000-0000-0000-0000-000000000000}"/>
          </ac:spMkLst>
        </pc:spChg>
      </pc:sldChg>
      <pc:sldChg chg="addSp delSp modSp">
        <pc:chgData name="Mondal, Tanmay" userId="83c199d5-d146-4e16-b08e-fa47ebac23d7" providerId="ADAL" clId="{7889F8E4-3B11-44EC-BF56-408DF8153FC1}" dt="2020-07-27T07:30:05.474" v="561" actId="478"/>
        <pc:sldMkLst>
          <pc:docMk/>
          <pc:sldMk cId="0" sldId="279"/>
        </pc:sldMkLst>
        <pc:spChg chg="mod">
          <ac:chgData name="Mondal, Tanmay" userId="83c199d5-d146-4e16-b08e-fa47ebac23d7" providerId="ADAL" clId="{7889F8E4-3B11-44EC-BF56-408DF8153FC1}" dt="2020-07-27T05:54:12.536" v="19"/>
          <ac:spMkLst>
            <pc:docMk/>
            <pc:sldMk cId="0" sldId="279"/>
            <ac:spMk id="2" creationId="{00000000-0000-0000-0000-000000000000}"/>
          </ac:spMkLst>
        </pc:spChg>
        <pc:spChg chg="mod">
          <ac:chgData name="Mondal, Tanmay" userId="83c199d5-d146-4e16-b08e-fa47ebac23d7" providerId="ADAL" clId="{7889F8E4-3B11-44EC-BF56-408DF8153FC1}" dt="2020-07-27T05:54:12.536" v="19"/>
          <ac:spMkLst>
            <pc:docMk/>
            <pc:sldMk cId="0" sldId="279"/>
            <ac:spMk id="3" creationId="{00000000-0000-0000-0000-000000000000}"/>
          </ac:spMkLst>
        </pc:spChg>
        <pc:spChg chg="mod">
          <ac:chgData name="Mondal, Tanmay" userId="83c199d5-d146-4e16-b08e-fa47ebac23d7" providerId="ADAL" clId="{7889F8E4-3B11-44EC-BF56-408DF8153FC1}" dt="2020-07-27T05:54:12.536" v="19"/>
          <ac:spMkLst>
            <pc:docMk/>
            <pc:sldMk cId="0" sldId="279"/>
            <ac:spMk id="4" creationId="{00000000-0000-0000-0000-000000000000}"/>
          </ac:spMkLst>
        </pc:spChg>
        <pc:spChg chg="mod">
          <ac:chgData name="Mondal, Tanmay" userId="83c199d5-d146-4e16-b08e-fa47ebac23d7" providerId="ADAL" clId="{7889F8E4-3B11-44EC-BF56-408DF8153FC1}" dt="2020-07-27T05:54:12.536" v="19"/>
          <ac:spMkLst>
            <pc:docMk/>
            <pc:sldMk cId="0" sldId="279"/>
            <ac:spMk id="5" creationId="{00000000-0000-0000-0000-000000000000}"/>
          </ac:spMkLst>
        </pc:spChg>
        <pc:spChg chg="add del mod">
          <ac:chgData name="Mondal, Tanmay" userId="83c199d5-d146-4e16-b08e-fa47ebac23d7" providerId="ADAL" clId="{7889F8E4-3B11-44EC-BF56-408DF8153FC1}" dt="2020-07-27T07:30:02.098" v="560" actId="478"/>
          <ac:spMkLst>
            <pc:docMk/>
            <pc:sldMk cId="0" sldId="279"/>
            <ac:spMk id="6" creationId="{3CE39C91-4F50-4856-A1A1-04A127CEC08E}"/>
          </ac:spMkLst>
        </pc:spChg>
        <pc:spChg chg="add del mod">
          <ac:chgData name="Mondal, Tanmay" userId="83c199d5-d146-4e16-b08e-fa47ebac23d7" providerId="ADAL" clId="{7889F8E4-3B11-44EC-BF56-408DF8153FC1}" dt="2020-07-27T07:30:05.474" v="561" actId="478"/>
          <ac:spMkLst>
            <pc:docMk/>
            <pc:sldMk cId="0" sldId="279"/>
            <ac:spMk id="7" creationId="{ADF2D8EC-7B3F-441A-B377-47EDD2999D2F}"/>
          </ac:spMkLst>
        </pc:spChg>
        <pc:spChg chg="mod">
          <ac:chgData name="Mondal, Tanmay" userId="83c199d5-d146-4e16-b08e-fa47ebac23d7" providerId="ADAL" clId="{7889F8E4-3B11-44EC-BF56-408DF8153FC1}" dt="2020-07-27T05:54:12.536" v="19"/>
          <ac:spMkLst>
            <pc:docMk/>
            <pc:sldMk cId="0" sldId="279"/>
            <ac:spMk id="8" creationId="{00000000-0000-0000-0000-000000000000}"/>
          </ac:spMkLst>
        </pc:spChg>
        <pc:spChg chg="mod">
          <ac:chgData name="Mondal, Tanmay" userId="83c199d5-d146-4e16-b08e-fa47ebac23d7" providerId="ADAL" clId="{7889F8E4-3B11-44EC-BF56-408DF8153FC1}" dt="2020-07-27T05:54:12.536" v="19"/>
          <ac:spMkLst>
            <pc:docMk/>
            <pc:sldMk cId="0" sldId="279"/>
            <ac:spMk id="14" creationId="{00000000-0000-0000-0000-000000000000}"/>
          </ac:spMkLst>
        </pc:spChg>
        <pc:spChg chg="mod">
          <ac:chgData name="Mondal, Tanmay" userId="83c199d5-d146-4e16-b08e-fa47ebac23d7" providerId="ADAL" clId="{7889F8E4-3B11-44EC-BF56-408DF8153FC1}" dt="2020-07-27T05:54:12.536" v="19"/>
          <ac:spMkLst>
            <pc:docMk/>
            <pc:sldMk cId="0" sldId="279"/>
            <ac:spMk id="15" creationId="{00000000-0000-0000-0000-000000000000}"/>
          </ac:spMkLst>
        </pc:spChg>
        <pc:spChg chg="mod">
          <ac:chgData name="Mondal, Tanmay" userId="83c199d5-d146-4e16-b08e-fa47ebac23d7" providerId="ADAL" clId="{7889F8E4-3B11-44EC-BF56-408DF8153FC1}" dt="2020-07-27T05:54:12.536" v="19"/>
          <ac:spMkLst>
            <pc:docMk/>
            <pc:sldMk cId="0" sldId="279"/>
            <ac:spMk id="16" creationId="{00000000-0000-0000-0000-000000000000}"/>
          </ac:spMkLst>
        </pc:spChg>
        <pc:spChg chg="mod">
          <ac:chgData name="Mondal, Tanmay" userId="83c199d5-d146-4e16-b08e-fa47ebac23d7" providerId="ADAL" clId="{7889F8E4-3B11-44EC-BF56-408DF8153FC1}" dt="2020-07-27T05:54:12.536" v="19"/>
          <ac:spMkLst>
            <pc:docMk/>
            <pc:sldMk cId="0" sldId="279"/>
            <ac:spMk id="17" creationId="{00000000-0000-0000-0000-000000000000}"/>
          </ac:spMkLst>
        </pc:spChg>
        <pc:spChg chg="mod">
          <ac:chgData name="Mondal, Tanmay" userId="83c199d5-d146-4e16-b08e-fa47ebac23d7" providerId="ADAL" clId="{7889F8E4-3B11-44EC-BF56-408DF8153FC1}" dt="2020-07-27T05:54:12.536" v="19"/>
          <ac:spMkLst>
            <pc:docMk/>
            <pc:sldMk cId="0" sldId="279"/>
            <ac:spMk id="18" creationId="{00000000-0000-0000-0000-000000000000}"/>
          </ac:spMkLst>
        </pc:spChg>
      </pc:sldChg>
      <pc:sldChg chg="addSp delSp modSp">
        <pc:chgData name="Mondal, Tanmay" userId="83c199d5-d146-4e16-b08e-fa47ebac23d7" providerId="ADAL" clId="{7889F8E4-3B11-44EC-BF56-408DF8153FC1}" dt="2020-07-27T07:30:20.815" v="564" actId="478"/>
        <pc:sldMkLst>
          <pc:docMk/>
          <pc:sldMk cId="0" sldId="280"/>
        </pc:sldMkLst>
        <pc:spChg chg="mod">
          <ac:chgData name="Mondal, Tanmay" userId="83c199d5-d146-4e16-b08e-fa47ebac23d7" providerId="ADAL" clId="{7889F8E4-3B11-44EC-BF56-408DF8153FC1}" dt="2020-07-27T05:54:12.536" v="19"/>
          <ac:spMkLst>
            <pc:docMk/>
            <pc:sldMk cId="0" sldId="280"/>
            <ac:spMk id="2" creationId="{00000000-0000-0000-0000-000000000000}"/>
          </ac:spMkLst>
        </pc:spChg>
        <pc:spChg chg="mod">
          <ac:chgData name="Mondal, Tanmay" userId="83c199d5-d146-4e16-b08e-fa47ebac23d7" providerId="ADAL" clId="{7889F8E4-3B11-44EC-BF56-408DF8153FC1}" dt="2020-07-27T05:54:12.536" v="19"/>
          <ac:spMkLst>
            <pc:docMk/>
            <pc:sldMk cId="0" sldId="280"/>
            <ac:spMk id="3" creationId="{00000000-0000-0000-0000-000000000000}"/>
          </ac:spMkLst>
        </pc:spChg>
        <pc:spChg chg="mod">
          <ac:chgData name="Mondal, Tanmay" userId="83c199d5-d146-4e16-b08e-fa47ebac23d7" providerId="ADAL" clId="{7889F8E4-3B11-44EC-BF56-408DF8153FC1}" dt="2020-07-27T05:54:12.536" v="19"/>
          <ac:spMkLst>
            <pc:docMk/>
            <pc:sldMk cId="0" sldId="280"/>
            <ac:spMk id="4" creationId="{00000000-0000-0000-0000-000000000000}"/>
          </ac:spMkLst>
        </pc:spChg>
        <pc:spChg chg="mod">
          <ac:chgData name="Mondal, Tanmay" userId="83c199d5-d146-4e16-b08e-fa47ebac23d7" providerId="ADAL" clId="{7889F8E4-3B11-44EC-BF56-408DF8153FC1}" dt="2020-07-27T05:54:12.536" v="19"/>
          <ac:spMkLst>
            <pc:docMk/>
            <pc:sldMk cId="0" sldId="280"/>
            <ac:spMk id="5" creationId="{00000000-0000-0000-0000-000000000000}"/>
          </ac:spMkLst>
        </pc:spChg>
        <pc:spChg chg="add del mod">
          <ac:chgData name="Mondal, Tanmay" userId="83c199d5-d146-4e16-b08e-fa47ebac23d7" providerId="ADAL" clId="{7889F8E4-3B11-44EC-BF56-408DF8153FC1}" dt="2020-07-27T07:30:20.815" v="564" actId="478"/>
          <ac:spMkLst>
            <pc:docMk/>
            <pc:sldMk cId="0" sldId="280"/>
            <ac:spMk id="6" creationId="{04FC77CE-0BAC-4261-B82D-73937BC09F63}"/>
          </ac:spMkLst>
        </pc:spChg>
        <pc:spChg chg="add del mod">
          <ac:chgData name="Mondal, Tanmay" userId="83c199d5-d146-4e16-b08e-fa47ebac23d7" providerId="ADAL" clId="{7889F8E4-3B11-44EC-BF56-408DF8153FC1}" dt="2020-07-27T07:30:17.715" v="563" actId="478"/>
          <ac:spMkLst>
            <pc:docMk/>
            <pc:sldMk cId="0" sldId="280"/>
            <ac:spMk id="7" creationId="{A2FC484B-9E3F-44DA-8D0E-A931DAB128E9}"/>
          </ac:spMkLst>
        </pc:spChg>
        <pc:spChg chg="mod">
          <ac:chgData name="Mondal, Tanmay" userId="83c199d5-d146-4e16-b08e-fa47ebac23d7" providerId="ADAL" clId="{7889F8E4-3B11-44EC-BF56-408DF8153FC1}" dt="2020-07-27T05:54:12.536" v="19"/>
          <ac:spMkLst>
            <pc:docMk/>
            <pc:sldMk cId="0" sldId="280"/>
            <ac:spMk id="12" creationId="{00000000-0000-0000-0000-000000000000}"/>
          </ac:spMkLst>
        </pc:spChg>
        <pc:spChg chg="mod">
          <ac:chgData name="Mondal, Tanmay" userId="83c199d5-d146-4e16-b08e-fa47ebac23d7" providerId="ADAL" clId="{7889F8E4-3B11-44EC-BF56-408DF8153FC1}" dt="2020-07-27T05:54:12.536" v="19"/>
          <ac:spMkLst>
            <pc:docMk/>
            <pc:sldMk cId="0" sldId="280"/>
            <ac:spMk id="17" creationId="{00000000-0000-0000-0000-000000000000}"/>
          </ac:spMkLst>
        </pc:spChg>
        <pc:spChg chg="mod">
          <ac:chgData name="Mondal, Tanmay" userId="83c199d5-d146-4e16-b08e-fa47ebac23d7" providerId="ADAL" clId="{7889F8E4-3B11-44EC-BF56-408DF8153FC1}" dt="2020-07-27T05:54:12.536" v="19"/>
          <ac:spMkLst>
            <pc:docMk/>
            <pc:sldMk cId="0" sldId="280"/>
            <ac:spMk id="18" creationId="{00000000-0000-0000-0000-000000000000}"/>
          </ac:spMkLst>
        </pc:spChg>
        <pc:spChg chg="mod">
          <ac:chgData name="Mondal, Tanmay" userId="83c199d5-d146-4e16-b08e-fa47ebac23d7" providerId="ADAL" clId="{7889F8E4-3B11-44EC-BF56-408DF8153FC1}" dt="2020-07-27T05:54:12.536" v="19"/>
          <ac:spMkLst>
            <pc:docMk/>
            <pc:sldMk cId="0" sldId="280"/>
            <ac:spMk id="19" creationId="{00000000-0000-0000-0000-000000000000}"/>
          </ac:spMkLst>
        </pc:spChg>
        <pc:spChg chg="mod">
          <ac:chgData name="Mondal, Tanmay" userId="83c199d5-d146-4e16-b08e-fa47ebac23d7" providerId="ADAL" clId="{7889F8E4-3B11-44EC-BF56-408DF8153FC1}" dt="2020-07-27T05:54:12.536" v="19"/>
          <ac:spMkLst>
            <pc:docMk/>
            <pc:sldMk cId="0" sldId="280"/>
            <ac:spMk id="20" creationId="{00000000-0000-0000-0000-000000000000}"/>
          </ac:spMkLst>
        </pc:spChg>
        <pc:spChg chg="mod">
          <ac:chgData name="Mondal, Tanmay" userId="83c199d5-d146-4e16-b08e-fa47ebac23d7" providerId="ADAL" clId="{7889F8E4-3B11-44EC-BF56-408DF8153FC1}" dt="2020-07-27T05:54:12.536" v="19"/>
          <ac:spMkLst>
            <pc:docMk/>
            <pc:sldMk cId="0" sldId="280"/>
            <ac:spMk id="21" creationId="{00000000-0000-0000-0000-000000000000}"/>
          </ac:spMkLst>
        </pc:spChg>
      </pc:sldChg>
      <pc:sldChg chg="addSp delSp modSp">
        <pc:chgData name="Mondal, Tanmay" userId="83c199d5-d146-4e16-b08e-fa47ebac23d7" providerId="ADAL" clId="{7889F8E4-3B11-44EC-BF56-408DF8153FC1}" dt="2020-07-27T07:30:49.277" v="570" actId="478"/>
        <pc:sldMkLst>
          <pc:docMk/>
          <pc:sldMk cId="0" sldId="281"/>
        </pc:sldMkLst>
        <pc:spChg chg="mod">
          <ac:chgData name="Mondal, Tanmay" userId="83c199d5-d146-4e16-b08e-fa47ebac23d7" providerId="ADAL" clId="{7889F8E4-3B11-44EC-BF56-408DF8153FC1}" dt="2020-07-27T05:54:12.536" v="19"/>
          <ac:spMkLst>
            <pc:docMk/>
            <pc:sldMk cId="0" sldId="281"/>
            <ac:spMk id="2" creationId="{00000000-0000-0000-0000-000000000000}"/>
          </ac:spMkLst>
        </pc:spChg>
        <pc:spChg chg="mod">
          <ac:chgData name="Mondal, Tanmay" userId="83c199d5-d146-4e16-b08e-fa47ebac23d7" providerId="ADAL" clId="{7889F8E4-3B11-44EC-BF56-408DF8153FC1}" dt="2020-07-27T05:54:12.536" v="19"/>
          <ac:spMkLst>
            <pc:docMk/>
            <pc:sldMk cId="0" sldId="281"/>
            <ac:spMk id="3" creationId="{00000000-0000-0000-0000-000000000000}"/>
          </ac:spMkLst>
        </pc:spChg>
        <pc:spChg chg="mod">
          <ac:chgData name="Mondal, Tanmay" userId="83c199d5-d146-4e16-b08e-fa47ebac23d7" providerId="ADAL" clId="{7889F8E4-3B11-44EC-BF56-408DF8153FC1}" dt="2020-07-27T05:54:12.536" v="19"/>
          <ac:spMkLst>
            <pc:docMk/>
            <pc:sldMk cId="0" sldId="281"/>
            <ac:spMk id="4" creationId="{00000000-0000-0000-0000-000000000000}"/>
          </ac:spMkLst>
        </pc:spChg>
        <pc:spChg chg="mod">
          <ac:chgData name="Mondal, Tanmay" userId="83c199d5-d146-4e16-b08e-fa47ebac23d7" providerId="ADAL" clId="{7889F8E4-3B11-44EC-BF56-408DF8153FC1}" dt="2020-07-27T05:54:12.536" v="19"/>
          <ac:spMkLst>
            <pc:docMk/>
            <pc:sldMk cId="0" sldId="281"/>
            <ac:spMk id="5" creationId="{00000000-0000-0000-0000-000000000000}"/>
          </ac:spMkLst>
        </pc:spChg>
        <pc:spChg chg="mod">
          <ac:chgData name="Mondal, Tanmay" userId="83c199d5-d146-4e16-b08e-fa47ebac23d7" providerId="ADAL" clId="{7889F8E4-3B11-44EC-BF56-408DF8153FC1}" dt="2020-07-27T05:54:12.536" v="19"/>
          <ac:spMkLst>
            <pc:docMk/>
            <pc:sldMk cId="0" sldId="281"/>
            <ac:spMk id="6" creationId="{00000000-0000-0000-0000-000000000000}"/>
          </ac:spMkLst>
        </pc:spChg>
        <pc:spChg chg="mod">
          <ac:chgData name="Mondal, Tanmay" userId="83c199d5-d146-4e16-b08e-fa47ebac23d7" providerId="ADAL" clId="{7889F8E4-3B11-44EC-BF56-408DF8153FC1}" dt="2020-07-27T05:54:12.536" v="19"/>
          <ac:spMkLst>
            <pc:docMk/>
            <pc:sldMk cId="0" sldId="281"/>
            <ac:spMk id="7" creationId="{00000000-0000-0000-0000-000000000000}"/>
          </ac:spMkLst>
        </pc:spChg>
        <pc:spChg chg="mod">
          <ac:chgData name="Mondal, Tanmay" userId="83c199d5-d146-4e16-b08e-fa47ebac23d7" providerId="ADAL" clId="{7889F8E4-3B11-44EC-BF56-408DF8153FC1}" dt="2020-07-27T05:54:12.536" v="19"/>
          <ac:spMkLst>
            <pc:docMk/>
            <pc:sldMk cId="0" sldId="281"/>
            <ac:spMk id="8" creationId="{00000000-0000-0000-0000-000000000000}"/>
          </ac:spMkLst>
        </pc:spChg>
        <pc:spChg chg="mod">
          <ac:chgData name="Mondal, Tanmay" userId="83c199d5-d146-4e16-b08e-fa47ebac23d7" providerId="ADAL" clId="{7889F8E4-3B11-44EC-BF56-408DF8153FC1}" dt="2020-07-27T05:54:12.536" v="19"/>
          <ac:spMkLst>
            <pc:docMk/>
            <pc:sldMk cId="0" sldId="281"/>
            <ac:spMk id="9" creationId="{00000000-0000-0000-0000-000000000000}"/>
          </ac:spMkLst>
        </pc:spChg>
        <pc:spChg chg="mod">
          <ac:chgData name="Mondal, Tanmay" userId="83c199d5-d146-4e16-b08e-fa47ebac23d7" providerId="ADAL" clId="{7889F8E4-3B11-44EC-BF56-408DF8153FC1}" dt="2020-07-27T05:54:12.536" v="19"/>
          <ac:spMkLst>
            <pc:docMk/>
            <pc:sldMk cId="0" sldId="281"/>
            <ac:spMk id="10" creationId="{00000000-0000-0000-0000-000000000000}"/>
          </ac:spMkLst>
        </pc:spChg>
        <pc:spChg chg="mod">
          <ac:chgData name="Mondal, Tanmay" userId="83c199d5-d146-4e16-b08e-fa47ebac23d7" providerId="ADAL" clId="{7889F8E4-3B11-44EC-BF56-408DF8153FC1}" dt="2020-07-27T05:54:12.536" v="19"/>
          <ac:spMkLst>
            <pc:docMk/>
            <pc:sldMk cId="0" sldId="281"/>
            <ac:spMk id="11" creationId="{00000000-0000-0000-0000-000000000000}"/>
          </ac:spMkLst>
        </pc:spChg>
        <pc:spChg chg="mod">
          <ac:chgData name="Mondal, Tanmay" userId="83c199d5-d146-4e16-b08e-fa47ebac23d7" providerId="ADAL" clId="{7889F8E4-3B11-44EC-BF56-408DF8153FC1}" dt="2020-07-27T05:54:12.536" v="19"/>
          <ac:spMkLst>
            <pc:docMk/>
            <pc:sldMk cId="0" sldId="281"/>
            <ac:spMk id="12" creationId="{00000000-0000-0000-0000-000000000000}"/>
          </ac:spMkLst>
        </pc:spChg>
        <pc:spChg chg="mod">
          <ac:chgData name="Mondal, Tanmay" userId="83c199d5-d146-4e16-b08e-fa47ebac23d7" providerId="ADAL" clId="{7889F8E4-3B11-44EC-BF56-408DF8153FC1}" dt="2020-07-27T05:54:12.536" v="19"/>
          <ac:spMkLst>
            <pc:docMk/>
            <pc:sldMk cId="0" sldId="281"/>
            <ac:spMk id="13" creationId="{00000000-0000-0000-0000-000000000000}"/>
          </ac:spMkLst>
        </pc:spChg>
        <pc:spChg chg="add del mod">
          <ac:chgData name="Mondal, Tanmay" userId="83c199d5-d146-4e16-b08e-fa47ebac23d7" providerId="ADAL" clId="{7889F8E4-3B11-44EC-BF56-408DF8153FC1}" dt="2020-07-27T07:30:49.277" v="570" actId="478"/>
          <ac:spMkLst>
            <pc:docMk/>
            <pc:sldMk cId="0" sldId="281"/>
            <ac:spMk id="14" creationId="{5C358F61-D29E-4ABB-A1DF-63C9ADD1B4F6}"/>
          </ac:spMkLst>
        </pc:spChg>
        <pc:spChg chg="add del mod">
          <ac:chgData name="Mondal, Tanmay" userId="83c199d5-d146-4e16-b08e-fa47ebac23d7" providerId="ADAL" clId="{7889F8E4-3B11-44EC-BF56-408DF8153FC1}" dt="2020-07-27T07:30:45.746" v="569" actId="478"/>
          <ac:spMkLst>
            <pc:docMk/>
            <pc:sldMk cId="0" sldId="281"/>
            <ac:spMk id="15" creationId="{6DB6CAC9-23C2-4E82-A6A8-006E0857ED5C}"/>
          </ac:spMkLst>
        </pc:spChg>
        <pc:spChg chg="mod">
          <ac:chgData name="Mondal, Tanmay" userId="83c199d5-d146-4e16-b08e-fa47ebac23d7" providerId="ADAL" clId="{7889F8E4-3B11-44EC-BF56-408DF8153FC1}" dt="2020-07-27T05:54:12.536" v="19"/>
          <ac:spMkLst>
            <pc:docMk/>
            <pc:sldMk cId="0" sldId="281"/>
            <ac:spMk id="16" creationId="{00000000-0000-0000-0000-000000000000}"/>
          </ac:spMkLst>
        </pc:spChg>
        <pc:spChg chg="mod">
          <ac:chgData name="Mondal, Tanmay" userId="83c199d5-d146-4e16-b08e-fa47ebac23d7" providerId="ADAL" clId="{7889F8E4-3B11-44EC-BF56-408DF8153FC1}" dt="2020-07-27T05:54:12.536" v="19"/>
          <ac:spMkLst>
            <pc:docMk/>
            <pc:sldMk cId="0" sldId="281"/>
            <ac:spMk id="17" creationId="{00000000-0000-0000-0000-000000000000}"/>
          </ac:spMkLst>
        </pc:spChg>
        <pc:spChg chg="mod">
          <ac:chgData name="Mondal, Tanmay" userId="83c199d5-d146-4e16-b08e-fa47ebac23d7" providerId="ADAL" clId="{7889F8E4-3B11-44EC-BF56-408DF8153FC1}" dt="2020-07-27T05:54:12.536" v="19"/>
          <ac:spMkLst>
            <pc:docMk/>
            <pc:sldMk cId="0" sldId="281"/>
            <ac:spMk id="18" creationId="{00000000-0000-0000-0000-000000000000}"/>
          </ac:spMkLst>
        </pc:spChg>
        <pc:spChg chg="mod">
          <ac:chgData name="Mondal, Tanmay" userId="83c199d5-d146-4e16-b08e-fa47ebac23d7" providerId="ADAL" clId="{7889F8E4-3B11-44EC-BF56-408DF8153FC1}" dt="2020-07-27T05:54:12.536" v="19"/>
          <ac:spMkLst>
            <pc:docMk/>
            <pc:sldMk cId="0" sldId="281"/>
            <ac:spMk id="19" creationId="{00000000-0000-0000-0000-000000000000}"/>
          </ac:spMkLst>
        </pc:spChg>
        <pc:spChg chg="mod">
          <ac:chgData name="Mondal, Tanmay" userId="83c199d5-d146-4e16-b08e-fa47ebac23d7" providerId="ADAL" clId="{7889F8E4-3B11-44EC-BF56-408DF8153FC1}" dt="2020-07-27T05:54:12.536" v="19"/>
          <ac:spMkLst>
            <pc:docMk/>
            <pc:sldMk cId="0" sldId="281"/>
            <ac:spMk id="20" creationId="{00000000-0000-0000-0000-000000000000}"/>
          </ac:spMkLst>
        </pc:spChg>
        <pc:spChg chg="mod">
          <ac:chgData name="Mondal, Tanmay" userId="83c199d5-d146-4e16-b08e-fa47ebac23d7" providerId="ADAL" clId="{7889F8E4-3B11-44EC-BF56-408DF8153FC1}" dt="2020-07-27T05:54:12.536" v="19"/>
          <ac:spMkLst>
            <pc:docMk/>
            <pc:sldMk cId="0" sldId="281"/>
            <ac:spMk id="21" creationId="{00000000-0000-0000-0000-000000000000}"/>
          </ac:spMkLst>
        </pc:spChg>
        <pc:spChg chg="mod">
          <ac:chgData name="Mondal, Tanmay" userId="83c199d5-d146-4e16-b08e-fa47ebac23d7" providerId="ADAL" clId="{7889F8E4-3B11-44EC-BF56-408DF8153FC1}" dt="2020-07-27T05:54:12.536" v="19"/>
          <ac:spMkLst>
            <pc:docMk/>
            <pc:sldMk cId="0" sldId="281"/>
            <ac:spMk id="22" creationId="{00000000-0000-0000-0000-000000000000}"/>
          </ac:spMkLst>
        </pc:spChg>
        <pc:spChg chg="mod">
          <ac:chgData name="Mondal, Tanmay" userId="83c199d5-d146-4e16-b08e-fa47ebac23d7" providerId="ADAL" clId="{7889F8E4-3B11-44EC-BF56-408DF8153FC1}" dt="2020-07-27T05:54:12.536" v="19"/>
          <ac:spMkLst>
            <pc:docMk/>
            <pc:sldMk cId="0" sldId="281"/>
            <ac:spMk id="23" creationId="{00000000-0000-0000-0000-000000000000}"/>
          </ac:spMkLst>
        </pc:spChg>
        <pc:spChg chg="mod">
          <ac:chgData name="Mondal, Tanmay" userId="83c199d5-d146-4e16-b08e-fa47ebac23d7" providerId="ADAL" clId="{7889F8E4-3B11-44EC-BF56-408DF8153FC1}" dt="2020-07-27T05:54:12.536" v="19"/>
          <ac:spMkLst>
            <pc:docMk/>
            <pc:sldMk cId="0" sldId="281"/>
            <ac:spMk id="24" creationId="{00000000-0000-0000-0000-000000000000}"/>
          </ac:spMkLst>
        </pc:spChg>
        <pc:spChg chg="mod">
          <ac:chgData name="Mondal, Tanmay" userId="83c199d5-d146-4e16-b08e-fa47ebac23d7" providerId="ADAL" clId="{7889F8E4-3B11-44EC-BF56-408DF8153FC1}" dt="2020-07-27T05:54:12.536" v="19"/>
          <ac:spMkLst>
            <pc:docMk/>
            <pc:sldMk cId="0" sldId="281"/>
            <ac:spMk id="25" creationId="{00000000-0000-0000-0000-000000000000}"/>
          </ac:spMkLst>
        </pc:spChg>
      </pc:sldChg>
      <pc:sldChg chg="addSp delSp modSp">
        <pc:chgData name="Mondal, Tanmay" userId="83c199d5-d146-4e16-b08e-fa47ebac23d7" providerId="ADAL" clId="{7889F8E4-3B11-44EC-BF56-408DF8153FC1}" dt="2020-07-27T07:32:05.119" v="601" actId="478"/>
        <pc:sldMkLst>
          <pc:docMk/>
          <pc:sldMk cId="0" sldId="282"/>
        </pc:sldMkLst>
        <pc:spChg chg="mod">
          <ac:chgData name="Mondal, Tanmay" userId="83c199d5-d146-4e16-b08e-fa47ebac23d7" providerId="ADAL" clId="{7889F8E4-3B11-44EC-BF56-408DF8153FC1}" dt="2020-07-27T05:54:12.536" v="19"/>
          <ac:spMkLst>
            <pc:docMk/>
            <pc:sldMk cId="0" sldId="282"/>
            <ac:spMk id="2" creationId="{00000000-0000-0000-0000-000000000000}"/>
          </ac:spMkLst>
        </pc:spChg>
        <pc:spChg chg="mod">
          <ac:chgData name="Mondal, Tanmay" userId="83c199d5-d146-4e16-b08e-fa47ebac23d7" providerId="ADAL" clId="{7889F8E4-3B11-44EC-BF56-408DF8153FC1}" dt="2020-07-27T07:31:57.172" v="599" actId="108"/>
          <ac:spMkLst>
            <pc:docMk/>
            <pc:sldMk cId="0" sldId="282"/>
            <ac:spMk id="3" creationId="{00000000-0000-0000-0000-000000000000}"/>
          </ac:spMkLst>
        </pc:spChg>
        <pc:spChg chg="mod">
          <ac:chgData name="Mondal, Tanmay" userId="83c199d5-d146-4e16-b08e-fa47ebac23d7" providerId="ADAL" clId="{7889F8E4-3B11-44EC-BF56-408DF8153FC1}" dt="2020-07-27T05:54:12.536" v="19"/>
          <ac:spMkLst>
            <pc:docMk/>
            <pc:sldMk cId="0" sldId="282"/>
            <ac:spMk id="4" creationId="{00000000-0000-0000-0000-000000000000}"/>
          </ac:spMkLst>
        </pc:spChg>
        <pc:spChg chg="add del mod">
          <ac:chgData name="Mondal, Tanmay" userId="83c199d5-d146-4e16-b08e-fa47ebac23d7" providerId="ADAL" clId="{7889F8E4-3B11-44EC-BF56-408DF8153FC1}" dt="2020-07-27T07:31:01.754" v="573" actId="478"/>
          <ac:spMkLst>
            <pc:docMk/>
            <pc:sldMk cId="0" sldId="282"/>
            <ac:spMk id="5" creationId="{34A71036-857C-40E6-A0B2-054A75B151A3}"/>
          </ac:spMkLst>
        </pc:spChg>
        <pc:spChg chg="add del mod">
          <ac:chgData name="Mondal, Tanmay" userId="83c199d5-d146-4e16-b08e-fa47ebac23d7" providerId="ADAL" clId="{7889F8E4-3B11-44EC-BF56-408DF8153FC1}" dt="2020-07-27T07:30:59.346" v="572" actId="478"/>
          <ac:spMkLst>
            <pc:docMk/>
            <pc:sldMk cId="0" sldId="282"/>
            <ac:spMk id="6" creationId="{D308151A-D8D4-45F4-9DB7-8B20E04C2675}"/>
          </ac:spMkLst>
        </pc:spChg>
        <pc:spChg chg="mod">
          <ac:chgData name="Mondal, Tanmay" userId="83c199d5-d146-4e16-b08e-fa47ebac23d7" providerId="ADAL" clId="{7889F8E4-3B11-44EC-BF56-408DF8153FC1}" dt="2020-07-27T05:54:12.536" v="19"/>
          <ac:spMkLst>
            <pc:docMk/>
            <pc:sldMk cId="0" sldId="282"/>
            <ac:spMk id="7" creationId="{00000000-0000-0000-0000-000000000000}"/>
          </ac:spMkLst>
        </pc:spChg>
        <pc:spChg chg="add del mod">
          <ac:chgData name="Mondal, Tanmay" userId="83c199d5-d146-4e16-b08e-fa47ebac23d7" providerId="ADAL" clId="{7889F8E4-3B11-44EC-BF56-408DF8153FC1}" dt="2020-07-27T07:32:05.119" v="601" actId="478"/>
          <ac:spMkLst>
            <pc:docMk/>
            <pc:sldMk cId="0" sldId="282"/>
            <ac:spMk id="8" creationId="{F1CB700B-54B5-4572-9AF8-B39E5FFCDE21}"/>
          </ac:spMkLst>
        </pc:spChg>
        <pc:spChg chg="add del mod">
          <ac:chgData name="Mondal, Tanmay" userId="83c199d5-d146-4e16-b08e-fa47ebac23d7" providerId="ADAL" clId="{7889F8E4-3B11-44EC-BF56-408DF8153FC1}" dt="2020-07-27T07:32:02.034" v="600" actId="478"/>
          <ac:spMkLst>
            <pc:docMk/>
            <pc:sldMk cId="0" sldId="282"/>
            <ac:spMk id="9" creationId="{28FC3E72-490B-4A35-A8BB-5BF692B4115E}"/>
          </ac:spMkLst>
        </pc:spChg>
        <pc:spChg chg="mod">
          <ac:chgData name="Mondal, Tanmay" userId="83c199d5-d146-4e16-b08e-fa47ebac23d7" providerId="ADAL" clId="{7889F8E4-3B11-44EC-BF56-408DF8153FC1}" dt="2020-07-27T05:54:12.536" v="19"/>
          <ac:spMkLst>
            <pc:docMk/>
            <pc:sldMk cId="0" sldId="282"/>
            <ac:spMk id="12" creationId="{00000000-0000-0000-0000-000000000000}"/>
          </ac:spMkLst>
        </pc:spChg>
        <pc:spChg chg="mod">
          <ac:chgData name="Mondal, Tanmay" userId="83c199d5-d146-4e16-b08e-fa47ebac23d7" providerId="ADAL" clId="{7889F8E4-3B11-44EC-BF56-408DF8153FC1}" dt="2020-07-27T05:54:12.536" v="19"/>
          <ac:spMkLst>
            <pc:docMk/>
            <pc:sldMk cId="0" sldId="282"/>
            <ac:spMk id="13" creationId="{00000000-0000-0000-0000-000000000000}"/>
          </ac:spMkLst>
        </pc:spChg>
        <pc:spChg chg="mod">
          <ac:chgData name="Mondal, Tanmay" userId="83c199d5-d146-4e16-b08e-fa47ebac23d7" providerId="ADAL" clId="{7889F8E4-3B11-44EC-BF56-408DF8153FC1}" dt="2020-07-27T05:54:12.536" v="19"/>
          <ac:spMkLst>
            <pc:docMk/>
            <pc:sldMk cId="0" sldId="282"/>
            <ac:spMk id="14" creationId="{00000000-0000-0000-0000-000000000000}"/>
          </ac:spMkLst>
        </pc:spChg>
        <pc:spChg chg="mod">
          <ac:chgData name="Mondal, Tanmay" userId="83c199d5-d146-4e16-b08e-fa47ebac23d7" providerId="ADAL" clId="{7889F8E4-3B11-44EC-BF56-408DF8153FC1}" dt="2020-07-27T05:54:12.536" v="19"/>
          <ac:spMkLst>
            <pc:docMk/>
            <pc:sldMk cId="0" sldId="282"/>
            <ac:spMk id="15" creationId="{00000000-0000-0000-0000-000000000000}"/>
          </ac:spMkLst>
        </pc:spChg>
      </pc:sldChg>
      <pc:sldChg chg="addSp delSp modSp">
        <pc:chgData name="Mondal, Tanmay" userId="83c199d5-d146-4e16-b08e-fa47ebac23d7" providerId="ADAL" clId="{7889F8E4-3B11-44EC-BF56-408DF8153FC1}" dt="2020-07-27T07:32:16.435" v="604" actId="478"/>
        <pc:sldMkLst>
          <pc:docMk/>
          <pc:sldMk cId="0" sldId="283"/>
        </pc:sldMkLst>
        <pc:spChg chg="mod">
          <ac:chgData name="Mondal, Tanmay" userId="83c199d5-d146-4e16-b08e-fa47ebac23d7" providerId="ADAL" clId="{7889F8E4-3B11-44EC-BF56-408DF8153FC1}" dt="2020-07-27T05:54:12.536" v="19"/>
          <ac:spMkLst>
            <pc:docMk/>
            <pc:sldMk cId="0" sldId="283"/>
            <ac:spMk id="2" creationId="{00000000-0000-0000-0000-000000000000}"/>
          </ac:spMkLst>
        </pc:spChg>
        <pc:spChg chg="mod">
          <ac:chgData name="Mondal, Tanmay" userId="83c199d5-d146-4e16-b08e-fa47ebac23d7" providerId="ADAL" clId="{7889F8E4-3B11-44EC-BF56-408DF8153FC1}" dt="2020-07-27T05:54:12.536" v="19"/>
          <ac:spMkLst>
            <pc:docMk/>
            <pc:sldMk cId="0" sldId="283"/>
            <ac:spMk id="3" creationId="{00000000-0000-0000-0000-000000000000}"/>
          </ac:spMkLst>
        </pc:spChg>
        <pc:spChg chg="mod">
          <ac:chgData name="Mondal, Tanmay" userId="83c199d5-d146-4e16-b08e-fa47ebac23d7" providerId="ADAL" clId="{7889F8E4-3B11-44EC-BF56-408DF8153FC1}" dt="2020-07-27T05:54:12.536" v="19"/>
          <ac:spMkLst>
            <pc:docMk/>
            <pc:sldMk cId="0" sldId="283"/>
            <ac:spMk id="4" creationId="{00000000-0000-0000-0000-000000000000}"/>
          </ac:spMkLst>
        </pc:spChg>
        <pc:spChg chg="mod">
          <ac:chgData name="Mondal, Tanmay" userId="83c199d5-d146-4e16-b08e-fa47ebac23d7" providerId="ADAL" clId="{7889F8E4-3B11-44EC-BF56-408DF8153FC1}" dt="2020-07-27T05:54:12.536" v="19"/>
          <ac:spMkLst>
            <pc:docMk/>
            <pc:sldMk cId="0" sldId="283"/>
            <ac:spMk id="5" creationId="{00000000-0000-0000-0000-000000000000}"/>
          </ac:spMkLst>
        </pc:spChg>
        <pc:spChg chg="add del mod">
          <ac:chgData name="Mondal, Tanmay" userId="83c199d5-d146-4e16-b08e-fa47ebac23d7" providerId="ADAL" clId="{7889F8E4-3B11-44EC-BF56-408DF8153FC1}" dt="2020-07-27T07:32:16.435" v="604" actId="478"/>
          <ac:spMkLst>
            <pc:docMk/>
            <pc:sldMk cId="0" sldId="283"/>
            <ac:spMk id="6" creationId="{D86A33FF-5D42-491E-8576-99C2C73BB580}"/>
          </ac:spMkLst>
        </pc:spChg>
        <pc:spChg chg="add del mod">
          <ac:chgData name="Mondal, Tanmay" userId="83c199d5-d146-4e16-b08e-fa47ebac23d7" providerId="ADAL" clId="{7889F8E4-3B11-44EC-BF56-408DF8153FC1}" dt="2020-07-27T07:32:12.787" v="603" actId="478"/>
          <ac:spMkLst>
            <pc:docMk/>
            <pc:sldMk cId="0" sldId="283"/>
            <ac:spMk id="7" creationId="{EC584F53-B202-43DD-852A-C638B779404F}"/>
          </ac:spMkLst>
        </pc:spChg>
        <pc:spChg chg="mod">
          <ac:chgData name="Mondal, Tanmay" userId="83c199d5-d146-4e16-b08e-fa47ebac23d7" providerId="ADAL" clId="{7889F8E4-3B11-44EC-BF56-408DF8153FC1}" dt="2020-07-27T05:54:12.536" v="19"/>
          <ac:spMkLst>
            <pc:docMk/>
            <pc:sldMk cId="0" sldId="283"/>
            <ac:spMk id="17" creationId="{00000000-0000-0000-0000-000000000000}"/>
          </ac:spMkLst>
        </pc:spChg>
        <pc:spChg chg="mod">
          <ac:chgData name="Mondal, Tanmay" userId="83c199d5-d146-4e16-b08e-fa47ebac23d7" providerId="ADAL" clId="{7889F8E4-3B11-44EC-BF56-408DF8153FC1}" dt="2020-07-27T05:54:12.536" v="19"/>
          <ac:spMkLst>
            <pc:docMk/>
            <pc:sldMk cId="0" sldId="283"/>
            <ac:spMk id="19" creationId="{00000000-0000-0000-0000-000000000000}"/>
          </ac:spMkLst>
        </pc:spChg>
        <pc:spChg chg="mod">
          <ac:chgData name="Mondal, Tanmay" userId="83c199d5-d146-4e16-b08e-fa47ebac23d7" providerId="ADAL" clId="{7889F8E4-3B11-44EC-BF56-408DF8153FC1}" dt="2020-07-27T05:54:12.536" v="19"/>
          <ac:spMkLst>
            <pc:docMk/>
            <pc:sldMk cId="0" sldId="283"/>
            <ac:spMk id="21" creationId="{00000000-0000-0000-0000-000000000000}"/>
          </ac:spMkLst>
        </pc:spChg>
        <pc:spChg chg="mod">
          <ac:chgData name="Mondal, Tanmay" userId="83c199d5-d146-4e16-b08e-fa47ebac23d7" providerId="ADAL" clId="{7889F8E4-3B11-44EC-BF56-408DF8153FC1}" dt="2020-07-27T05:54:12.536" v="19"/>
          <ac:spMkLst>
            <pc:docMk/>
            <pc:sldMk cId="0" sldId="283"/>
            <ac:spMk id="22" creationId="{00000000-0000-0000-0000-000000000000}"/>
          </ac:spMkLst>
        </pc:spChg>
        <pc:spChg chg="mod">
          <ac:chgData name="Mondal, Tanmay" userId="83c199d5-d146-4e16-b08e-fa47ebac23d7" providerId="ADAL" clId="{7889F8E4-3B11-44EC-BF56-408DF8153FC1}" dt="2020-07-27T05:54:12.536" v="19"/>
          <ac:spMkLst>
            <pc:docMk/>
            <pc:sldMk cId="0" sldId="283"/>
            <ac:spMk id="23" creationId="{00000000-0000-0000-0000-000000000000}"/>
          </ac:spMkLst>
        </pc:spChg>
        <pc:spChg chg="mod">
          <ac:chgData name="Mondal, Tanmay" userId="83c199d5-d146-4e16-b08e-fa47ebac23d7" providerId="ADAL" clId="{7889F8E4-3B11-44EC-BF56-408DF8153FC1}" dt="2020-07-27T05:54:12.536" v="19"/>
          <ac:spMkLst>
            <pc:docMk/>
            <pc:sldMk cId="0" sldId="283"/>
            <ac:spMk id="24" creationId="{00000000-0000-0000-0000-000000000000}"/>
          </ac:spMkLst>
        </pc:spChg>
        <pc:spChg chg="mod">
          <ac:chgData name="Mondal, Tanmay" userId="83c199d5-d146-4e16-b08e-fa47ebac23d7" providerId="ADAL" clId="{7889F8E4-3B11-44EC-BF56-408DF8153FC1}" dt="2020-07-27T05:54:12.536" v="19"/>
          <ac:spMkLst>
            <pc:docMk/>
            <pc:sldMk cId="0" sldId="283"/>
            <ac:spMk id="25" creationId="{00000000-0000-0000-0000-000000000000}"/>
          </ac:spMkLst>
        </pc:spChg>
      </pc:sldChg>
      <pc:sldChg chg="addSp delSp modSp">
        <pc:chgData name="Mondal, Tanmay" userId="83c199d5-d146-4e16-b08e-fa47ebac23d7" providerId="ADAL" clId="{7889F8E4-3B11-44EC-BF56-408DF8153FC1}" dt="2020-07-27T07:32:31.654" v="607" actId="478"/>
        <pc:sldMkLst>
          <pc:docMk/>
          <pc:sldMk cId="0" sldId="285"/>
        </pc:sldMkLst>
        <pc:spChg chg="mod">
          <ac:chgData name="Mondal, Tanmay" userId="83c199d5-d146-4e16-b08e-fa47ebac23d7" providerId="ADAL" clId="{7889F8E4-3B11-44EC-BF56-408DF8153FC1}" dt="2020-07-27T05:54:12.536" v="19"/>
          <ac:spMkLst>
            <pc:docMk/>
            <pc:sldMk cId="0" sldId="285"/>
            <ac:spMk id="2" creationId="{00000000-0000-0000-0000-000000000000}"/>
          </ac:spMkLst>
        </pc:spChg>
        <pc:spChg chg="mod">
          <ac:chgData name="Mondal, Tanmay" userId="83c199d5-d146-4e16-b08e-fa47ebac23d7" providerId="ADAL" clId="{7889F8E4-3B11-44EC-BF56-408DF8153FC1}" dt="2020-07-27T05:54:12.536" v="19"/>
          <ac:spMkLst>
            <pc:docMk/>
            <pc:sldMk cId="0" sldId="285"/>
            <ac:spMk id="3" creationId="{00000000-0000-0000-0000-000000000000}"/>
          </ac:spMkLst>
        </pc:spChg>
        <pc:spChg chg="mod">
          <ac:chgData name="Mondal, Tanmay" userId="83c199d5-d146-4e16-b08e-fa47ebac23d7" providerId="ADAL" clId="{7889F8E4-3B11-44EC-BF56-408DF8153FC1}" dt="2020-07-27T05:54:12.536" v="19"/>
          <ac:spMkLst>
            <pc:docMk/>
            <pc:sldMk cId="0" sldId="285"/>
            <ac:spMk id="4" creationId="{00000000-0000-0000-0000-000000000000}"/>
          </ac:spMkLst>
        </pc:spChg>
        <pc:spChg chg="mod">
          <ac:chgData name="Mondal, Tanmay" userId="83c199d5-d146-4e16-b08e-fa47ebac23d7" providerId="ADAL" clId="{7889F8E4-3B11-44EC-BF56-408DF8153FC1}" dt="2020-07-27T05:54:12.536" v="19"/>
          <ac:spMkLst>
            <pc:docMk/>
            <pc:sldMk cId="0" sldId="285"/>
            <ac:spMk id="5" creationId="{00000000-0000-0000-0000-000000000000}"/>
          </ac:spMkLst>
        </pc:spChg>
        <pc:spChg chg="mod">
          <ac:chgData name="Mondal, Tanmay" userId="83c199d5-d146-4e16-b08e-fa47ebac23d7" providerId="ADAL" clId="{7889F8E4-3B11-44EC-BF56-408DF8153FC1}" dt="2020-07-27T05:54:12.536" v="19"/>
          <ac:spMkLst>
            <pc:docMk/>
            <pc:sldMk cId="0" sldId="285"/>
            <ac:spMk id="6" creationId="{00000000-0000-0000-0000-000000000000}"/>
          </ac:spMkLst>
        </pc:spChg>
        <pc:spChg chg="mod">
          <ac:chgData name="Mondal, Tanmay" userId="83c199d5-d146-4e16-b08e-fa47ebac23d7" providerId="ADAL" clId="{7889F8E4-3B11-44EC-BF56-408DF8153FC1}" dt="2020-07-27T05:54:12.536" v="19"/>
          <ac:spMkLst>
            <pc:docMk/>
            <pc:sldMk cId="0" sldId="285"/>
            <ac:spMk id="7" creationId="{00000000-0000-0000-0000-000000000000}"/>
          </ac:spMkLst>
        </pc:spChg>
        <pc:spChg chg="mod">
          <ac:chgData name="Mondal, Tanmay" userId="83c199d5-d146-4e16-b08e-fa47ebac23d7" providerId="ADAL" clId="{7889F8E4-3B11-44EC-BF56-408DF8153FC1}" dt="2020-07-27T05:54:12.536" v="19"/>
          <ac:spMkLst>
            <pc:docMk/>
            <pc:sldMk cId="0" sldId="285"/>
            <ac:spMk id="8" creationId="{00000000-0000-0000-0000-000000000000}"/>
          </ac:spMkLst>
        </pc:spChg>
        <pc:spChg chg="mod">
          <ac:chgData name="Mondal, Tanmay" userId="83c199d5-d146-4e16-b08e-fa47ebac23d7" providerId="ADAL" clId="{7889F8E4-3B11-44EC-BF56-408DF8153FC1}" dt="2020-07-27T05:54:12.536" v="19"/>
          <ac:spMkLst>
            <pc:docMk/>
            <pc:sldMk cId="0" sldId="285"/>
            <ac:spMk id="9" creationId="{00000000-0000-0000-0000-000000000000}"/>
          </ac:spMkLst>
        </pc:spChg>
        <pc:spChg chg="mod">
          <ac:chgData name="Mondal, Tanmay" userId="83c199d5-d146-4e16-b08e-fa47ebac23d7" providerId="ADAL" clId="{7889F8E4-3B11-44EC-BF56-408DF8153FC1}" dt="2020-07-27T05:54:12.536" v="19"/>
          <ac:spMkLst>
            <pc:docMk/>
            <pc:sldMk cId="0" sldId="285"/>
            <ac:spMk id="10" creationId="{00000000-0000-0000-0000-000000000000}"/>
          </ac:spMkLst>
        </pc:spChg>
        <pc:spChg chg="mod">
          <ac:chgData name="Mondal, Tanmay" userId="83c199d5-d146-4e16-b08e-fa47ebac23d7" providerId="ADAL" clId="{7889F8E4-3B11-44EC-BF56-408DF8153FC1}" dt="2020-07-27T05:54:12.536" v="19"/>
          <ac:spMkLst>
            <pc:docMk/>
            <pc:sldMk cId="0" sldId="285"/>
            <ac:spMk id="11" creationId="{00000000-0000-0000-0000-000000000000}"/>
          </ac:spMkLst>
        </pc:spChg>
        <pc:spChg chg="mod">
          <ac:chgData name="Mondal, Tanmay" userId="83c199d5-d146-4e16-b08e-fa47ebac23d7" providerId="ADAL" clId="{7889F8E4-3B11-44EC-BF56-408DF8153FC1}" dt="2020-07-27T05:54:12.536" v="19"/>
          <ac:spMkLst>
            <pc:docMk/>
            <pc:sldMk cId="0" sldId="285"/>
            <ac:spMk id="12" creationId="{00000000-0000-0000-0000-000000000000}"/>
          </ac:spMkLst>
        </pc:spChg>
        <pc:spChg chg="mod">
          <ac:chgData name="Mondal, Tanmay" userId="83c199d5-d146-4e16-b08e-fa47ebac23d7" providerId="ADAL" clId="{7889F8E4-3B11-44EC-BF56-408DF8153FC1}" dt="2020-07-27T05:54:12.536" v="19"/>
          <ac:spMkLst>
            <pc:docMk/>
            <pc:sldMk cId="0" sldId="285"/>
            <ac:spMk id="13" creationId="{00000000-0000-0000-0000-000000000000}"/>
          </ac:spMkLst>
        </pc:spChg>
        <pc:spChg chg="mod">
          <ac:chgData name="Mondal, Tanmay" userId="83c199d5-d146-4e16-b08e-fa47ebac23d7" providerId="ADAL" clId="{7889F8E4-3B11-44EC-BF56-408DF8153FC1}" dt="2020-07-27T05:54:12.536" v="19"/>
          <ac:spMkLst>
            <pc:docMk/>
            <pc:sldMk cId="0" sldId="285"/>
            <ac:spMk id="14" creationId="{00000000-0000-0000-0000-000000000000}"/>
          </ac:spMkLst>
        </pc:spChg>
        <pc:spChg chg="mod">
          <ac:chgData name="Mondal, Tanmay" userId="83c199d5-d146-4e16-b08e-fa47ebac23d7" providerId="ADAL" clId="{7889F8E4-3B11-44EC-BF56-408DF8153FC1}" dt="2020-07-27T05:54:12.536" v="19"/>
          <ac:spMkLst>
            <pc:docMk/>
            <pc:sldMk cId="0" sldId="285"/>
            <ac:spMk id="15" creationId="{00000000-0000-0000-0000-000000000000}"/>
          </ac:spMkLst>
        </pc:spChg>
        <pc:spChg chg="mod">
          <ac:chgData name="Mondal, Tanmay" userId="83c199d5-d146-4e16-b08e-fa47ebac23d7" providerId="ADAL" clId="{7889F8E4-3B11-44EC-BF56-408DF8153FC1}" dt="2020-07-27T05:54:12.536" v="19"/>
          <ac:spMkLst>
            <pc:docMk/>
            <pc:sldMk cId="0" sldId="285"/>
            <ac:spMk id="16" creationId="{00000000-0000-0000-0000-000000000000}"/>
          </ac:spMkLst>
        </pc:spChg>
        <pc:spChg chg="mod">
          <ac:chgData name="Mondal, Tanmay" userId="83c199d5-d146-4e16-b08e-fa47ebac23d7" providerId="ADAL" clId="{7889F8E4-3B11-44EC-BF56-408DF8153FC1}" dt="2020-07-27T05:54:12.536" v="19"/>
          <ac:spMkLst>
            <pc:docMk/>
            <pc:sldMk cId="0" sldId="285"/>
            <ac:spMk id="17" creationId="{00000000-0000-0000-0000-000000000000}"/>
          </ac:spMkLst>
        </pc:spChg>
        <pc:spChg chg="mod">
          <ac:chgData name="Mondal, Tanmay" userId="83c199d5-d146-4e16-b08e-fa47ebac23d7" providerId="ADAL" clId="{7889F8E4-3B11-44EC-BF56-408DF8153FC1}" dt="2020-07-27T05:54:12.536" v="19"/>
          <ac:spMkLst>
            <pc:docMk/>
            <pc:sldMk cId="0" sldId="285"/>
            <ac:spMk id="18" creationId="{00000000-0000-0000-0000-000000000000}"/>
          </ac:spMkLst>
        </pc:spChg>
        <pc:spChg chg="mod">
          <ac:chgData name="Mondal, Tanmay" userId="83c199d5-d146-4e16-b08e-fa47ebac23d7" providerId="ADAL" clId="{7889F8E4-3B11-44EC-BF56-408DF8153FC1}" dt="2020-07-27T05:54:12.536" v="19"/>
          <ac:spMkLst>
            <pc:docMk/>
            <pc:sldMk cId="0" sldId="285"/>
            <ac:spMk id="19" creationId="{00000000-0000-0000-0000-000000000000}"/>
          </ac:spMkLst>
        </pc:spChg>
        <pc:spChg chg="mod">
          <ac:chgData name="Mondal, Tanmay" userId="83c199d5-d146-4e16-b08e-fa47ebac23d7" providerId="ADAL" clId="{7889F8E4-3B11-44EC-BF56-408DF8153FC1}" dt="2020-07-27T05:54:12.536" v="19"/>
          <ac:spMkLst>
            <pc:docMk/>
            <pc:sldMk cId="0" sldId="285"/>
            <ac:spMk id="20" creationId="{00000000-0000-0000-0000-000000000000}"/>
          </ac:spMkLst>
        </pc:spChg>
        <pc:spChg chg="mod">
          <ac:chgData name="Mondal, Tanmay" userId="83c199d5-d146-4e16-b08e-fa47ebac23d7" providerId="ADAL" clId="{7889F8E4-3B11-44EC-BF56-408DF8153FC1}" dt="2020-07-27T05:54:12.536" v="19"/>
          <ac:spMkLst>
            <pc:docMk/>
            <pc:sldMk cId="0" sldId="285"/>
            <ac:spMk id="21" creationId="{00000000-0000-0000-0000-000000000000}"/>
          </ac:spMkLst>
        </pc:spChg>
        <pc:spChg chg="mod">
          <ac:chgData name="Mondal, Tanmay" userId="83c199d5-d146-4e16-b08e-fa47ebac23d7" providerId="ADAL" clId="{7889F8E4-3B11-44EC-BF56-408DF8153FC1}" dt="2020-07-27T05:54:12.536" v="19"/>
          <ac:spMkLst>
            <pc:docMk/>
            <pc:sldMk cId="0" sldId="285"/>
            <ac:spMk id="22" creationId="{00000000-0000-0000-0000-000000000000}"/>
          </ac:spMkLst>
        </pc:spChg>
        <pc:spChg chg="mod">
          <ac:chgData name="Mondal, Tanmay" userId="83c199d5-d146-4e16-b08e-fa47ebac23d7" providerId="ADAL" clId="{7889F8E4-3B11-44EC-BF56-408DF8153FC1}" dt="2020-07-27T05:54:12.536" v="19"/>
          <ac:spMkLst>
            <pc:docMk/>
            <pc:sldMk cId="0" sldId="285"/>
            <ac:spMk id="23" creationId="{00000000-0000-0000-0000-000000000000}"/>
          </ac:spMkLst>
        </pc:spChg>
        <pc:spChg chg="mod">
          <ac:chgData name="Mondal, Tanmay" userId="83c199d5-d146-4e16-b08e-fa47ebac23d7" providerId="ADAL" clId="{7889F8E4-3B11-44EC-BF56-408DF8153FC1}" dt="2020-07-27T05:54:12.536" v="19"/>
          <ac:spMkLst>
            <pc:docMk/>
            <pc:sldMk cId="0" sldId="285"/>
            <ac:spMk id="24" creationId="{00000000-0000-0000-0000-000000000000}"/>
          </ac:spMkLst>
        </pc:spChg>
        <pc:spChg chg="add del mod">
          <ac:chgData name="Mondal, Tanmay" userId="83c199d5-d146-4e16-b08e-fa47ebac23d7" providerId="ADAL" clId="{7889F8E4-3B11-44EC-BF56-408DF8153FC1}" dt="2020-07-27T07:32:31.654" v="607" actId="478"/>
          <ac:spMkLst>
            <pc:docMk/>
            <pc:sldMk cId="0" sldId="285"/>
            <ac:spMk id="25" creationId="{3C5C84E3-1C50-405D-BBD5-4F6A9136B096}"/>
          </ac:spMkLst>
        </pc:spChg>
        <pc:spChg chg="mod">
          <ac:chgData name="Mondal, Tanmay" userId="83c199d5-d146-4e16-b08e-fa47ebac23d7" providerId="ADAL" clId="{7889F8E4-3B11-44EC-BF56-408DF8153FC1}" dt="2020-07-27T05:54:12.536" v="19"/>
          <ac:spMkLst>
            <pc:docMk/>
            <pc:sldMk cId="0" sldId="285"/>
            <ac:spMk id="26" creationId="{00000000-0000-0000-0000-000000000000}"/>
          </ac:spMkLst>
        </pc:spChg>
        <pc:spChg chg="mod">
          <ac:chgData name="Mondal, Tanmay" userId="83c199d5-d146-4e16-b08e-fa47ebac23d7" providerId="ADAL" clId="{7889F8E4-3B11-44EC-BF56-408DF8153FC1}" dt="2020-07-27T05:54:12.536" v="19"/>
          <ac:spMkLst>
            <pc:docMk/>
            <pc:sldMk cId="0" sldId="285"/>
            <ac:spMk id="27" creationId="{00000000-0000-0000-0000-000000000000}"/>
          </ac:spMkLst>
        </pc:spChg>
        <pc:spChg chg="mod">
          <ac:chgData name="Mondal, Tanmay" userId="83c199d5-d146-4e16-b08e-fa47ebac23d7" providerId="ADAL" clId="{7889F8E4-3B11-44EC-BF56-408DF8153FC1}" dt="2020-07-27T05:54:12.536" v="19"/>
          <ac:spMkLst>
            <pc:docMk/>
            <pc:sldMk cId="0" sldId="285"/>
            <ac:spMk id="28" creationId="{00000000-0000-0000-0000-000000000000}"/>
          </ac:spMkLst>
        </pc:spChg>
        <pc:spChg chg="mod">
          <ac:chgData name="Mondal, Tanmay" userId="83c199d5-d146-4e16-b08e-fa47ebac23d7" providerId="ADAL" clId="{7889F8E4-3B11-44EC-BF56-408DF8153FC1}" dt="2020-07-27T05:54:12.536" v="19"/>
          <ac:spMkLst>
            <pc:docMk/>
            <pc:sldMk cId="0" sldId="285"/>
            <ac:spMk id="29" creationId="{00000000-0000-0000-0000-000000000000}"/>
          </ac:spMkLst>
        </pc:spChg>
        <pc:spChg chg="mod">
          <ac:chgData name="Mondal, Tanmay" userId="83c199d5-d146-4e16-b08e-fa47ebac23d7" providerId="ADAL" clId="{7889F8E4-3B11-44EC-BF56-408DF8153FC1}" dt="2020-07-27T05:54:12.536" v="19"/>
          <ac:spMkLst>
            <pc:docMk/>
            <pc:sldMk cId="0" sldId="285"/>
            <ac:spMk id="30" creationId="{00000000-0000-0000-0000-000000000000}"/>
          </ac:spMkLst>
        </pc:spChg>
        <pc:spChg chg="mod">
          <ac:chgData name="Mondal, Tanmay" userId="83c199d5-d146-4e16-b08e-fa47ebac23d7" providerId="ADAL" clId="{7889F8E4-3B11-44EC-BF56-408DF8153FC1}" dt="2020-07-27T05:54:12.536" v="19"/>
          <ac:spMkLst>
            <pc:docMk/>
            <pc:sldMk cId="0" sldId="285"/>
            <ac:spMk id="31" creationId="{00000000-0000-0000-0000-000000000000}"/>
          </ac:spMkLst>
        </pc:spChg>
        <pc:spChg chg="mod">
          <ac:chgData name="Mondal, Tanmay" userId="83c199d5-d146-4e16-b08e-fa47ebac23d7" providerId="ADAL" clId="{7889F8E4-3B11-44EC-BF56-408DF8153FC1}" dt="2020-07-27T05:54:12.536" v="19"/>
          <ac:spMkLst>
            <pc:docMk/>
            <pc:sldMk cId="0" sldId="285"/>
            <ac:spMk id="32" creationId="{00000000-0000-0000-0000-000000000000}"/>
          </ac:spMkLst>
        </pc:spChg>
        <pc:spChg chg="mod">
          <ac:chgData name="Mondal, Tanmay" userId="83c199d5-d146-4e16-b08e-fa47ebac23d7" providerId="ADAL" clId="{7889F8E4-3B11-44EC-BF56-408DF8153FC1}" dt="2020-07-27T05:54:12.536" v="19"/>
          <ac:spMkLst>
            <pc:docMk/>
            <pc:sldMk cId="0" sldId="285"/>
            <ac:spMk id="33" creationId="{00000000-0000-0000-0000-000000000000}"/>
          </ac:spMkLst>
        </pc:spChg>
        <pc:spChg chg="mod">
          <ac:chgData name="Mondal, Tanmay" userId="83c199d5-d146-4e16-b08e-fa47ebac23d7" providerId="ADAL" clId="{7889F8E4-3B11-44EC-BF56-408DF8153FC1}" dt="2020-07-27T05:54:12.536" v="19"/>
          <ac:spMkLst>
            <pc:docMk/>
            <pc:sldMk cId="0" sldId="285"/>
            <ac:spMk id="34" creationId="{00000000-0000-0000-0000-000000000000}"/>
          </ac:spMkLst>
        </pc:spChg>
        <pc:spChg chg="mod">
          <ac:chgData name="Mondal, Tanmay" userId="83c199d5-d146-4e16-b08e-fa47ebac23d7" providerId="ADAL" clId="{7889F8E4-3B11-44EC-BF56-408DF8153FC1}" dt="2020-07-27T05:54:12.536" v="19"/>
          <ac:spMkLst>
            <pc:docMk/>
            <pc:sldMk cId="0" sldId="285"/>
            <ac:spMk id="35" creationId="{00000000-0000-0000-0000-000000000000}"/>
          </ac:spMkLst>
        </pc:spChg>
        <pc:spChg chg="mod">
          <ac:chgData name="Mondal, Tanmay" userId="83c199d5-d146-4e16-b08e-fa47ebac23d7" providerId="ADAL" clId="{7889F8E4-3B11-44EC-BF56-408DF8153FC1}" dt="2020-07-27T05:54:12.536" v="19"/>
          <ac:spMkLst>
            <pc:docMk/>
            <pc:sldMk cId="0" sldId="285"/>
            <ac:spMk id="36" creationId="{00000000-0000-0000-0000-000000000000}"/>
          </ac:spMkLst>
        </pc:spChg>
        <pc:spChg chg="mod">
          <ac:chgData name="Mondal, Tanmay" userId="83c199d5-d146-4e16-b08e-fa47ebac23d7" providerId="ADAL" clId="{7889F8E4-3B11-44EC-BF56-408DF8153FC1}" dt="2020-07-27T05:54:12.536" v="19"/>
          <ac:spMkLst>
            <pc:docMk/>
            <pc:sldMk cId="0" sldId="285"/>
            <ac:spMk id="37" creationId="{00000000-0000-0000-0000-000000000000}"/>
          </ac:spMkLst>
        </pc:spChg>
        <pc:spChg chg="mod">
          <ac:chgData name="Mondal, Tanmay" userId="83c199d5-d146-4e16-b08e-fa47ebac23d7" providerId="ADAL" clId="{7889F8E4-3B11-44EC-BF56-408DF8153FC1}" dt="2020-07-27T05:54:12.536" v="19"/>
          <ac:spMkLst>
            <pc:docMk/>
            <pc:sldMk cId="0" sldId="285"/>
            <ac:spMk id="38" creationId="{00000000-0000-0000-0000-000000000000}"/>
          </ac:spMkLst>
        </pc:spChg>
        <pc:spChg chg="mod">
          <ac:chgData name="Mondal, Tanmay" userId="83c199d5-d146-4e16-b08e-fa47ebac23d7" providerId="ADAL" clId="{7889F8E4-3B11-44EC-BF56-408DF8153FC1}" dt="2020-07-27T05:54:12.536" v="19"/>
          <ac:spMkLst>
            <pc:docMk/>
            <pc:sldMk cId="0" sldId="285"/>
            <ac:spMk id="39" creationId="{00000000-0000-0000-0000-000000000000}"/>
          </ac:spMkLst>
        </pc:spChg>
        <pc:spChg chg="add del mod">
          <ac:chgData name="Mondal, Tanmay" userId="83c199d5-d146-4e16-b08e-fa47ebac23d7" providerId="ADAL" clId="{7889F8E4-3B11-44EC-BF56-408DF8153FC1}" dt="2020-07-27T07:32:27.520" v="606" actId="478"/>
          <ac:spMkLst>
            <pc:docMk/>
            <pc:sldMk cId="0" sldId="285"/>
            <ac:spMk id="40" creationId="{43C91009-E96A-4A1B-BC00-0B5DF68D2F93}"/>
          </ac:spMkLst>
        </pc:spChg>
        <pc:spChg chg="mod">
          <ac:chgData name="Mondal, Tanmay" userId="83c199d5-d146-4e16-b08e-fa47ebac23d7" providerId="ADAL" clId="{7889F8E4-3B11-44EC-BF56-408DF8153FC1}" dt="2020-07-27T05:54:12.536" v="19"/>
          <ac:spMkLst>
            <pc:docMk/>
            <pc:sldMk cId="0" sldId="285"/>
            <ac:spMk id="42" creationId="{00000000-0000-0000-0000-000000000000}"/>
          </ac:spMkLst>
        </pc:spChg>
        <pc:spChg chg="mod">
          <ac:chgData name="Mondal, Tanmay" userId="83c199d5-d146-4e16-b08e-fa47ebac23d7" providerId="ADAL" clId="{7889F8E4-3B11-44EC-BF56-408DF8153FC1}" dt="2020-07-27T05:54:12.536" v="19"/>
          <ac:spMkLst>
            <pc:docMk/>
            <pc:sldMk cId="0" sldId="285"/>
            <ac:spMk id="43" creationId="{00000000-0000-0000-0000-000000000000}"/>
          </ac:spMkLst>
        </pc:spChg>
        <pc:spChg chg="mod">
          <ac:chgData name="Mondal, Tanmay" userId="83c199d5-d146-4e16-b08e-fa47ebac23d7" providerId="ADAL" clId="{7889F8E4-3B11-44EC-BF56-408DF8153FC1}" dt="2020-07-27T05:54:12.536" v="19"/>
          <ac:spMkLst>
            <pc:docMk/>
            <pc:sldMk cId="0" sldId="285"/>
            <ac:spMk id="44" creationId="{00000000-0000-0000-0000-000000000000}"/>
          </ac:spMkLst>
        </pc:spChg>
        <pc:spChg chg="mod">
          <ac:chgData name="Mondal, Tanmay" userId="83c199d5-d146-4e16-b08e-fa47ebac23d7" providerId="ADAL" clId="{7889F8E4-3B11-44EC-BF56-408DF8153FC1}" dt="2020-07-27T05:54:12.536" v="19"/>
          <ac:spMkLst>
            <pc:docMk/>
            <pc:sldMk cId="0" sldId="285"/>
            <ac:spMk id="45" creationId="{00000000-0000-0000-0000-000000000000}"/>
          </ac:spMkLst>
        </pc:spChg>
        <pc:spChg chg="mod">
          <ac:chgData name="Mondal, Tanmay" userId="83c199d5-d146-4e16-b08e-fa47ebac23d7" providerId="ADAL" clId="{7889F8E4-3B11-44EC-BF56-408DF8153FC1}" dt="2020-07-27T05:54:12.536" v="19"/>
          <ac:spMkLst>
            <pc:docMk/>
            <pc:sldMk cId="0" sldId="285"/>
            <ac:spMk id="46" creationId="{00000000-0000-0000-0000-000000000000}"/>
          </ac:spMkLst>
        </pc:spChg>
        <pc:spChg chg="mod">
          <ac:chgData name="Mondal, Tanmay" userId="83c199d5-d146-4e16-b08e-fa47ebac23d7" providerId="ADAL" clId="{7889F8E4-3B11-44EC-BF56-408DF8153FC1}" dt="2020-07-27T05:54:12.536" v="19"/>
          <ac:spMkLst>
            <pc:docMk/>
            <pc:sldMk cId="0" sldId="285"/>
            <ac:spMk id="47" creationId="{00000000-0000-0000-0000-000000000000}"/>
          </ac:spMkLst>
        </pc:spChg>
        <pc:spChg chg="mod">
          <ac:chgData name="Mondal, Tanmay" userId="83c199d5-d146-4e16-b08e-fa47ebac23d7" providerId="ADAL" clId="{7889F8E4-3B11-44EC-BF56-408DF8153FC1}" dt="2020-07-27T05:54:12.536" v="19"/>
          <ac:spMkLst>
            <pc:docMk/>
            <pc:sldMk cId="0" sldId="285"/>
            <ac:spMk id="48" creationId="{00000000-0000-0000-0000-000000000000}"/>
          </ac:spMkLst>
        </pc:spChg>
        <pc:spChg chg="mod">
          <ac:chgData name="Mondal, Tanmay" userId="83c199d5-d146-4e16-b08e-fa47ebac23d7" providerId="ADAL" clId="{7889F8E4-3B11-44EC-BF56-408DF8153FC1}" dt="2020-07-27T05:54:12.536" v="19"/>
          <ac:spMkLst>
            <pc:docMk/>
            <pc:sldMk cId="0" sldId="285"/>
            <ac:spMk id="49" creationId="{00000000-0000-0000-0000-000000000000}"/>
          </ac:spMkLst>
        </pc:spChg>
        <pc:spChg chg="mod">
          <ac:chgData name="Mondal, Tanmay" userId="83c199d5-d146-4e16-b08e-fa47ebac23d7" providerId="ADAL" clId="{7889F8E4-3B11-44EC-BF56-408DF8153FC1}" dt="2020-07-27T05:54:12.536" v="19"/>
          <ac:spMkLst>
            <pc:docMk/>
            <pc:sldMk cId="0" sldId="285"/>
            <ac:spMk id="50" creationId="{00000000-0000-0000-0000-000000000000}"/>
          </ac:spMkLst>
        </pc:spChg>
        <pc:spChg chg="mod">
          <ac:chgData name="Mondal, Tanmay" userId="83c199d5-d146-4e16-b08e-fa47ebac23d7" providerId="ADAL" clId="{7889F8E4-3B11-44EC-BF56-408DF8153FC1}" dt="2020-07-27T05:54:12.536" v="19"/>
          <ac:spMkLst>
            <pc:docMk/>
            <pc:sldMk cId="0" sldId="285"/>
            <ac:spMk id="51" creationId="{00000000-0000-0000-0000-000000000000}"/>
          </ac:spMkLst>
        </pc:spChg>
        <pc:spChg chg="mod">
          <ac:chgData name="Mondal, Tanmay" userId="83c199d5-d146-4e16-b08e-fa47ebac23d7" providerId="ADAL" clId="{7889F8E4-3B11-44EC-BF56-408DF8153FC1}" dt="2020-07-27T05:54:12.536" v="19"/>
          <ac:spMkLst>
            <pc:docMk/>
            <pc:sldMk cId="0" sldId="285"/>
            <ac:spMk id="52" creationId="{00000000-0000-0000-0000-000000000000}"/>
          </ac:spMkLst>
        </pc:spChg>
        <pc:spChg chg="mod">
          <ac:chgData name="Mondal, Tanmay" userId="83c199d5-d146-4e16-b08e-fa47ebac23d7" providerId="ADAL" clId="{7889F8E4-3B11-44EC-BF56-408DF8153FC1}" dt="2020-07-27T05:54:12.536" v="19"/>
          <ac:spMkLst>
            <pc:docMk/>
            <pc:sldMk cId="0" sldId="285"/>
            <ac:spMk id="54" creationId="{00000000-0000-0000-0000-000000000000}"/>
          </ac:spMkLst>
        </pc:spChg>
        <pc:spChg chg="mod">
          <ac:chgData name="Mondal, Tanmay" userId="83c199d5-d146-4e16-b08e-fa47ebac23d7" providerId="ADAL" clId="{7889F8E4-3B11-44EC-BF56-408DF8153FC1}" dt="2020-07-27T05:54:12.536" v="19"/>
          <ac:spMkLst>
            <pc:docMk/>
            <pc:sldMk cId="0" sldId="285"/>
            <ac:spMk id="55" creationId="{00000000-0000-0000-0000-000000000000}"/>
          </ac:spMkLst>
        </pc:spChg>
        <pc:spChg chg="mod">
          <ac:chgData name="Mondal, Tanmay" userId="83c199d5-d146-4e16-b08e-fa47ebac23d7" providerId="ADAL" clId="{7889F8E4-3B11-44EC-BF56-408DF8153FC1}" dt="2020-07-27T05:54:12.536" v="19"/>
          <ac:spMkLst>
            <pc:docMk/>
            <pc:sldMk cId="0" sldId="285"/>
            <ac:spMk id="56" creationId="{00000000-0000-0000-0000-000000000000}"/>
          </ac:spMkLst>
        </pc:spChg>
        <pc:spChg chg="mod">
          <ac:chgData name="Mondal, Tanmay" userId="83c199d5-d146-4e16-b08e-fa47ebac23d7" providerId="ADAL" clId="{7889F8E4-3B11-44EC-BF56-408DF8153FC1}" dt="2020-07-27T05:54:12.536" v="19"/>
          <ac:spMkLst>
            <pc:docMk/>
            <pc:sldMk cId="0" sldId="285"/>
            <ac:spMk id="57" creationId="{00000000-0000-0000-0000-000000000000}"/>
          </ac:spMkLst>
        </pc:spChg>
        <pc:spChg chg="mod">
          <ac:chgData name="Mondal, Tanmay" userId="83c199d5-d146-4e16-b08e-fa47ebac23d7" providerId="ADAL" clId="{7889F8E4-3B11-44EC-BF56-408DF8153FC1}" dt="2020-07-27T05:54:12.536" v="19"/>
          <ac:spMkLst>
            <pc:docMk/>
            <pc:sldMk cId="0" sldId="285"/>
            <ac:spMk id="58" creationId="{00000000-0000-0000-0000-000000000000}"/>
          </ac:spMkLst>
        </pc:spChg>
        <pc:spChg chg="mod">
          <ac:chgData name="Mondal, Tanmay" userId="83c199d5-d146-4e16-b08e-fa47ebac23d7" providerId="ADAL" clId="{7889F8E4-3B11-44EC-BF56-408DF8153FC1}" dt="2020-07-27T05:54:12.536" v="19"/>
          <ac:spMkLst>
            <pc:docMk/>
            <pc:sldMk cId="0" sldId="285"/>
            <ac:spMk id="59" creationId="{00000000-0000-0000-0000-000000000000}"/>
          </ac:spMkLst>
        </pc:spChg>
        <pc:spChg chg="mod">
          <ac:chgData name="Mondal, Tanmay" userId="83c199d5-d146-4e16-b08e-fa47ebac23d7" providerId="ADAL" clId="{7889F8E4-3B11-44EC-BF56-408DF8153FC1}" dt="2020-07-27T05:54:12.536" v="19"/>
          <ac:spMkLst>
            <pc:docMk/>
            <pc:sldMk cId="0" sldId="285"/>
            <ac:spMk id="60" creationId="{00000000-0000-0000-0000-000000000000}"/>
          </ac:spMkLst>
        </pc:spChg>
        <pc:spChg chg="mod">
          <ac:chgData name="Mondal, Tanmay" userId="83c199d5-d146-4e16-b08e-fa47ebac23d7" providerId="ADAL" clId="{7889F8E4-3B11-44EC-BF56-408DF8153FC1}" dt="2020-07-27T05:54:12.536" v="19"/>
          <ac:spMkLst>
            <pc:docMk/>
            <pc:sldMk cId="0" sldId="285"/>
            <ac:spMk id="61" creationId="{00000000-0000-0000-0000-000000000000}"/>
          </ac:spMkLst>
        </pc:spChg>
        <pc:spChg chg="mod">
          <ac:chgData name="Mondal, Tanmay" userId="83c199d5-d146-4e16-b08e-fa47ebac23d7" providerId="ADAL" clId="{7889F8E4-3B11-44EC-BF56-408DF8153FC1}" dt="2020-07-27T05:54:12.536" v="19"/>
          <ac:spMkLst>
            <pc:docMk/>
            <pc:sldMk cId="0" sldId="285"/>
            <ac:spMk id="62" creationId="{00000000-0000-0000-0000-000000000000}"/>
          </ac:spMkLst>
        </pc:spChg>
        <pc:spChg chg="mod">
          <ac:chgData name="Mondal, Tanmay" userId="83c199d5-d146-4e16-b08e-fa47ebac23d7" providerId="ADAL" clId="{7889F8E4-3B11-44EC-BF56-408DF8153FC1}" dt="2020-07-27T05:54:12.536" v="19"/>
          <ac:spMkLst>
            <pc:docMk/>
            <pc:sldMk cId="0" sldId="285"/>
            <ac:spMk id="63" creationId="{00000000-0000-0000-0000-000000000000}"/>
          </ac:spMkLst>
        </pc:spChg>
        <pc:spChg chg="mod">
          <ac:chgData name="Mondal, Tanmay" userId="83c199d5-d146-4e16-b08e-fa47ebac23d7" providerId="ADAL" clId="{7889F8E4-3B11-44EC-BF56-408DF8153FC1}" dt="2020-07-27T05:54:12.536" v="19"/>
          <ac:spMkLst>
            <pc:docMk/>
            <pc:sldMk cId="0" sldId="285"/>
            <ac:spMk id="64" creationId="{00000000-0000-0000-0000-000000000000}"/>
          </ac:spMkLst>
        </pc:spChg>
        <pc:spChg chg="mod">
          <ac:chgData name="Mondal, Tanmay" userId="83c199d5-d146-4e16-b08e-fa47ebac23d7" providerId="ADAL" clId="{7889F8E4-3B11-44EC-BF56-408DF8153FC1}" dt="2020-07-27T05:54:12.536" v="19"/>
          <ac:spMkLst>
            <pc:docMk/>
            <pc:sldMk cId="0" sldId="285"/>
            <ac:spMk id="65" creationId="{00000000-0000-0000-0000-000000000000}"/>
          </ac:spMkLst>
        </pc:spChg>
        <pc:spChg chg="mod">
          <ac:chgData name="Mondal, Tanmay" userId="83c199d5-d146-4e16-b08e-fa47ebac23d7" providerId="ADAL" clId="{7889F8E4-3B11-44EC-BF56-408DF8153FC1}" dt="2020-07-27T05:54:12.536" v="19"/>
          <ac:spMkLst>
            <pc:docMk/>
            <pc:sldMk cId="0" sldId="285"/>
            <ac:spMk id="66" creationId="{00000000-0000-0000-0000-000000000000}"/>
          </ac:spMkLst>
        </pc:spChg>
        <pc:spChg chg="mod">
          <ac:chgData name="Mondal, Tanmay" userId="83c199d5-d146-4e16-b08e-fa47ebac23d7" providerId="ADAL" clId="{7889F8E4-3B11-44EC-BF56-408DF8153FC1}" dt="2020-07-27T05:54:12.536" v="19"/>
          <ac:spMkLst>
            <pc:docMk/>
            <pc:sldMk cId="0" sldId="285"/>
            <ac:spMk id="67" creationId="{00000000-0000-0000-0000-000000000000}"/>
          </ac:spMkLst>
        </pc:spChg>
        <pc:spChg chg="mod">
          <ac:chgData name="Mondal, Tanmay" userId="83c199d5-d146-4e16-b08e-fa47ebac23d7" providerId="ADAL" clId="{7889F8E4-3B11-44EC-BF56-408DF8153FC1}" dt="2020-07-27T05:54:12.536" v="19"/>
          <ac:spMkLst>
            <pc:docMk/>
            <pc:sldMk cId="0" sldId="285"/>
            <ac:spMk id="68" creationId="{00000000-0000-0000-0000-000000000000}"/>
          </ac:spMkLst>
        </pc:spChg>
        <pc:spChg chg="mod">
          <ac:chgData name="Mondal, Tanmay" userId="83c199d5-d146-4e16-b08e-fa47ebac23d7" providerId="ADAL" clId="{7889F8E4-3B11-44EC-BF56-408DF8153FC1}" dt="2020-07-27T05:54:12.536" v="19"/>
          <ac:spMkLst>
            <pc:docMk/>
            <pc:sldMk cId="0" sldId="285"/>
            <ac:spMk id="69" creationId="{00000000-0000-0000-0000-000000000000}"/>
          </ac:spMkLst>
        </pc:spChg>
        <pc:spChg chg="mod">
          <ac:chgData name="Mondal, Tanmay" userId="83c199d5-d146-4e16-b08e-fa47ebac23d7" providerId="ADAL" clId="{7889F8E4-3B11-44EC-BF56-408DF8153FC1}" dt="2020-07-27T05:54:12.536" v="19"/>
          <ac:spMkLst>
            <pc:docMk/>
            <pc:sldMk cId="0" sldId="285"/>
            <ac:spMk id="70" creationId="{00000000-0000-0000-0000-000000000000}"/>
          </ac:spMkLst>
        </pc:spChg>
        <pc:spChg chg="mod">
          <ac:chgData name="Mondal, Tanmay" userId="83c199d5-d146-4e16-b08e-fa47ebac23d7" providerId="ADAL" clId="{7889F8E4-3B11-44EC-BF56-408DF8153FC1}" dt="2020-07-27T05:54:12.536" v="19"/>
          <ac:spMkLst>
            <pc:docMk/>
            <pc:sldMk cId="0" sldId="285"/>
            <ac:spMk id="71" creationId="{00000000-0000-0000-0000-000000000000}"/>
          </ac:spMkLst>
        </pc:spChg>
        <pc:spChg chg="mod">
          <ac:chgData name="Mondal, Tanmay" userId="83c199d5-d146-4e16-b08e-fa47ebac23d7" providerId="ADAL" clId="{7889F8E4-3B11-44EC-BF56-408DF8153FC1}" dt="2020-07-27T05:54:12.536" v="19"/>
          <ac:spMkLst>
            <pc:docMk/>
            <pc:sldMk cId="0" sldId="285"/>
            <ac:spMk id="72" creationId="{00000000-0000-0000-0000-000000000000}"/>
          </ac:spMkLst>
        </pc:spChg>
        <pc:spChg chg="mod">
          <ac:chgData name="Mondal, Tanmay" userId="83c199d5-d146-4e16-b08e-fa47ebac23d7" providerId="ADAL" clId="{7889F8E4-3B11-44EC-BF56-408DF8153FC1}" dt="2020-07-27T05:54:12.536" v="19"/>
          <ac:spMkLst>
            <pc:docMk/>
            <pc:sldMk cId="0" sldId="285"/>
            <ac:spMk id="73" creationId="{00000000-0000-0000-0000-000000000000}"/>
          </ac:spMkLst>
        </pc:spChg>
        <pc:spChg chg="mod">
          <ac:chgData name="Mondal, Tanmay" userId="83c199d5-d146-4e16-b08e-fa47ebac23d7" providerId="ADAL" clId="{7889F8E4-3B11-44EC-BF56-408DF8153FC1}" dt="2020-07-27T05:54:12.536" v="19"/>
          <ac:spMkLst>
            <pc:docMk/>
            <pc:sldMk cId="0" sldId="285"/>
            <ac:spMk id="74" creationId="{00000000-0000-0000-0000-000000000000}"/>
          </ac:spMkLst>
        </pc:spChg>
        <pc:spChg chg="mod">
          <ac:chgData name="Mondal, Tanmay" userId="83c199d5-d146-4e16-b08e-fa47ebac23d7" providerId="ADAL" clId="{7889F8E4-3B11-44EC-BF56-408DF8153FC1}" dt="2020-07-27T05:54:12.536" v="19"/>
          <ac:spMkLst>
            <pc:docMk/>
            <pc:sldMk cId="0" sldId="285"/>
            <ac:spMk id="75" creationId="{00000000-0000-0000-0000-000000000000}"/>
          </ac:spMkLst>
        </pc:spChg>
        <pc:spChg chg="mod">
          <ac:chgData name="Mondal, Tanmay" userId="83c199d5-d146-4e16-b08e-fa47ebac23d7" providerId="ADAL" clId="{7889F8E4-3B11-44EC-BF56-408DF8153FC1}" dt="2020-07-27T05:54:12.536" v="19"/>
          <ac:spMkLst>
            <pc:docMk/>
            <pc:sldMk cId="0" sldId="285"/>
            <ac:spMk id="76" creationId="{00000000-0000-0000-0000-000000000000}"/>
          </ac:spMkLst>
        </pc:spChg>
        <pc:spChg chg="mod">
          <ac:chgData name="Mondal, Tanmay" userId="83c199d5-d146-4e16-b08e-fa47ebac23d7" providerId="ADAL" clId="{7889F8E4-3B11-44EC-BF56-408DF8153FC1}" dt="2020-07-27T05:54:12.536" v="19"/>
          <ac:spMkLst>
            <pc:docMk/>
            <pc:sldMk cId="0" sldId="285"/>
            <ac:spMk id="77" creationId="{00000000-0000-0000-0000-000000000000}"/>
          </ac:spMkLst>
        </pc:spChg>
        <pc:spChg chg="mod">
          <ac:chgData name="Mondal, Tanmay" userId="83c199d5-d146-4e16-b08e-fa47ebac23d7" providerId="ADAL" clId="{7889F8E4-3B11-44EC-BF56-408DF8153FC1}" dt="2020-07-27T05:54:12.536" v="19"/>
          <ac:spMkLst>
            <pc:docMk/>
            <pc:sldMk cId="0" sldId="285"/>
            <ac:spMk id="78" creationId="{00000000-0000-0000-0000-000000000000}"/>
          </ac:spMkLst>
        </pc:spChg>
        <pc:spChg chg="mod">
          <ac:chgData name="Mondal, Tanmay" userId="83c199d5-d146-4e16-b08e-fa47ebac23d7" providerId="ADAL" clId="{7889F8E4-3B11-44EC-BF56-408DF8153FC1}" dt="2020-07-27T05:54:12.536" v="19"/>
          <ac:spMkLst>
            <pc:docMk/>
            <pc:sldMk cId="0" sldId="285"/>
            <ac:spMk id="79" creationId="{00000000-0000-0000-0000-000000000000}"/>
          </ac:spMkLst>
        </pc:spChg>
        <pc:spChg chg="mod">
          <ac:chgData name="Mondal, Tanmay" userId="83c199d5-d146-4e16-b08e-fa47ebac23d7" providerId="ADAL" clId="{7889F8E4-3B11-44EC-BF56-408DF8153FC1}" dt="2020-07-27T05:54:12.536" v="19"/>
          <ac:spMkLst>
            <pc:docMk/>
            <pc:sldMk cId="0" sldId="285"/>
            <ac:spMk id="80" creationId="{00000000-0000-0000-0000-000000000000}"/>
          </ac:spMkLst>
        </pc:spChg>
        <pc:spChg chg="mod">
          <ac:chgData name="Mondal, Tanmay" userId="83c199d5-d146-4e16-b08e-fa47ebac23d7" providerId="ADAL" clId="{7889F8E4-3B11-44EC-BF56-408DF8153FC1}" dt="2020-07-27T05:54:12.536" v="19"/>
          <ac:spMkLst>
            <pc:docMk/>
            <pc:sldMk cId="0" sldId="285"/>
            <ac:spMk id="81" creationId="{00000000-0000-0000-0000-000000000000}"/>
          </ac:spMkLst>
        </pc:spChg>
        <pc:spChg chg="mod">
          <ac:chgData name="Mondal, Tanmay" userId="83c199d5-d146-4e16-b08e-fa47ebac23d7" providerId="ADAL" clId="{7889F8E4-3B11-44EC-BF56-408DF8153FC1}" dt="2020-07-27T05:54:12.536" v="19"/>
          <ac:spMkLst>
            <pc:docMk/>
            <pc:sldMk cId="0" sldId="285"/>
            <ac:spMk id="82" creationId="{00000000-0000-0000-0000-000000000000}"/>
          </ac:spMkLst>
        </pc:spChg>
        <pc:spChg chg="mod">
          <ac:chgData name="Mondal, Tanmay" userId="83c199d5-d146-4e16-b08e-fa47ebac23d7" providerId="ADAL" clId="{7889F8E4-3B11-44EC-BF56-408DF8153FC1}" dt="2020-07-27T05:54:12.536" v="19"/>
          <ac:spMkLst>
            <pc:docMk/>
            <pc:sldMk cId="0" sldId="285"/>
            <ac:spMk id="83" creationId="{00000000-0000-0000-0000-000000000000}"/>
          </ac:spMkLst>
        </pc:spChg>
        <pc:spChg chg="mod">
          <ac:chgData name="Mondal, Tanmay" userId="83c199d5-d146-4e16-b08e-fa47ebac23d7" providerId="ADAL" clId="{7889F8E4-3B11-44EC-BF56-408DF8153FC1}" dt="2020-07-27T05:54:12.536" v="19"/>
          <ac:spMkLst>
            <pc:docMk/>
            <pc:sldMk cId="0" sldId="285"/>
            <ac:spMk id="84" creationId="{00000000-0000-0000-0000-000000000000}"/>
          </ac:spMkLst>
        </pc:spChg>
        <pc:spChg chg="mod">
          <ac:chgData name="Mondal, Tanmay" userId="83c199d5-d146-4e16-b08e-fa47ebac23d7" providerId="ADAL" clId="{7889F8E4-3B11-44EC-BF56-408DF8153FC1}" dt="2020-07-27T05:54:12.536" v="19"/>
          <ac:spMkLst>
            <pc:docMk/>
            <pc:sldMk cId="0" sldId="285"/>
            <ac:spMk id="85" creationId="{00000000-0000-0000-0000-000000000000}"/>
          </ac:spMkLst>
        </pc:spChg>
        <pc:spChg chg="mod">
          <ac:chgData name="Mondal, Tanmay" userId="83c199d5-d146-4e16-b08e-fa47ebac23d7" providerId="ADAL" clId="{7889F8E4-3B11-44EC-BF56-408DF8153FC1}" dt="2020-07-27T05:54:12.536" v="19"/>
          <ac:spMkLst>
            <pc:docMk/>
            <pc:sldMk cId="0" sldId="285"/>
            <ac:spMk id="86" creationId="{00000000-0000-0000-0000-000000000000}"/>
          </ac:spMkLst>
        </pc:spChg>
        <pc:spChg chg="mod">
          <ac:chgData name="Mondal, Tanmay" userId="83c199d5-d146-4e16-b08e-fa47ebac23d7" providerId="ADAL" clId="{7889F8E4-3B11-44EC-BF56-408DF8153FC1}" dt="2020-07-27T05:54:12.536" v="19"/>
          <ac:spMkLst>
            <pc:docMk/>
            <pc:sldMk cId="0" sldId="285"/>
            <ac:spMk id="87" creationId="{00000000-0000-0000-0000-000000000000}"/>
          </ac:spMkLst>
        </pc:spChg>
        <pc:spChg chg="mod">
          <ac:chgData name="Mondal, Tanmay" userId="83c199d5-d146-4e16-b08e-fa47ebac23d7" providerId="ADAL" clId="{7889F8E4-3B11-44EC-BF56-408DF8153FC1}" dt="2020-07-27T05:54:12.536" v="19"/>
          <ac:spMkLst>
            <pc:docMk/>
            <pc:sldMk cId="0" sldId="285"/>
            <ac:spMk id="88" creationId="{00000000-0000-0000-0000-000000000000}"/>
          </ac:spMkLst>
        </pc:spChg>
        <pc:spChg chg="mod">
          <ac:chgData name="Mondal, Tanmay" userId="83c199d5-d146-4e16-b08e-fa47ebac23d7" providerId="ADAL" clId="{7889F8E4-3B11-44EC-BF56-408DF8153FC1}" dt="2020-07-27T05:54:12.536" v="19"/>
          <ac:spMkLst>
            <pc:docMk/>
            <pc:sldMk cId="0" sldId="285"/>
            <ac:spMk id="89" creationId="{00000000-0000-0000-0000-000000000000}"/>
          </ac:spMkLst>
        </pc:spChg>
        <pc:spChg chg="mod">
          <ac:chgData name="Mondal, Tanmay" userId="83c199d5-d146-4e16-b08e-fa47ebac23d7" providerId="ADAL" clId="{7889F8E4-3B11-44EC-BF56-408DF8153FC1}" dt="2020-07-27T05:54:12.536" v="19"/>
          <ac:spMkLst>
            <pc:docMk/>
            <pc:sldMk cId="0" sldId="285"/>
            <ac:spMk id="90" creationId="{00000000-0000-0000-0000-000000000000}"/>
          </ac:spMkLst>
        </pc:spChg>
        <pc:spChg chg="mod">
          <ac:chgData name="Mondal, Tanmay" userId="83c199d5-d146-4e16-b08e-fa47ebac23d7" providerId="ADAL" clId="{7889F8E4-3B11-44EC-BF56-408DF8153FC1}" dt="2020-07-27T05:54:12.536" v="19"/>
          <ac:spMkLst>
            <pc:docMk/>
            <pc:sldMk cId="0" sldId="285"/>
            <ac:spMk id="91" creationId="{00000000-0000-0000-0000-000000000000}"/>
          </ac:spMkLst>
        </pc:spChg>
        <pc:spChg chg="mod">
          <ac:chgData name="Mondal, Tanmay" userId="83c199d5-d146-4e16-b08e-fa47ebac23d7" providerId="ADAL" clId="{7889F8E4-3B11-44EC-BF56-408DF8153FC1}" dt="2020-07-27T05:54:12.536" v="19"/>
          <ac:spMkLst>
            <pc:docMk/>
            <pc:sldMk cId="0" sldId="285"/>
            <ac:spMk id="92" creationId="{00000000-0000-0000-0000-000000000000}"/>
          </ac:spMkLst>
        </pc:spChg>
        <pc:spChg chg="mod">
          <ac:chgData name="Mondal, Tanmay" userId="83c199d5-d146-4e16-b08e-fa47ebac23d7" providerId="ADAL" clId="{7889F8E4-3B11-44EC-BF56-408DF8153FC1}" dt="2020-07-27T05:54:12.536" v="19"/>
          <ac:spMkLst>
            <pc:docMk/>
            <pc:sldMk cId="0" sldId="285"/>
            <ac:spMk id="93" creationId="{00000000-0000-0000-0000-000000000000}"/>
          </ac:spMkLst>
        </pc:spChg>
        <pc:spChg chg="mod">
          <ac:chgData name="Mondal, Tanmay" userId="83c199d5-d146-4e16-b08e-fa47ebac23d7" providerId="ADAL" clId="{7889F8E4-3B11-44EC-BF56-408DF8153FC1}" dt="2020-07-27T05:54:12.536" v="19"/>
          <ac:spMkLst>
            <pc:docMk/>
            <pc:sldMk cId="0" sldId="285"/>
            <ac:spMk id="94" creationId="{00000000-0000-0000-0000-000000000000}"/>
          </ac:spMkLst>
        </pc:spChg>
        <pc:spChg chg="mod">
          <ac:chgData name="Mondal, Tanmay" userId="83c199d5-d146-4e16-b08e-fa47ebac23d7" providerId="ADAL" clId="{7889F8E4-3B11-44EC-BF56-408DF8153FC1}" dt="2020-07-27T05:54:12.536" v="19"/>
          <ac:spMkLst>
            <pc:docMk/>
            <pc:sldMk cId="0" sldId="285"/>
            <ac:spMk id="95" creationId="{00000000-0000-0000-0000-000000000000}"/>
          </ac:spMkLst>
        </pc:spChg>
        <pc:spChg chg="mod">
          <ac:chgData name="Mondal, Tanmay" userId="83c199d5-d146-4e16-b08e-fa47ebac23d7" providerId="ADAL" clId="{7889F8E4-3B11-44EC-BF56-408DF8153FC1}" dt="2020-07-27T05:54:12.536" v="19"/>
          <ac:spMkLst>
            <pc:docMk/>
            <pc:sldMk cId="0" sldId="285"/>
            <ac:spMk id="96" creationId="{00000000-0000-0000-0000-000000000000}"/>
          </ac:spMkLst>
        </pc:spChg>
        <pc:spChg chg="mod">
          <ac:chgData name="Mondal, Tanmay" userId="83c199d5-d146-4e16-b08e-fa47ebac23d7" providerId="ADAL" clId="{7889F8E4-3B11-44EC-BF56-408DF8153FC1}" dt="2020-07-27T05:54:12.536" v="19"/>
          <ac:spMkLst>
            <pc:docMk/>
            <pc:sldMk cId="0" sldId="285"/>
            <ac:spMk id="97" creationId="{00000000-0000-0000-0000-000000000000}"/>
          </ac:spMkLst>
        </pc:spChg>
        <pc:spChg chg="mod">
          <ac:chgData name="Mondal, Tanmay" userId="83c199d5-d146-4e16-b08e-fa47ebac23d7" providerId="ADAL" clId="{7889F8E4-3B11-44EC-BF56-408DF8153FC1}" dt="2020-07-27T05:54:12.536" v="19"/>
          <ac:spMkLst>
            <pc:docMk/>
            <pc:sldMk cId="0" sldId="285"/>
            <ac:spMk id="98" creationId="{00000000-0000-0000-0000-000000000000}"/>
          </ac:spMkLst>
        </pc:spChg>
        <pc:spChg chg="mod">
          <ac:chgData name="Mondal, Tanmay" userId="83c199d5-d146-4e16-b08e-fa47ebac23d7" providerId="ADAL" clId="{7889F8E4-3B11-44EC-BF56-408DF8153FC1}" dt="2020-07-27T05:54:12.536" v="19"/>
          <ac:spMkLst>
            <pc:docMk/>
            <pc:sldMk cId="0" sldId="285"/>
            <ac:spMk id="99" creationId="{00000000-0000-0000-0000-000000000000}"/>
          </ac:spMkLst>
        </pc:spChg>
        <pc:spChg chg="mod">
          <ac:chgData name="Mondal, Tanmay" userId="83c199d5-d146-4e16-b08e-fa47ebac23d7" providerId="ADAL" clId="{7889F8E4-3B11-44EC-BF56-408DF8153FC1}" dt="2020-07-27T05:54:12.536" v="19"/>
          <ac:spMkLst>
            <pc:docMk/>
            <pc:sldMk cId="0" sldId="285"/>
            <ac:spMk id="100" creationId="{00000000-0000-0000-0000-000000000000}"/>
          </ac:spMkLst>
        </pc:spChg>
      </pc:sldChg>
      <pc:sldChg chg="addSp delSp modSp">
        <pc:chgData name="Mondal, Tanmay" userId="83c199d5-d146-4e16-b08e-fa47ebac23d7" providerId="ADAL" clId="{7889F8E4-3B11-44EC-BF56-408DF8153FC1}" dt="2020-07-27T07:32:59.709" v="610" actId="478"/>
        <pc:sldMkLst>
          <pc:docMk/>
          <pc:sldMk cId="0" sldId="286"/>
        </pc:sldMkLst>
        <pc:spChg chg="mod">
          <ac:chgData name="Mondal, Tanmay" userId="83c199d5-d146-4e16-b08e-fa47ebac23d7" providerId="ADAL" clId="{7889F8E4-3B11-44EC-BF56-408DF8153FC1}" dt="2020-07-27T05:54:12.536" v="19"/>
          <ac:spMkLst>
            <pc:docMk/>
            <pc:sldMk cId="0" sldId="286"/>
            <ac:spMk id="2" creationId="{00000000-0000-0000-0000-000000000000}"/>
          </ac:spMkLst>
        </pc:spChg>
        <pc:spChg chg="mod">
          <ac:chgData name="Mondal, Tanmay" userId="83c199d5-d146-4e16-b08e-fa47ebac23d7" providerId="ADAL" clId="{7889F8E4-3B11-44EC-BF56-408DF8153FC1}" dt="2020-07-27T05:54:12.536" v="19"/>
          <ac:spMkLst>
            <pc:docMk/>
            <pc:sldMk cId="0" sldId="286"/>
            <ac:spMk id="3" creationId="{00000000-0000-0000-0000-000000000000}"/>
          </ac:spMkLst>
        </pc:spChg>
        <pc:spChg chg="mod">
          <ac:chgData name="Mondal, Tanmay" userId="83c199d5-d146-4e16-b08e-fa47ebac23d7" providerId="ADAL" clId="{7889F8E4-3B11-44EC-BF56-408DF8153FC1}" dt="2020-07-27T05:54:12.536" v="19"/>
          <ac:spMkLst>
            <pc:docMk/>
            <pc:sldMk cId="0" sldId="286"/>
            <ac:spMk id="4" creationId="{00000000-0000-0000-0000-000000000000}"/>
          </ac:spMkLst>
        </pc:spChg>
        <pc:spChg chg="mod">
          <ac:chgData name="Mondal, Tanmay" userId="83c199d5-d146-4e16-b08e-fa47ebac23d7" providerId="ADAL" clId="{7889F8E4-3B11-44EC-BF56-408DF8153FC1}" dt="2020-07-27T05:54:12.536" v="19"/>
          <ac:spMkLst>
            <pc:docMk/>
            <pc:sldMk cId="0" sldId="286"/>
            <ac:spMk id="5" creationId="{00000000-0000-0000-0000-000000000000}"/>
          </ac:spMkLst>
        </pc:spChg>
        <pc:spChg chg="mod">
          <ac:chgData name="Mondal, Tanmay" userId="83c199d5-d146-4e16-b08e-fa47ebac23d7" providerId="ADAL" clId="{7889F8E4-3B11-44EC-BF56-408DF8153FC1}" dt="2020-07-27T05:54:12.536" v="19"/>
          <ac:spMkLst>
            <pc:docMk/>
            <pc:sldMk cId="0" sldId="286"/>
            <ac:spMk id="6" creationId="{00000000-0000-0000-0000-000000000000}"/>
          </ac:spMkLst>
        </pc:spChg>
        <pc:spChg chg="mod">
          <ac:chgData name="Mondal, Tanmay" userId="83c199d5-d146-4e16-b08e-fa47ebac23d7" providerId="ADAL" clId="{7889F8E4-3B11-44EC-BF56-408DF8153FC1}" dt="2020-07-27T05:54:12.536" v="19"/>
          <ac:spMkLst>
            <pc:docMk/>
            <pc:sldMk cId="0" sldId="286"/>
            <ac:spMk id="7" creationId="{00000000-0000-0000-0000-000000000000}"/>
          </ac:spMkLst>
        </pc:spChg>
        <pc:spChg chg="mod">
          <ac:chgData name="Mondal, Tanmay" userId="83c199d5-d146-4e16-b08e-fa47ebac23d7" providerId="ADAL" clId="{7889F8E4-3B11-44EC-BF56-408DF8153FC1}" dt="2020-07-27T05:54:12.536" v="19"/>
          <ac:spMkLst>
            <pc:docMk/>
            <pc:sldMk cId="0" sldId="286"/>
            <ac:spMk id="8" creationId="{00000000-0000-0000-0000-000000000000}"/>
          </ac:spMkLst>
        </pc:spChg>
        <pc:spChg chg="mod">
          <ac:chgData name="Mondal, Tanmay" userId="83c199d5-d146-4e16-b08e-fa47ebac23d7" providerId="ADAL" clId="{7889F8E4-3B11-44EC-BF56-408DF8153FC1}" dt="2020-07-27T05:54:12.536" v="19"/>
          <ac:spMkLst>
            <pc:docMk/>
            <pc:sldMk cId="0" sldId="286"/>
            <ac:spMk id="9" creationId="{00000000-0000-0000-0000-000000000000}"/>
          </ac:spMkLst>
        </pc:spChg>
        <pc:spChg chg="mod">
          <ac:chgData name="Mondal, Tanmay" userId="83c199d5-d146-4e16-b08e-fa47ebac23d7" providerId="ADAL" clId="{7889F8E4-3B11-44EC-BF56-408DF8153FC1}" dt="2020-07-27T05:54:12.536" v="19"/>
          <ac:spMkLst>
            <pc:docMk/>
            <pc:sldMk cId="0" sldId="286"/>
            <ac:spMk id="10" creationId="{00000000-0000-0000-0000-000000000000}"/>
          </ac:spMkLst>
        </pc:spChg>
        <pc:spChg chg="mod">
          <ac:chgData name="Mondal, Tanmay" userId="83c199d5-d146-4e16-b08e-fa47ebac23d7" providerId="ADAL" clId="{7889F8E4-3B11-44EC-BF56-408DF8153FC1}" dt="2020-07-27T05:54:12.536" v="19"/>
          <ac:spMkLst>
            <pc:docMk/>
            <pc:sldMk cId="0" sldId="286"/>
            <ac:spMk id="11" creationId="{00000000-0000-0000-0000-000000000000}"/>
          </ac:spMkLst>
        </pc:spChg>
        <pc:spChg chg="mod">
          <ac:chgData name="Mondal, Tanmay" userId="83c199d5-d146-4e16-b08e-fa47ebac23d7" providerId="ADAL" clId="{7889F8E4-3B11-44EC-BF56-408DF8153FC1}" dt="2020-07-27T05:54:12.536" v="19"/>
          <ac:spMkLst>
            <pc:docMk/>
            <pc:sldMk cId="0" sldId="286"/>
            <ac:spMk id="12" creationId="{00000000-0000-0000-0000-000000000000}"/>
          </ac:spMkLst>
        </pc:spChg>
        <pc:spChg chg="mod">
          <ac:chgData name="Mondal, Tanmay" userId="83c199d5-d146-4e16-b08e-fa47ebac23d7" providerId="ADAL" clId="{7889F8E4-3B11-44EC-BF56-408DF8153FC1}" dt="2020-07-27T05:54:12.536" v="19"/>
          <ac:spMkLst>
            <pc:docMk/>
            <pc:sldMk cId="0" sldId="286"/>
            <ac:spMk id="13" creationId="{00000000-0000-0000-0000-000000000000}"/>
          </ac:spMkLst>
        </pc:spChg>
        <pc:spChg chg="mod">
          <ac:chgData name="Mondal, Tanmay" userId="83c199d5-d146-4e16-b08e-fa47ebac23d7" providerId="ADAL" clId="{7889F8E4-3B11-44EC-BF56-408DF8153FC1}" dt="2020-07-27T05:54:12.536" v="19"/>
          <ac:spMkLst>
            <pc:docMk/>
            <pc:sldMk cId="0" sldId="286"/>
            <ac:spMk id="14" creationId="{00000000-0000-0000-0000-000000000000}"/>
          </ac:spMkLst>
        </pc:spChg>
        <pc:spChg chg="mod">
          <ac:chgData name="Mondal, Tanmay" userId="83c199d5-d146-4e16-b08e-fa47ebac23d7" providerId="ADAL" clId="{7889F8E4-3B11-44EC-BF56-408DF8153FC1}" dt="2020-07-27T05:54:12.536" v="19"/>
          <ac:spMkLst>
            <pc:docMk/>
            <pc:sldMk cId="0" sldId="286"/>
            <ac:spMk id="15" creationId="{00000000-0000-0000-0000-000000000000}"/>
          </ac:spMkLst>
        </pc:spChg>
        <pc:spChg chg="mod">
          <ac:chgData name="Mondal, Tanmay" userId="83c199d5-d146-4e16-b08e-fa47ebac23d7" providerId="ADAL" clId="{7889F8E4-3B11-44EC-BF56-408DF8153FC1}" dt="2020-07-27T05:54:12.536" v="19"/>
          <ac:spMkLst>
            <pc:docMk/>
            <pc:sldMk cId="0" sldId="286"/>
            <ac:spMk id="16" creationId="{00000000-0000-0000-0000-000000000000}"/>
          </ac:spMkLst>
        </pc:spChg>
        <pc:spChg chg="mod">
          <ac:chgData name="Mondal, Tanmay" userId="83c199d5-d146-4e16-b08e-fa47ebac23d7" providerId="ADAL" clId="{7889F8E4-3B11-44EC-BF56-408DF8153FC1}" dt="2020-07-27T05:54:12.536" v="19"/>
          <ac:spMkLst>
            <pc:docMk/>
            <pc:sldMk cId="0" sldId="286"/>
            <ac:spMk id="17" creationId="{00000000-0000-0000-0000-000000000000}"/>
          </ac:spMkLst>
        </pc:spChg>
        <pc:spChg chg="mod">
          <ac:chgData name="Mondal, Tanmay" userId="83c199d5-d146-4e16-b08e-fa47ebac23d7" providerId="ADAL" clId="{7889F8E4-3B11-44EC-BF56-408DF8153FC1}" dt="2020-07-27T05:54:12.536" v="19"/>
          <ac:spMkLst>
            <pc:docMk/>
            <pc:sldMk cId="0" sldId="286"/>
            <ac:spMk id="18" creationId="{00000000-0000-0000-0000-000000000000}"/>
          </ac:spMkLst>
        </pc:spChg>
        <pc:spChg chg="mod">
          <ac:chgData name="Mondal, Tanmay" userId="83c199d5-d146-4e16-b08e-fa47ebac23d7" providerId="ADAL" clId="{7889F8E4-3B11-44EC-BF56-408DF8153FC1}" dt="2020-07-27T05:54:12.536" v="19"/>
          <ac:spMkLst>
            <pc:docMk/>
            <pc:sldMk cId="0" sldId="286"/>
            <ac:spMk id="19" creationId="{00000000-0000-0000-0000-000000000000}"/>
          </ac:spMkLst>
        </pc:spChg>
        <pc:spChg chg="mod">
          <ac:chgData name="Mondal, Tanmay" userId="83c199d5-d146-4e16-b08e-fa47ebac23d7" providerId="ADAL" clId="{7889F8E4-3B11-44EC-BF56-408DF8153FC1}" dt="2020-07-27T05:54:12.536" v="19"/>
          <ac:spMkLst>
            <pc:docMk/>
            <pc:sldMk cId="0" sldId="286"/>
            <ac:spMk id="20" creationId="{00000000-0000-0000-0000-000000000000}"/>
          </ac:spMkLst>
        </pc:spChg>
        <pc:spChg chg="mod">
          <ac:chgData name="Mondal, Tanmay" userId="83c199d5-d146-4e16-b08e-fa47ebac23d7" providerId="ADAL" clId="{7889F8E4-3B11-44EC-BF56-408DF8153FC1}" dt="2020-07-27T05:54:12.536" v="19"/>
          <ac:spMkLst>
            <pc:docMk/>
            <pc:sldMk cId="0" sldId="286"/>
            <ac:spMk id="21" creationId="{00000000-0000-0000-0000-000000000000}"/>
          </ac:spMkLst>
        </pc:spChg>
        <pc:spChg chg="mod">
          <ac:chgData name="Mondal, Tanmay" userId="83c199d5-d146-4e16-b08e-fa47ebac23d7" providerId="ADAL" clId="{7889F8E4-3B11-44EC-BF56-408DF8153FC1}" dt="2020-07-27T05:54:12.536" v="19"/>
          <ac:spMkLst>
            <pc:docMk/>
            <pc:sldMk cId="0" sldId="286"/>
            <ac:spMk id="22" creationId="{00000000-0000-0000-0000-000000000000}"/>
          </ac:spMkLst>
        </pc:spChg>
        <pc:spChg chg="mod">
          <ac:chgData name="Mondal, Tanmay" userId="83c199d5-d146-4e16-b08e-fa47ebac23d7" providerId="ADAL" clId="{7889F8E4-3B11-44EC-BF56-408DF8153FC1}" dt="2020-07-27T05:54:12.536" v="19"/>
          <ac:spMkLst>
            <pc:docMk/>
            <pc:sldMk cId="0" sldId="286"/>
            <ac:spMk id="23" creationId="{00000000-0000-0000-0000-000000000000}"/>
          </ac:spMkLst>
        </pc:spChg>
        <pc:spChg chg="add del mod">
          <ac:chgData name="Mondal, Tanmay" userId="83c199d5-d146-4e16-b08e-fa47ebac23d7" providerId="ADAL" clId="{7889F8E4-3B11-44EC-BF56-408DF8153FC1}" dt="2020-07-27T07:32:59.709" v="610" actId="478"/>
          <ac:spMkLst>
            <pc:docMk/>
            <pc:sldMk cId="0" sldId="286"/>
            <ac:spMk id="24" creationId="{44CF92AA-E622-4439-AC98-B2B50591BDD2}"/>
          </ac:spMkLst>
        </pc:spChg>
        <pc:spChg chg="add del mod">
          <ac:chgData name="Mondal, Tanmay" userId="83c199d5-d146-4e16-b08e-fa47ebac23d7" providerId="ADAL" clId="{7889F8E4-3B11-44EC-BF56-408DF8153FC1}" dt="2020-07-27T07:32:56.892" v="609" actId="478"/>
          <ac:spMkLst>
            <pc:docMk/>
            <pc:sldMk cId="0" sldId="286"/>
            <ac:spMk id="25" creationId="{A6CDDBD4-50AF-43E4-9555-CAFA33B8FF57}"/>
          </ac:spMkLst>
        </pc:spChg>
        <pc:spChg chg="mod">
          <ac:chgData name="Mondal, Tanmay" userId="83c199d5-d146-4e16-b08e-fa47ebac23d7" providerId="ADAL" clId="{7889F8E4-3B11-44EC-BF56-408DF8153FC1}" dt="2020-07-27T05:54:12.536" v="19"/>
          <ac:spMkLst>
            <pc:docMk/>
            <pc:sldMk cId="0" sldId="286"/>
            <ac:spMk id="26" creationId="{00000000-0000-0000-0000-000000000000}"/>
          </ac:spMkLst>
        </pc:spChg>
        <pc:spChg chg="mod">
          <ac:chgData name="Mondal, Tanmay" userId="83c199d5-d146-4e16-b08e-fa47ebac23d7" providerId="ADAL" clId="{7889F8E4-3B11-44EC-BF56-408DF8153FC1}" dt="2020-07-27T05:54:12.536" v="19"/>
          <ac:spMkLst>
            <pc:docMk/>
            <pc:sldMk cId="0" sldId="286"/>
            <ac:spMk id="27" creationId="{00000000-0000-0000-0000-000000000000}"/>
          </ac:spMkLst>
        </pc:spChg>
        <pc:spChg chg="mod">
          <ac:chgData name="Mondal, Tanmay" userId="83c199d5-d146-4e16-b08e-fa47ebac23d7" providerId="ADAL" clId="{7889F8E4-3B11-44EC-BF56-408DF8153FC1}" dt="2020-07-27T05:54:12.536" v="19"/>
          <ac:spMkLst>
            <pc:docMk/>
            <pc:sldMk cId="0" sldId="286"/>
            <ac:spMk id="28" creationId="{00000000-0000-0000-0000-000000000000}"/>
          </ac:spMkLst>
        </pc:spChg>
        <pc:spChg chg="mod">
          <ac:chgData name="Mondal, Tanmay" userId="83c199d5-d146-4e16-b08e-fa47ebac23d7" providerId="ADAL" clId="{7889F8E4-3B11-44EC-BF56-408DF8153FC1}" dt="2020-07-27T05:54:12.536" v="19"/>
          <ac:spMkLst>
            <pc:docMk/>
            <pc:sldMk cId="0" sldId="286"/>
            <ac:spMk id="29" creationId="{00000000-0000-0000-0000-000000000000}"/>
          </ac:spMkLst>
        </pc:spChg>
        <pc:spChg chg="mod">
          <ac:chgData name="Mondal, Tanmay" userId="83c199d5-d146-4e16-b08e-fa47ebac23d7" providerId="ADAL" clId="{7889F8E4-3B11-44EC-BF56-408DF8153FC1}" dt="2020-07-27T05:54:12.536" v="19"/>
          <ac:spMkLst>
            <pc:docMk/>
            <pc:sldMk cId="0" sldId="286"/>
            <ac:spMk id="30" creationId="{00000000-0000-0000-0000-000000000000}"/>
          </ac:spMkLst>
        </pc:spChg>
        <pc:spChg chg="mod">
          <ac:chgData name="Mondal, Tanmay" userId="83c199d5-d146-4e16-b08e-fa47ebac23d7" providerId="ADAL" clId="{7889F8E4-3B11-44EC-BF56-408DF8153FC1}" dt="2020-07-27T05:54:12.536" v="19"/>
          <ac:spMkLst>
            <pc:docMk/>
            <pc:sldMk cId="0" sldId="286"/>
            <ac:spMk id="31" creationId="{00000000-0000-0000-0000-000000000000}"/>
          </ac:spMkLst>
        </pc:spChg>
        <pc:spChg chg="mod">
          <ac:chgData name="Mondal, Tanmay" userId="83c199d5-d146-4e16-b08e-fa47ebac23d7" providerId="ADAL" clId="{7889F8E4-3B11-44EC-BF56-408DF8153FC1}" dt="2020-07-27T05:54:12.536" v="19"/>
          <ac:spMkLst>
            <pc:docMk/>
            <pc:sldMk cId="0" sldId="286"/>
            <ac:spMk id="32" creationId="{00000000-0000-0000-0000-000000000000}"/>
          </ac:spMkLst>
        </pc:spChg>
        <pc:spChg chg="mod">
          <ac:chgData name="Mondal, Tanmay" userId="83c199d5-d146-4e16-b08e-fa47ebac23d7" providerId="ADAL" clId="{7889F8E4-3B11-44EC-BF56-408DF8153FC1}" dt="2020-07-27T05:54:12.536" v="19"/>
          <ac:spMkLst>
            <pc:docMk/>
            <pc:sldMk cId="0" sldId="286"/>
            <ac:spMk id="33" creationId="{00000000-0000-0000-0000-000000000000}"/>
          </ac:spMkLst>
        </pc:spChg>
        <pc:spChg chg="mod">
          <ac:chgData name="Mondal, Tanmay" userId="83c199d5-d146-4e16-b08e-fa47ebac23d7" providerId="ADAL" clId="{7889F8E4-3B11-44EC-BF56-408DF8153FC1}" dt="2020-07-27T05:54:12.536" v="19"/>
          <ac:spMkLst>
            <pc:docMk/>
            <pc:sldMk cId="0" sldId="286"/>
            <ac:spMk id="34" creationId="{00000000-0000-0000-0000-000000000000}"/>
          </ac:spMkLst>
        </pc:spChg>
        <pc:spChg chg="mod">
          <ac:chgData name="Mondal, Tanmay" userId="83c199d5-d146-4e16-b08e-fa47ebac23d7" providerId="ADAL" clId="{7889F8E4-3B11-44EC-BF56-408DF8153FC1}" dt="2020-07-27T05:54:12.536" v="19"/>
          <ac:spMkLst>
            <pc:docMk/>
            <pc:sldMk cId="0" sldId="286"/>
            <ac:spMk id="35" creationId="{00000000-0000-0000-0000-000000000000}"/>
          </ac:spMkLst>
        </pc:spChg>
        <pc:spChg chg="mod">
          <ac:chgData name="Mondal, Tanmay" userId="83c199d5-d146-4e16-b08e-fa47ebac23d7" providerId="ADAL" clId="{7889F8E4-3B11-44EC-BF56-408DF8153FC1}" dt="2020-07-27T05:54:12.536" v="19"/>
          <ac:spMkLst>
            <pc:docMk/>
            <pc:sldMk cId="0" sldId="286"/>
            <ac:spMk id="36" creationId="{00000000-0000-0000-0000-000000000000}"/>
          </ac:spMkLst>
        </pc:spChg>
        <pc:spChg chg="mod">
          <ac:chgData name="Mondal, Tanmay" userId="83c199d5-d146-4e16-b08e-fa47ebac23d7" providerId="ADAL" clId="{7889F8E4-3B11-44EC-BF56-408DF8153FC1}" dt="2020-07-27T05:54:12.536" v="19"/>
          <ac:spMkLst>
            <pc:docMk/>
            <pc:sldMk cId="0" sldId="286"/>
            <ac:spMk id="37" creationId="{00000000-0000-0000-0000-000000000000}"/>
          </ac:spMkLst>
        </pc:spChg>
        <pc:spChg chg="mod">
          <ac:chgData name="Mondal, Tanmay" userId="83c199d5-d146-4e16-b08e-fa47ebac23d7" providerId="ADAL" clId="{7889F8E4-3B11-44EC-BF56-408DF8153FC1}" dt="2020-07-27T05:54:12.536" v="19"/>
          <ac:spMkLst>
            <pc:docMk/>
            <pc:sldMk cId="0" sldId="286"/>
            <ac:spMk id="38" creationId="{00000000-0000-0000-0000-000000000000}"/>
          </ac:spMkLst>
        </pc:spChg>
        <pc:spChg chg="mod">
          <ac:chgData name="Mondal, Tanmay" userId="83c199d5-d146-4e16-b08e-fa47ebac23d7" providerId="ADAL" clId="{7889F8E4-3B11-44EC-BF56-408DF8153FC1}" dt="2020-07-27T05:54:12.536" v="19"/>
          <ac:spMkLst>
            <pc:docMk/>
            <pc:sldMk cId="0" sldId="286"/>
            <ac:spMk id="39" creationId="{00000000-0000-0000-0000-000000000000}"/>
          </ac:spMkLst>
        </pc:spChg>
        <pc:spChg chg="mod">
          <ac:chgData name="Mondal, Tanmay" userId="83c199d5-d146-4e16-b08e-fa47ebac23d7" providerId="ADAL" clId="{7889F8E4-3B11-44EC-BF56-408DF8153FC1}" dt="2020-07-27T05:54:12.536" v="19"/>
          <ac:spMkLst>
            <pc:docMk/>
            <pc:sldMk cId="0" sldId="286"/>
            <ac:spMk id="40" creationId="{00000000-0000-0000-0000-000000000000}"/>
          </ac:spMkLst>
        </pc:spChg>
        <pc:spChg chg="mod">
          <ac:chgData name="Mondal, Tanmay" userId="83c199d5-d146-4e16-b08e-fa47ebac23d7" providerId="ADAL" clId="{7889F8E4-3B11-44EC-BF56-408DF8153FC1}" dt="2020-07-27T05:54:12.536" v="19"/>
          <ac:spMkLst>
            <pc:docMk/>
            <pc:sldMk cId="0" sldId="286"/>
            <ac:spMk id="41" creationId="{00000000-0000-0000-0000-000000000000}"/>
          </ac:spMkLst>
        </pc:spChg>
        <pc:spChg chg="mod">
          <ac:chgData name="Mondal, Tanmay" userId="83c199d5-d146-4e16-b08e-fa47ebac23d7" providerId="ADAL" clId="{7889F8E4-3B11-44EC-BF56-408DF8153FC1}" dt="2020-07-27T05:54:12.536" v="19"/>
          <ac:spMkLst>
            <pc:docMk/>
            <pc:sldMk cId="0" sldId="286"/>
            <ac:spMk id="42" creationId="{00000000-0000-0000-0000-000000000000}"/>
          </ac:spMkLst>
        </pc:spChg>
        <pc:spChg chg="mod">
          <ac:chgData name="Mondal, Tanmay" userId="83c199d5-d146-4e16-b08e-fa47ebac23d7" providerId="ADAL" clId="{7889F8E4-3B11-44EC-BF56-408DF8153FC1}" dt="2020-07-27T05:54:12.536" v="19"/>
          <ac:spMkLst>
            <pc:docMk/>
            <pc:sldMk cId="0" sldId="286"/>
            <ac:spMk id="43" creationId="{00000000-0000-0000-0000-000000000000}"/>
          </ac:spMkLst>
        </pc:spChg>
        <pc:spChg chg="mod">
          <ac:chgData name="Mondal, Tanmay" userId="83c199d5-d146-4e16-b08e-fa47ebac23d7" providerId="ADAL" clId="{7889F8E4-3B11-44EC-BF56-408DF8153FC1}" dt="2020-07-27T05:54:12.536" v="19"/>
          <ac:spMkLst>
            <pc:docMk/>
            <pc:sldMk cId="0" sldId="286"/>
            <ac:spMk id="44" creationId="{00000000-0000-0000-0000-000000000000}"/>
          </ac:spMkLst>
        </pc:spChg>
        <pc:spChg chg="mod">
          <ac:chgData name="Mondal, Tanmay" userId="83c199d5-d146-4e16-b08e-fa47ebac23d7" providerId="ADAL" clId="{7889F8E4-3B11-44EC-BF56-408DF8153FC1}" dt="2020-07-27T05:54:12.536" v="19"/>
          <ac:spMkLst>
            <pc:docMk/>
            <pc:sldMk cId="0" sldId="286"/>
            <ac:spMk id="45" creationId="{00000000-0000-0000-0000-000000000000}"/>
          </ac:spMkLst>
        </pc:spChg>
        <pc:spChg chg="mod">
          <ac:chgData name="Mondal, Tanmay" userId="83c199d5-d146-4e16-b08e-fa47ebac23d7" providerId="ADAL" clId="{7889F8E4-3B11-44EC-BF56-408DF8153FC1}" dt="2020-07-27T05:54:12.536" v="19"/>
          <ac:spMkLst>
            <pc:docMk/>
            <pc:sldMk cId="0" sldId="286"/>
            <ac:spMk id="46" creationId="{00000000-0000-0000-0000-000000000000}"/>
          </ac:spMkLst>
        </pc:spChg>
        <pc:spChg chg="mod">
          <ac:chgData name="Mondal, Tanmay" userId="83c199d5-d146-4e16-b08e-fa47ebac23d7" providerId="ADAL" clId="{7889F8E4-3B11-44EC-BF56-408DF8153FC1}" dt="2020-07-27T05:54:12.536" v="19"/>
          <ac:spMkLst>
            <pc:docMk/>
            <pc:sldMk cId="0" sldId="286"/>
            <ac:spMk id="47" creationId="{00000000-0000-0000-0000-000000000000}"/>
          </ac:spMkLst>
        </pc:spChg>
        <pc:spChg chg="mod">
          <ac:chgData name="Mondal, Tanmay" userId="83c199d5-d146-4e16-b08e-fa47ebac23d7" providerId="ADAL" clId="{7889F8E4-3B11-44EC-BF56-408DF8153FC1}" dt="2020-07-27T05:54:12.536" v="19"/>
          <ac:spMkLst>
            <pc:docMk/>
            <pc:sldMk cId="0" sldId="286"/>
            <ac:spMk id="48" creationId="{00000000-0000-0000-0000-000000000000}"/>
          </ac:spMkLst>
        </pc:spChg>
        <pc:spChg chg="mod">
          <ac:chgData name="Mondal, Tanmay" userId="83c199d5-d146-4e16-b08e-fa47ebac23d7" providerId="ADAL" clId="{7889F8E4-3B11-44EC-BF56-408DF8153FC1}" dt="2020-07-27T05:54:12.536" v="19"/>
          <ac:spMkLst>
            <pc:docMk/>
            <pc:sldMk cId="0" sldId="286"/>
            <ac:spMk id="49" creationId="{00000000-0000-0000-0000-000000000000}"/>
          </ac:spMkLst>
        </pc:spChg>
        <pc:spChg chg="mod">
          <ac:chgData name="Mondal, Tanmay" userId="83c199d5-d146-4e16-b08e-fa47ebac23d7" providerId="ADAL" clId="{7889F8E4-3B11-44EC-BF56-408DF8153FC1}" dt="2020-07-27T05:54:12.536" v="19"/>
          <ac:spMkLst>
            <pc:docMk/>
            <pc:sldMk cId="0" sldId="286"/>
            <ac:spMk id="50" creationId="{00000000-0000-0000-0000-000000000000}"/>
          </ac:spMkLst>
        </pc:spChg>
        <pc:spChg chg="mod">
          <ac:chgData name="Mondal, Tanmay" userId="83c199d5-d146-4e16-b08e-fa47ebac23d7" providerId="ADAL" clId="{7889F8E4-3B11-44EC-BF56-408DF8153FC1}" dt="2020-07-27T05:54:12.536" v="19"/>
          <ac:spMkLst>
            <pc:docMk/>
            <pc:sldMk cId="0" sldId="286"/>
            <ac:spMk id="51" creationId="{00000000-0000-0000-0000-000000000000}"/>
          </ac:spMkLst>
        </pc:spChg>
        <pc:spChg chg="mod">
          <ac:chgData name="Mondal, Tanmay" userId="83c199d5-d146-4e16-b08e-fa47ebac23d7" providerId="ADAL" clId="{7889F8E4-3B11-44EC-BF56-408DF8153FC1}" dt="2020-07-27T05:54:12.536" v="19"/>
          <ac:spMkLst>
            <pc:docMk/>
            <pc:sldMk cId="0" sldId="286"/>
            <ac:spMk id="52" creationId="{00000000-0000-0000-0000-000000000000}"/>
          </ac:spMkLst>
        </pc:spChg>
        <pc:spChg chg="mod">
          <ac:chgData name="Mondal, Tanmay" userId="83c199d5-d146-4e16-b08e-fa47ebac23d7" providerId="ADAL" clId="{7889F8E4-3B11-44EC-BF56-408DF8153FC1}" dt="2020-07-27T05:54:12.536" v="19"/>
          <ac:spMkLst>
            <pc:docMk/>
            <pc:sldMk cId="0" sldId="286"/>
            <ac:spMk id="53" creationId="{00000000-0000-0000-0000-000000000000}"/>
          </ac:spMkLst>
        </pc:spChg>
        <pc:spChg chg="mod">
          <ac:chgData name="Mondal, Tanmay" userId="83c199d5-d146-4e16-b08e-fa47ebac23d7" providerId="ADAL" clId="{7889F8E4-3B11-44EC-BF56-408DF8153FC1}" dt="2020-07-27T05:54:12.536" v="19"/>
          <ac:spMkLst>
            <pc:docMk/>
            <pc:sldMk cId="0" sldId="286"/>
            <ac:spMk id="54" creationId="{00000000-0000-0000-0000-000000000000}"/>
          </ac:spMkLst>
        </pc:spChg>
        <pc:spChg chg="mod">
          <ac:chgData name="Mondal, Tanmay" userId="83c199d5-d146-4e16-b08e-fa47ebac23d7" providerId="ADAL" clId="{7889F8E4-3B11-44EC-BF56-408DF8153FC1}" dt="2020-07-27T05:54:12.536" v="19"/>
          <ac:spMkLst>
            <pc:docMk/>
            <pc:sldMk cId="0" sldId="286"/>
            <ac:spMk id="55" creationId="{00000000-0000-0000-0000-000000000000}"/>
          </ac:spMkLst>
        </pc:spChg>
        <pc:spChg chg="mod">
          <ac:chgData name="Mondal, Tanmay" userId="83c199d5-d146-4e16-b08e-fa47ebac23d7" providerId="ADAL" clId="{7889F8E4-3B11-44EC-BF56-408DF8153FC1}" dt="2020-07-27T05:54:12.536" v="19"/>
          <ac:spMkLst>
            <pc:docMk/>
            <pc:sldMk cId="0" sldId="286"/>
            <ac:spMk id="56" creationId="{00000000-0000-0000-0000-000000000000}"/>
          </ac:spMkLst>
        </pc:spChg>
        <pc:spChg chg="mod">
          <ac:chgData name="Mondal, Tanmay" userId="83c199d5-d146-4e16-b08e-fa47ebac23d7" providerId="ADAL" clId="{7889F8E4-3B11-44EC-BF56-408DF8153FC1}" dt="2020-07-27T05:54:12.536" v="19"/>
          <ac:spMkLst>
            <pc:docMk/>
            <pc:sldMk cId="0" sldId="286"/>
            <ac:spMk id="57" creationId="{00000000-0000-0000-0000-000000000000}"/>
          </ac:spMkLst>
        </pc:spChg>
        <pc:spChg chg="mod">
          <ac:chgData name="Mondal, Tanmay" userId="83c199d5-d146-4e16-b08e-fa47ebac23d7" providerId="ADAL" clId="{7889F8E4-3B11-44EC-BF56-408DF8153FC1}" dt="2020-07-27T05:54:12.536" v="19"/>
          <ac:spMkLst>
            <pc:docMk/>
            <pc:sldMk cId="0" sldId="286"/>
            <ac:spMk id="58" creationId="{00000000-0000-0000-0000-000000000000}"/>
          </ac:spMkLst>
        </pc:spChg>
        <pc:spChg chg="mod">
          <ac:chgData name="Mondal, Tanmay" userId="83c199d5-d146-4e16-b08e-fa47ebac23d7" providerId="ADAL" clId="{7889F8E4-3B11-44EC-BF56-408DF8153FC1}" dt="2020-07-27T05:54:12.536" v="19"/>
          <ac:spMkLst>
            <pc:docMk/>
            <pc:sldMk cId="0" sldId="286"/>
            <ac:spMk id="59" creationId="{00000000-0000-0000-0000-000000000000}"/>
          </ac:spMkLst>
        </pc:spChg>
        <pc:spChg chg="mod">
          <ac:chgData name="Mondal, Tanmay" userId="83c199d5-d146-4e16-b08e-fa47ebac23d7" providerId="ADAL" clId="{7889F8E4-3B11-44EC-BF56-408DF8153FC1}" dt="2020-07-27T05:54:12.536" v="19"/>
          <ac:spMkLst>
            <pc:docMk/>
            <pc:sldMk cId="0" sldId="286"/>
            <ac:spMk id="60" creationId="{00000000-0000-0000-0000-000000000000}"/>
          </ac:spMkLst>
        </pc:spChg>
        <pc:spChg chg="mod">
          <ac:chgData name="Mondal, Tanmay" userId="83c199d5-d146-4e16-b08e-fa47ebac23d7" providerId="ADAL" clId="{7889F8E4-3B11-44EC-BF56-408DF8153FC1}" dt="2020-07-27T05:54:12.536" v="19"/>
          <ac:spMkLst>
            <pc:docMk/>
            <pc:sldMk cId="0" sldId="286"/>
            <ac:spMk id="61" creationId="{00000000-0000-0000-0000-000000000000}"/>
          </ac:spMkLst>
        </pc:spChg>
        <pc:spChg chg="mod">
          <ac:chgData name="Mondal, Tanmay" userId="83c199d5-d146-4e16-b08e-fa47ebac23d7" providerId="ADAL" clId="{7889F8E4-3B11-44EC-BF56-408DF8153FC1}" dt="2020-07-27T05:54:12.536" v="19"/>
          <ac:spMkLst>
            <pc:docMk/>
            <pc:sldMk cId="0" sldId="286"/>
            <ac:spMk id="62" creationId="{00000000-0000-0000-0000-000000000000}"/>
          </ac:spMkLst>
        </pc:spChg>
        <pc:spChg chg="mod">
          <ac:chgData name="Mondal, Tanmay" userId="83c199d5-d146-4e16-b08e-fa47ebac23d7" providerId="ADAL" clId="{7889F8E4-3B11-44EC-BF56-408DF8153FC1}" dt="2020-07-27T05:54:12.536" v="19"/>
          <ac:spMkLst>
            <pc:docMk/>
            <pc:sldMk cId="0" sldId="286"/>
            <ac:spMk id="63" creationId="{00000000-0000-0000-0000-000000000000}"/>
          </ac:spMkLst>
        </pc:spChg>
        <pc:spChg chg="mod">
          <ac:chgData name="Mondal, Tanmay" userId="83c199d5-d146-4e16-b08e-fa47ebac23d7" providerId="ADAL" clId="{7889F8E4-3B11-44EC-BF56-408DF8153FC1}" dt="2020-07-27T05:54:12.536" v="19"/>
          <ac:spMkLst>
            <pc:docMk/>
            <pc:sldMk cId="0" sldId="286"/>
            <ac:spMk id="64" creationId="{00000000-0000-0000-0000-000000000000}"/>
          </ac:spMkLst>
        </pc:spChg>
        <pc:spChg chg="mod">
          <ac:chgData name="Mondal, Tanmay" userId="83c199d5-d146-4e16-b08e-fa47ebac23d7" providerId="ADAL" clId="{7889F8E4-3B11-44EC-BF56-408DF8153FC1}" dt="2020-07-27T05:54:12.536" v="19"/>
          <ac:spMkLst>
            <pc:docMk/>
            <pc:sldMk cId="0" sldId="286"/>
            <ac:spMk id="65" creationId="{00000000-0000-0000-0000-000000000000}"/>
          </ac:spMkLst>
        </pc:spChg>
        <pc:spChg chg="mod">
          <ac:chgData name="Mondal, Tanmay" userId="83c199d5-d146-4e16-b08e-fa47ebac23d7" providerId="ADAL" clId="{7889F8E4-3B11-44EC-BF56-408DF8153FC1}" dt="2020-07-27T05:54:12.536" v="19"/>
          <ac:spMkLst>
            <pc:docMk/>
            <pc:sldMk cId="0" sldId="286"/>
            <ac:spMk id="66" creationId="{00000000-0000-0000-0000-000000000000}"/>
          </ac:spMkLst>
        </pc:spChg>
        <pc:spChg chg="mod">
          <ac:chgData name="Mondal, Tanmay" userId="83c199d5-d146-4e16-b08e-fa47ebac23d7" providerId="ADAL" clId="{7889F8E4-3B11-44EC-BF56-408DF8153FC1}" dt="2020-07-27T05:54:12.536" v="19"/>
          <ac:spMkLst>
            <pc:docMk/>
            <pc:sldMk cId="0" sldId="286"/>
            <ac:spMk id="67" creationId="{00000000-0000-0000-0000-000000000000}"/>
          </ac:spMkLst>
        </pc:spChg>
        <pc:spChg chg="mod">
          <ac:chgData name="Mondal, Tanmay" userId="83c199d5-d146-4e16-b08e-fa47ebac23d7" providerId="ADAL" clId="{7889F8E4-3B11-44EC-BF56-408DF8153FC1}" dt="2020-07-27T05:54:12.536" v="19"/>
          <ac:spMkLst>
            <pc:docMk/>
            <pc:sldMk cId="0" sldId="286"/>
            <ac:spMk id="68" creationId="{00000000-0000-0000-0000-000000000000}"/>
          </ac:spMkLst>
        </pc:spChg>
        <pc:spChg chg="mod">
          <ac:chgData name="Mondal, Tanmay" userId="83c199d5-d146-4e16-b08e-fa47ebac23d7" providerId="ADAL" clId="{7889F8E4-3B11-44EC-BF56-408DF8153FC1}" dt="2020-07-27T05:54:12.536" v="19"/>
          <ac:spMkLst>
            <pc:docMk/>
            <pc:sldMk cId="0" sldId="286"/>
            <ac:spMk id="69" creationId="{00000000-0000-0000-0000-000000000000}"/>
          </ac:spMkLst>
        </pc:spChg>
        <pc:spChg chg="mod">
          <ac:chgData name="Mondal, Tanmay" userId="83c199d5-d146-4e16-b08e-fa47ebac23d7" providerId="ADAL" clId="{7889F8E4-3B11-44EC-BF56-408DF8153FC1}" dt="2020-07-27T05:54:12.536" v="19"/>
          <ac:spMkLst>
            <pc:docMk/>
            <pc:sldMk cId="0" sldId="286"/>
            <ac:spMk id="70" creationId="{00000000-0000-0000-0000-000000000000}"/>
          </ac:spMkLst>
        </pc:spChg>
        <pc:spChg chg="mod">
          <ac:chgData name="Mondal, Tanmay" userId="83c199d5-d146-4e16-b08e-fa47ebac23d7" providerId="ADAL" clId="{7889F8E4-3B11-44EC-BF56-408DF8153FC1}" dt="2020-07-27T05:54:12.536" v="19"/>
          <ac:spMkLst>
            <pc:docMk/>
            <pc:sldMk cId="0" sldId="286"/>
            <ac:spMk id="71" creationId="{00000000-0000-0000-0000-000000000000}"/>
          </ac:spMkLst>
        </pc:spChg>
        <pc:spChg chg="mod">
          <ac:chgData name="Mondal, Tanmay" userId="83c199d5-d146-4e16-b08e-fa47ebac23d7" providerId="ADAL" clId="{7889F8E4-3B11-44EC-BF56-408DF8153FC1}" dt="2020-07-27T05:54:12.536" v="19"/>
          <ac:spMkLst>
            <pc:docMk/>
            <pc:sldMk cId="0" sldId="286"/>
            <ac:spMk id="72" creationId="{00000000-0000-0000-0000-000000000000}"/>
          </ac:spMkLst>
        </pc:spChg>
        <pc:spChg chg="mod">
          <ac:chgData name="Mondal, Tanmay" userId="83c199d5-d146-4e16-b08e-fa47ebac23d7" providerId="ADAL" clId="{7889F8E4-3B11-44EC-BF56-408DF8153FC1}" dt="2020-07-27T05:54:12.536" v="19"/>
          <ac:spMkLst>
            <pc:docMk/>
            <pc:sldMk cId="0" sldId="286"/>
            <ac:spMk id="73" creationId="{00000000-0000-0000-0000-000000000000}"/>
          </ac:spMkLst>
        </pc:spChg>
        <pc:spChg chg="mod">
          <ac:chgData name="Mondal, Tanmay" userId="83c199d5-d146-4e16-b08e-fa47ebac23d7" providerId="ADAL" clId="{7889F8E4-3B11-44EC-BF56-408DF8153FC1}" dt="2020-07-27T05:54:12.536" v="19"/>
          <ac:spMkLst>
            <pc:docMk/>
            <pc:sldMk cId="0" sldId="286"/>
            <ac:spMk id="74" creationId="{00000000-0000-0000-0000-000000000000}"/>
          </ac:spMkLst>
        </pc:spChg>
        <pc:spChg chg="mod">
          <ac:chgData name="Mondal, Tanmay" userId="83c199d5-d146-4e16-b08e-fa47ebac23d7" providerId="ADAL" clId="{7889F8E4-3B11-44EC-BF56-408DF8153FC1}" dt="2020-07-27T05:54:12.536" v="19"/>
          <ac:spMkLst>
            <pc:docMk/>
            <pc:sldMk cId="0" sldId="286"/>
            <ac:spMk id="75" creationId="{00000000-0000-0000-0000-000000000000}"/>
          </ac:spMkLst>
        </pc:spChg>
        <pc:spChg chg="mod">
          <ac:chgData name="Mondal, Tanmay" userId="83c199d5-d146-4e16-b08e-fa47ebac23d7" providerId="ADAL" clId="{7889F8E4-3B11-44EC-BF56-408DF8153FC1}" dt="2020-07-27T05:54:12.536" v="19"/>
          <ac:spMkLst>
            <pc:docMk/>
            <pc:sldMk cId="0" sldId="286"/>
            <ac:spMk id="76" creationId="{00000000-0000-0000-0000-000000000000}"/>
          </ac:spMkLst>
        </pc:spChg>
        <pc:spChg chg="mod">
          <ac:chgData name="Mondal, Tanmay" userId="83c199d5-d146-4e16-b08e-fa47ebac23d7" providerId="ADAL" clId="{7889F8E4-3B11-44EC-BF56-408DF8153FC1}" dt="2020-07-27T05:54:12.536" v="19"/>
          <ac:spMkLst>
            <pc:docMk/>
            <pc:sldMk cId="0" sldId="286"/>
            <ac:spMk id="77" creationId="{00000000-0000-0000-0000-000000000000}"/>
          </ac:spMkLst>
        </pc:spChg>
        <pc:spChg chg="mod">
          <ac:chgData name="Mondal, Tanmay" userId="83c199d5-d146-4e16-b08e-fa47ebac23d7" providerId="ADAL" clId="{7889F8E4-3B11-44EC-BF56-408DF8153FC1}" dt="2020-07-27T05:54:12.536" v="19"/>
          <ac:spMkLst>
            <pc:docMk/>
            <pc:sldMk cId="0" sldId="286"/>
            <ac:spMk id="78" creationId="{00000000-0000-0000-0000-000000000000}"/>
          </ac:spMkLst>
        </pc:spChg>
        <pc:spChg chg="mod">
          <ac:chgData name="Mondal, Tanmay" userId="83c199d5-d146-4e16-b08e-fa47ebac23d7" providerId="ADAL" clId="{7889F8E4-3B11-44EC-BF56-408DF8153FC1}" dt="2020-07-27T05:54:12.536" v="19"/>
          <ac:spMkLst>
            <pc:docMk/>
            <pc:sldMk cId="0" sldId="286"/>
            <ac:spMk id="79" creationId="{00000000-0000-0000-0000-000000000000}"/>
          </ac:spMkLst>
        </pc:spChg>
        <pc:spChg chg="mod">
          <ac:chgData name="Mondal, Tanmay" userId="83c199d5-d146-4e16-b08e-fa47ebac23d7" providerId="ADAL" clId="{7889F8E4-3B11-44EC-BF56-408DF8153FC1}" dt="2020-07-27T05:54:12.536" v="19"/>
          <ac:spMkLst>
            <pc:docMk/>
            <pc:sldMk cId="0" sldId="286"/>
            <ac:spMk id="80" creationId="{00000000-0000-0000-0000-000000000000}"/>
          </ac:spMkLst>
        </pc:spChg>
        <pc:spChg chg="mod">
          <ac:chgData name="Mondal, Tanmay" userId="83c199d5-d146-4e16-b08e-fa47ebac23d7" providerId="ADAL" clId="{7889F8E4-3B11-44EC-BF56-408DF8153FC1}" dt="2020-07-27T05:54:12.536" v="19"/>
          <ac:spMkLst>
            <pc:docMk/>
            <pc:sldMk cId="0" sldId="286"/>
            <ac:spMk id="81" creationId="{00000000-0000-0000-0000-000000000000}"/>
          </ac:spMkLst>
        </pc:spChg>
        <pc:spChg chg="mod">
          <ac:chgData name="Mondal, Tanmay" userId="83c199d5-d146-4e16-b08e-fa47ebac23d7" providerId="ADAL" clId="{7889F8E4-3B11-44EC-BF56-408DF8153FC1}" dt="2020-07-27T05:54:12.536" v="19"/>
          <ac:spMkLst>
            <pc:docMk/>
            <pc:sldMk cId="0" sldId="286"/>
            <ac:spMk id="82" creationId="{00000000-0000-0000-0000-000000000000}"/>
          </ac:spMkLst>
        </pc:spChg>
        <pc:spChg chg="mod">
          <ac:chgData name="Mondal, Tanmay" userId="83c199d5-d146-4e16-b08e-fa47ebac23d7" providerId="ADAL" clId="{7889F8E4-3B11-44EC-BF56-408DF8153FC1}" dt="2020-07-27T05:54:12.536" v="19"/>
          <ac:spMkLst>
            <pc:docMk/>
            <pc:sldMk cId="0" sldId="286"/>
            <ac:spMk id="83" creationId="{00000000-0000-0000-0000-000000000000}"/>
          </ac:spMkLst>
        </pc:spChg>
        <pc:spChg chg="mod">
          <ac:chgData name="Mondal, Tanmay" userId="83c199d5-d146-4e16-b08e-fa47ebac23d7" providerId="ADAL" clId="{7889F8E4-3B11-44EC-BF56-408DF8153FC1}" dt="2020-07-27T05:54:12.536" v="19"/>
          <ac:spMkLst>
            <pc:docMk/>
            <pc:sldMk cId="0" sldId="286"/>
            <ac:spMk id="84" creationId="{00000000-0000-0000-0000-000000000000}"/>
          </ac:spMkLst>
        </pc:spChg>
        <pc:spChg chg="mod">
          <ac:chgData name="Mondal, Tanmay" userId="83c199d5-d146-4e16-b08e-fa47ebac23d7" providerId="ADAL" clId="{7889F8E4-3B11-44EC-BF56-408DF8153FC1}" dt="2020-07-27T05:54:12.536" v="19"/>
          <ac:spMkLst>
            <pc:docMk/>
            <pc:sldMk cId="0" sldId="286"/>
            <ac:spMk id="85" creationId="{00000000-0000-0000-0000-000000000000}"/>
          </ac:spMkLst>
        </pc:spChg>
        <pc:spChg chg="mod">
          <ac:chgData name="Mondal, Tanmay" userId="83c199d5-d146-4e16-b08e-fa47ebac23d7" providerId="ADAL" clId="{7889F8E4-3B11-44EC-BF56-408DF8153FC1}" dt="2020-07-27T05:54:12.536" v="19"/>
          <ac:spMkLst>
            <pc:docMk/>
            <pc:sldMk cId="0" sldId="286"/>
            <ac:spMk id="86" creationId="{00000000-0000-0000-0000-000000000000}"/>
          </ac:spMkLst>
        </pc:spChg>
        <pc:spChg chg="mod">
          <ac:chgData name="Mondal, Tanmay" userId="83c199d5-d146-4e16-b08e-fa47ebac23d7" providerId="ADAL" clId="{7889F8E4-3B11-44EC-BF56-408DF8153FC1}" dt="2020-07-27T05:54:12.536" v="19"/>
          <ac:spMkLst>
            <pc:docMk/>
            <pc:sldMk cId="0" sldId="286"/>
            <ac:spMk id="87" creationId="{00000000-0000-0000-0000-000000000000}"/>
          </ac:spMkLst>
        </pc:spChg>
      </pc:sldChg>
      <pc:sldChg chg="addSp delSp modSp">
        <pc:chgData name="Mondal, Tanmay" userId="83c199d5-d146-4e16-b08e-fa47ebac23d7" providerId="ADAL" clId="{7889F8E4-3B11-44EC-BF56-408DF8153FC1}" dt="2020-07-27T07:34:55.613" v="631" actId="108"/>
        <pc:sldMkLst>
          <pc:docMk/>
          <pc:sldMk cId="0" sldId="290"/>
        </pc:sldMkLst>
        <pc:spChg chg="mod">
          <ac:chgData name="Mondal, Tanmay" userId="83c199d5-d146-4e16-b08e-fa47ebac23d7" providerId="ADAL" clId="{7889F8E4-3B11-44EC-BF56-408DF8153FC1}" dt="2020-07-27T05:54:12.536" v="19"/>
          <ac:spMkLst>
            <pc:docMk/>
            <pc:sldMk cId="0" sldId="290"/>
            <ac:spMk id="2" creationId="{00000000-0000-0000-0000-000000000000}"/>
          </ac:spMkLst>
        </pc:spChg>
        <pc:spChg chg="add del mod">
          <ac:chgData name="Mondal, Tanmay" userId="83c199d5-d146-4e16-b08e-fa47ebac23d7" providerId="ADAL" clId="{7889F8E4-3B11-44EC-BF56-408DF8153FC1}" dt="2020-07-27T07:34:41.992" v="630" actId="478"/>
          <ac:spMkLst>
            <pc:docMk/>
            <pc:sldMk cId="0" sldId="290"/>
            <ac:spMk id="3" creationId="{C1E7BE2E-4D0E-42F7-87BA-DB0A481F2CD1}"/>
          </ac:spMkLst>
        </pc:spChg>
        <pc:spChg chg="add del mod">
          <ac:chgData name="Mondal, Tanmay" userId="83c199d5-d146-4e16-b08e-fa47ebac23d7" providerId="ADAL" clId="{7889F8E4-3B11-44EC-BF56-408DF8153FC1}" dt="2020-07-27T07:34:39.111" v="629" actId="478"/>
          <ac:spMkLst>
            <pc:docMk/>
            <pc:sldMk cId="0" sldId="290"/>
            <ac:spMk id="4" creationId="{85D46CC6-BEA1-4DF7-BA44-D3F689B14831}"/>
          </ac:spMkLst>
        </pc:spChg>
        <pc:spChg chg="mod">
          <ac:chgData name="Mondal, Tanmay" userId="83c199d5-d146-4e16-b08e-fa47ebac23d7" providerId="ADAL" clId="{7889F8E4-3B11-44EC-BF56-408DF8153FC1}" dt="2020-07-27T07:34:55.613" v="631" actId="108"/>
          <ac:spMkLst>
            <pc:docMk/>
            <pc:sldMk cId="0" sldId="290"/>
            <ac:spMk id="14" creationId="{00000000-0000-0000-0000-000000000000}"/>
          </ac:spMkLst>
        </pc:spChg>
      </pc:sldChg>
      <pc:sldChg chg="addSp delSp modSp">
        <pc:chgData name="Mondal, Tanmay" userId="83c199d5-d146-4e16-b08e-fa47ebac23d7" providerId="ADAL" clId="{7889F8E4-3B11-44EC-BF56-408DF8153FC1}" dt="2020-07-27T07:10:34.399" v="246" actId="478"/>
        <pc:sldMkLst>
          <pc:docMk/>
          <pc:sldMk cId="1515515363" sldId="291"/>
        </pc:sldMkLst>
        <pc:spChg chg="mod">
          <ac:chgData name="Mondal, Tanmay" userId="83c199d5-d146-4e16-b08e-fa47ebac23d7" providerId="ADAL" clId="{7889F8E4-3B11-44EC-BF56-408DF8153FC1}" dt="2020-07-27T05:54:12.536" v="19"/>
          <ac:spMkLst>
            <pc:docMk/>
            <pc:sldMk cId="1515515363" sldId="291"/>
            <ac:spMk id="3" creationId="{00000000-0000-0000-0000-000000000000}"/>
          </ac:spMkLst>
        </pc:spChg>
        <pc:spChg chg="add del mod">
          <ac:chgData name="Mondal, Tanmay" userId="83c199d5-d146-4e16-b08e-fa47ebac23d7" providerId="ADAL" clId="{7889F8E4-3B11-44EC-BF56-408DF8153FC1}" dt="2020-07-27T07:10:34.399" v="246" actId="478"/>
          <ac:spMkLst>
            <pc:docMk/>
            <pc:sldMk cId="1515515363" sldId="291"/>
            <ac:spMk id="4" creationId="{A9852CEB-E318-4486-9154-9A0183B63D0B}"/>
          </ac:spMkLst>
        </pc:spChg>
      </pc:sldChg>
      <pc:sldChg chg="addSp delSp modSp">
        <pc:chgData name="Mondal, Tanmay" userId="83c199d5-d146-4e16-b08e-fa47ebac23d7" providerId="ADAL" clId="{7889F8E4-3B11-44EC-BF56-408DF8153FC1}" dt="2020-07-27T07:10:49.302" v="248" actId="478"/>
        <pc:sldMkLst>
          <pc:docMk/>
          <pc:sldMk cId="2936780351" sldId="292"/>
        </pc:sldMkLst>
        <pc:spChg chg="mod">
          <ac:chgData name="Mondal, Tanmay" userId="83c199d5-d146-4e16-b08e-fa47ebac23d7" providerId="ADAL" clId="{7889F8E4-3B11-44EC-BF56-408DF8153FC1}" dt="2020-07-27T05:54:12.536" v="19"/>
          <ac:spMkLst>
            <pc:docMk/>
            <pc:sldMk cId="2936780351" sldId="292"/>
            <ac:spMk id="3" creationId="{00000000-0000-0000-0000-000000000000}"/>
          </ac:spMkLst>
        </pc:spChg>
        <pc:spChg chg="add del mod">
          <ac:chgData name="Mondal, Tanmay" userId="83c199d5-d146-4e16-b08e-fa47ebac23d7" providerId="ADAL" clId="{7889F8E4-3B11-44EC-BF56-408DF8153FC1}" dt="2020-07-27T07:10:49.302" v="248" actId="478"/>
          <ac:spMkLst>
            <pc:docMk/>
            <pc:sldMk cId="2936780351" sldId="292"/>
            <ac:spMk id="5" creationId="{1041DE31-209C-485C-A206-AAF2731C6245}"/>
          </ac:spMkLst>
        </pc:spChg>
        <pc:picChg chg="mod">
          <ac:chgData name="Mondal, Tanmay" userId="83c199d5-d146-4e16-b08e-fa47ebac23d7" providerId="ADAL" clId="{7889F8E4-3B11-44EC-BF56-408DF8153FC1}" dt="2020-07-27T05:54:12.536" v="19"/>
          <ac:picMkLst>
            <pc:docMk/>
            <pc:sldMk cId="2936780351" sldId="292"/>
            <ac:picMk id="4" creationId="{00000000-0000-0000-0000-000000000000}"/>
          </ac:picMkLst>
        </pc:picChg>
      </pc:sldChg>
      <pc:sldChg chg="addSp delSp modSp">
        <pc:chgData name="Mondal, Tanmay" userId="83c199d5-d146-4e16-b08e-fa47ebac23d7" providerId="ADAL" clId="{7889F8E4-3B11-44EC-BF56-408DF8153FC1}" dt="2020-07-27T07:33:09.194" v="613" actId="478"/>
        <pc:sldMkLst>
          <pc:docMk/>
          <pc:sldMk cId="2031106955" sldId="293"/>
        </pc:sldMkLst>
        <pc:spChg chg="mod">
          <ac:chgData name="Mondal, Tanmay" userId="83c199d5-d146-4e16-b08e-fa47ebac23d7" providerId="ADAL" clId="{7889F8E4-3B11-44EC-BF56-408DF8153FC1}" dt="2020-07-27T07:33:06.034" v="612" actId="27636"/>
          <ac:spMkLst>
            <pc:docMk/>
            <pc:sldMk cId="2031106955" sldId="293"/>
            <ac:spMk id="2" creationId="{00000000-0000-0000-0000-000000000000}"/>
          </ac:spMkLst>
        </pc:spChg>
        <pc:spChg chg="mod">
          <ac:chgData name="Mondal, Tanmay" userId="83c199d5-d146-4e16-b08e-fa47ebac23d7" providerId="ADAL" clId="{7889F8E4-3B11-44EC-BF56-408DF8153FC1}" dt="2020-07-27T05:54:12.536" v="19"/>
          <ac:spMkLst>
            <pc:docMk/>
            <pc:sldMk cId="2031106955" sldId="293"/>
            <ac:spMk id="3" creationId="{00000000-0000-0000-0000-000000000000}"/>
          </ac:spMkLst>
        </pc:spChg>
        <pc:spChg chg="add del mod">
          <ac:chgData name="Mondal, Tanmay" userId="83c199d5-d146-4e16-b08e-fa47ebac23d7" providerId="ADAL" clId="{7889F8E4-3B11-44EC-BF56-408DF8153FC1}" dt="2020-07-27T07:33:09.194" v="613" actId="478"/>
          <ac:spMkLst>
            <pc:docMk/>
            <pc:sldMk cId="2031106955" sldId="293"/>
            <ac:spMk id="4" creationId="{A0EDCB52-9BAB-4C1E-9B90-543F619A93EB}"/>
          </ac:spMkLst>
        </pc:spChg>
      </pc:sldChg>
      <pc:sldChg chg="addSp delSp modSp">
        <pc:chgData name="Mondal, Tanmay" userId="83c199d5-d146-4e16-b08e-fa47ebac23d7" providerId="ADAL" clId="{7889F8E4-3B11-44EC-BF56-408DF8153FC1}" dt="2020-07-27T07:33:42.893" v="618" actId="108"/>
        <pc:sldMkLst>
          <pc:docMk/>
          <pc:sldMk cId="1491148146" sldId="294"/>
        </pc:sldMkLst>
        <pc:spChg chg="add del mod">
          <ac:chgData name="Mondal, Tanmay" userId="83c199d5-d146-4e16-b08e-fa47ebac23d7" providerId="ADAL" clId="{7889F8E4-3B11-44EC-BF56-408DF8153FC1}" dt="2020-07-27T07:33:20.319" v="615" actId="478"/>
          <ac:spMkLst>
            <pc:docMk/>
            <pc:sldMk cId="1491148146" sldId="294"/>
            <ac:spMk id="2" creationId="{3AAEA4D4-5DD4-4F56-972F-9F09E665EB7B}"/>
          </ac:spMkLst>
        </pc:spChg>
        <pc:spChg chg="mod">
          <ac:chgData name="Mondal, Tanmay" userId="83c199d5-d146-4e16-b08e-fa47ebac23d7" providerId="ADAL" clId="{7889F8E4-3B11-44EC-BF56-408DF8153FC1}" dt="2020-07-27T07:33:42.893" v="618" actId="108"/>
          <ac:spMkLst>
            <pc:docMk/>
            <pc:sldMk cId="1491148146" sldId="294"/>
            <ac:spMk id="3" creationId="{00000000-0000-0000-0000-000000000000}"/>
          </ac:spMkLst>
        </pc:spChg>
      </pc:sldChg>
      <pc:sldChg chg="addSp delSp modSp">
        <pc:chgData name="Mondal, Tanmay" userId="83c199d5-d146-4e16-b08e-fa47ebac23d7" providerId="ADAL" clId="{7889F8E4-3B11-44EC-BF56-408DF8153FC1}" dt="2020-07-27T07:33:58.331" v="621" actId="478"/>
        <pc:sldMkLst>
          <pc:docMk/>
          <pc:sldMk cId="4207545941" sldId="295"/>
        </pc:sldMkLst>
        <pc:spChg chg="add del mod">
          <ac:chgData name="Mondal, Tanmay" userId="83c199d5-d146-4e16-b08e-fa47ebac23d7" providerId="ADAL" clId="{7889F8E4-3B11-44EC-BF56-408DF8153FC1}" dt="2020-07-27T07:33:58.331" v="621" actId="478"/>
          <ac:spMkLst>
            <pc:docMk/>
            <pc:sldMk cId="4207545941" sldId="295"/>
            <ac:spMk id="2" creationId="{BF0BAD29-D101-41D9-A8F2-BAD8137E4B30}"/>
          </ac:spMkLst>
        </pc:spChg>
        <pc:spChg chg="mod">
          <ac:chgData name="Mondal, Tanmay" userId="83c199d5-d146-4e16-b08e-fa47ebac23d7" providerId="ADAL" clId="{7889F8E4-3B11-44EC-BF56-408DF8153FC1}" dt="2020-07-27T07:33:53.282" v="620" actId="27636"/>
          <ac:spMkLst>
            <pc:docMk/>
            <pc:sldMk cId="4207545941" sldId="295"/>
            <ac:spMk id="3" creationId="{00000000-0000-0000-0000-000000000000}"/>
          </ac:spMkLst>
        </pc:spChg>
      </pc:sldChg>
      <pc:sldChg chg="addSp delSp modSp">
        <pc:chgData name="Mondal, Tanmay" userId="83c199d5-d146-4e16-b08e-fa47ebac23d7" providerId="ADAL" clId="{7889F8E4-3B11-44EC-BF56-408DF8153FC1}" dt="2020-07-27T07:34:12.242" v="623" actId="478"/>
        <pc:sldMkLst>
          <pc:docMk/>
          <pc:sldMk cId="801213356" sldId="296"/>
        </pc:sldMkLst>
        <pc:spChg chg="add del mod">
          <ac:chgData name="Mondal, Tanmay" userId="83c199d5-d146-4e16-b08e-fa47ebac23d7" providerId="ADAL" clId="{7889F8E4-3B11-44EC-BF56-408DF8153FC1}" dt="2020-07-27T07:34:12.242" v="623" actId="478"/>
          <ac:spMkLst>
            <pc:docMk/>
            <pc:sldMk cId="801213356" sldId="296"/>
            <ac:spMk id="2" creationId="{C2CCE6AF-C9FE-432C-9FA6-C832F31355C9}"/>
          </ac:spMkLst>
        </pc:spChg>
        <pc:spChg chg="mod">
          <ac:chgData name="Mondal, Tanmay" userId="83c199d5-d146-4e16-b08e-fa47ebac23d7" providerId="ADAL" clId="{7889F8E4-3B11-44EC-BF56-408DF8153FC1}" dt="2020-07-27T05:54:12.536" v="19"/>
          <ac:spMkLst>
            <pc:docMk/>
            <pc:sldMk cId="801213356" sldId="296"/>
            <ac:spMk id="3" creationId="{00000000-0000-0000-0000-000000000000}"/>
          </ac:spMkLst>
        </pc:spChg>
      </pc:sldChg>
      <pc:sldChg chg="addSp delSp modSp add del">
        <pc:chgData name="Mondal, Tanmay" userId="83c199d5-d146-4e16-b08e-fa47ebac23d7" providerId="ADAL" clId="{7889F8E4-3B11-44EC-BF56-408DF8153FC1}" dt="2020-07-27T07:34:27.340" v="627" actId="478"/>
        <pc:sldMkLst>
          <pc:docMk/>
          <pc:sldMk cId="1985008909" sldId="297"/>
        </pc:sldMkLst>
        <pc:spChg chg="add del mod">
          <ac:chgData name="Mondal, Tanmay" userId="83c199d5-d146-4e16-b08e-fa47ebac23d7" providerId="ADAL" clId="{7889F8E4-3B11-44EC-BF56-408DF8153FC1}" dt="2020-07-27T07:34:27.340" v="627" actId="478"/>
          <ac:spMkLst>
            <pc:docMk/>
            <pc:sldMk cId="1985008909" sldId="297"/>
            <ac:spMk id="2" creationId="{143884CF-A5E8-4A75-89EC-05AE1A105509}"/>
          </ac:spMkLst>
        </pc:spChg>
        <pc:spChg chg="mod">
          <ac:chgData name="Mondal, Tanmay" userId="83c199d5-d146-4e16-b08e-fa47ebac23d7" providerId="ADAL" clId="{7889F8E4-3B11-44EC-BF56-408DF8153FC1}" dt="2020-07-27T05:54:12.536" v="19"/>
          <ac:spMkLst>
            <pc:docMk/>
            <pc:sldMk cId="1985008909" sldId="297"/>
            <ac:spMk id="3" creationId="{00000000-0000-0000-0000-000000000000}"/>
          </ac:spMkLst>
        </pc:spChg>
      </pc:sldChg>
      <pc:sldChg chg="addSp delSp modSp">
        <pc:chgData name="Mondal, Tanmay" userId="83c199d5-d146-4e16-b08e-fa47ebac23d7" providerId="ADAL" clId="{7889F8E4-3B11-44EC-BF56-408DF8153FC1}" dt="2020-07-27T06:56:04.943" v="72" actId="20577"/>
        <pc:sldMkLst>
          <pc:docMk/>
          <pc:sldMk cId="3636108325" sldId="298"/>
        </pc:sldMkLst>
        <pc:spChg chg="add mod">
          <ac:chgData name="Mondal, Tanmay" userId="83c199d5-d146-4e16-b08e-fa47ebac23d7" providerId="ADAL" clId="{7889F8E4-3B11-44EC-BF56-408DF8153FC1}" dt="2020-07-27T05:53:59.542" v="18"/>
          <ac:spMkLst>
            <pc:docMk/>
            <pc:sldMk cId="3636108325" sldId="298"/>
            <ac:spMk id="2" creationId="{CC2BFC39-161D-4226-AA54-618B9242824D}"/>
          </ac:spMkLst>
        </pc:spChg>
        <pc:spChg chg="del mod">
          <ac:chgData name="Mondal, Tanmay" userId="83c199d5-d146-4e16-b08e-fa47ebac23d7" providerId="ADAL" clId="{7889F8E4-3B11-44EC-BF56-408DF8153FC1}" dt="2020-07-27T05:53:34.387" v="17" actId="478"/>
          <ac:spMkLst>
            <pc:docMk/>
            <pc:sldMk cId="3636108325" sldId="298"/>
            <ac:spMk id="3" creationId="{00000000-0000-0000-0000-000000000000}"/>
          </ac:spMkLst>
        </pc:spChg>
        <pc:spChg chg="add mod">
          <ac:chgData name="Mondal, Tanmay" userId="83c199d5-d146-4e16-b08e-fa47ebac23d7" providerId="ADAL" clId="{7889F8E4-3B11-44EC-BF56-408DF8153FC1}" dt="2020-07-27T06:56:04.943" v="72" actId="20577"/>
          <ac:spMkLst>
            <pc:docMk/>
            <pc:sldMk cId="3636108325" sldId="298"/>
            <ac:spMk id="4" creationId="{2FA19E87-79B0-4C63-A67E-1E20CE183392}"/>
          </ac:spMkLst>
        </pc:spChg>
        <pc:spChg chg="del mod">
          <ac:chgData name="Mondal, Tanmay" userId="83c199d5-d146-4e16-b08e-fa47ebac23d7" providerId="ADAL" clId="{7889F8E4-3B11-44EC-BF56-408DF8153FC1}" dt="2020-07-27T05:54:17.690" v="20" actId="478"/>
          <ac:spMkLst>
            <pc:docMk/>
            <pc:sldMk cId="3636108325" sldId="298"/>
            <ac:spMk id="6" creationId="{4DC3969F-3443-44EA-AA2A-4533A0A05B49}"/>
          </ac:spMkLst>
        </pc:spChg>
        <pc:spChg chg="del mod">
          <ac:chgData name="Mondal, Tanmay" userId="83c199d5-d146-4e16-b08e-fa47ebac23d7" providerId="ADAL" clId="{7889F8E4-3B11-44EC-BF56-408DF8153FC1}" dt="2020-07-27T05:54:24.266" v="22" actId="478"/>
          <ac:spMkLst>
            <pc:docMk/>
            <pc:sldMk cId="3636108325" sldId="298"/>
            <ac:spMk id="32770" creationId="{00000000-0000-0000-0000-000000000000}"/>
          </ac:spMkLst>
        </pc:spChg>
      </pc:sldChg>
      <pc:sldChg chg="modSp">
        <pc:chgData name="Mondal, Tanmay" userId="83c199d5-d146-4e16-b08e-fa47ebac23d7" providerId="ADAL" clId="{7889F8E4-3B11-44EC-BF56-408DF8153FC1}" dt="2020-07-27T07:47:02.584" v="743" actId="1035"/>
        <pc:sldMkLst>
          <pc:docMk/>
          <pc:sldMk cId="1956212275" sldId="299"/>
        </pc:sldMkLst>
        <pc:spChg chg="mod">
          <ac:chgData name="Mondal, Tanmay" userId="83c199d5-d146-4e16-b08e-fa47ebac23d7" providerId="ADAL" clId="{7889F8E4-3B11-44EC-BF56-408DF8153FC1}" dt="2020-07-27T06:57:15.464" v="79" actId="14100"/>
          <ac:spMkLst>
            <pc:docMk/>
            <pc:sldMk cId="1956212275" sldId="299"/>
            <ac:spMk id="33794" creationId="{00000000-0000-0000-0000-000000000000}"/>
          </ac:spMkLst>
        </pc:spChg>
        <pc:spChg chg="mod">
          <ac:chgData name="Mondal, Tanmay" userId="83c199d5-d146-4e16-b08e-fa47ebac23d7" providerId="ADAL" clId="{7889F8E4-3B11-44EC-BF56-408DF8153FC1}" dt="2020-07-27T07:47:02.584" v="743" actId="1035"/>
          <ac:spMkLst>
            <pc:docMk/>
            <pc:sldMk cId="1956212275" sldId="299"/>
            <ac:spMk id="33795" creationId="{00000000-0000-0000-0000-000000000000}"/>
          </ac:spMkLst>
        </pc:spChg>
      </pc:sldChg>
      <pc:sldChg chg="modSp setBg">
        <pc:chgData name="Mondal, Tanmay" userId="83c199d5-d146-4e16-b08e-fa47ebac23d7" providerId="ADAL" clId="{7889F8E4-3B11-44EC-BF56-408DF8153FC1}" dt="2020-07-27T07:51:39.625" v="815" actId="1038"/>
        <pc:sldMkLst>
          <pc:docMk/>
          <pc:sldMk cId="2792705531" sldId="300"/>
        </pc:sldMkLst>
        <pc:spChg chg="mod">
          <ac:chgData name="Mondal, Tanmay" userId="83c199d5-d146-4e16-b08e-fa47ebac23d7" providerId="ADAL" clId="{7889F8E4-3B11-44EC-BF56-408DF8153FC1}" dt="2020-07-27T07:00:24.433" v="120" actId="1076"/>
          <ac:spMkLst>
            <pc:docMk/>
            <pc:sldMk cId="2792705531" sldId="300"/>
            <ac:spMk id="2" creationId="{00000000-0000-0000-0000-000000000000}"/>
          </ac:spMkLst>
        </pc:spChg>
        <pc:spChg chg="mod">
          <ac:chgData name="Mondal, Tanmay" userId="83c199d5-d146-4e16-b08e-fa47ebac23d7" providerId="ADAL" clId="{7889F8E4-3B11-44EC-BF56-408DF8153FC1}" dt="2020-07-27T07:51:39.625" v="815" actId="1038"/>
          <ac:spMkLst>
            <pc:docMk/>
            <pc:sldMk cId="2792705531" sldId="300"/>
            <ac:spMk id="33795" creationId="{00000000-0000-0000-0000-000000000000}"/>
          </ac:spMkLst>
        </pc:spChg>
      </pc:sldChg>
      <pc:sldChg chg="addSp delSp modSp add">
        <pc:chgData name="Mondal, Tanmay" userId="83c199d5-d146-4e16-b08e-fa47ebac23d7" providerId="ADAL" clId="{7889F8E4-3B11-44EC-BF56-408DF8153FC1}" dt="2020-07-27T07:18:40.566" v="443" actId="20577"/>
        <pc:sldMkLst>
          <pc:docMk/>
          <pc:sldMk cId="2081610729" sldId="301"/>
        </pc:sldMkLst>
        <pc:spChg chg="del">
          <ac:chgData name="Mondal, Tanmay" userId="83c199d5-d146-4e16-b08e-fa47ebac23d7" providerId="ADAL" clId="{7889F8E4-3B11-44EC-BF56-408DF8153FC1}" dt="2020-07-27T07:09:47.244" v="233" actId="478"/>
          <ac:spMkLst>
            <pc:docMk/>
            <pc:sldMk cId="2081610729" sldId="301"/>
            <ac:spMk id="2" creationId="{7FB3E5C2-DF9A-4606-9B27-466ED9B32CBA}"/>
          </ac:spMkLst>
        </pc:spChg>
        <pc:spChg chg="del mod">
          <ac:chgData name="Mondal, Tanmay" userId="83c199d5-d146-4e16-b08e-fa47ebac23d7" providerId="ADAL" clId="{7889F8E4-3B11-44EC-BF56-408DF8153FC1}" dt="2020-07-27T07:09:43.184" v="232" actId="478"/>
          <ac:spMkLst>
            <pc:docMk/>
            <pc:sldMk cId="2081610729" sldId="301"/>
            <ac:spMk id="3" creationId="{654058BB-0C33-4C08-94D0-D87B9705A062}"/>
          </ac:spMkLst>
        </pc:spChg>
        <pc:spChg chg="add del mod">
          <ac:chgData name="Mondal, Tanmay" userId="83c199d5-d146-4e16-b08e-fa47ebac23d7" providerId="ADAL" clId="{7889F8E4-3B11-44EC-BF56-408DF8153FC1}" dt="2020-07-27T07:09:57.231" v="243" actId="478"/>
          <ac:spMkLst>
            <pc:docMk/>
            <pc:sldMk cId="2081610729" sldId="301"/>
            <ac:spMk id="5" creationId="{EEC23F7E-3196-41B8-AECD-D164AA4D135A}"/>
          </ac:spMkLst>
        </pc:spChg>
        <pc:spChg chg="add mod">
          <ac:chgData name="Mondal, Tanmay" userId="83c199d5-d146-4e16-b08e-fa47ebac23d7" providerId="ADAL" clId="{7889F8E4-3B11-44EC-BF56-408DF8153FC1}" dt="2020-07-27T07:18:40.566" v="443" actId="20577"/>
          <ac:spMkLst>
            <pc:docMk/>
            <pc:sldMk cId="2081610729" sldId="301"/>
            <ac:spMk id="6" creationId="{1A28922B-B702-46CB-83EC-324B86AD1D8F}"/>
          </ac:spMkLst>
        </pc:spChg>
      </pc:sldChg>
      <pc:sldChg chg="modSp add del">
        <pc:chgData name="Mondal, Tanmay" userId="83c199d5-d146-4e16-b08e-fa47ebac23d7" providerId="ADAL" clId="{7889F8E4-3B11-44EC-BF56-408DF8153FC1}" dt="2020-07-27T07:17:27.053" v="426" actId="2696"/>
        <pc:sldMkLst>
          <pc:docMk/>
          <pc:sldMk cId="1186555603" sldId="302"/>
        </pc:sldMkLst>
        <pc:spChg chg="mod">
          <ac:chgData name="Mondal, Tanmay" userId="83c199d5-d146-4e16-b08e-fa47ebac23d7" providerId="ADAL" clId="{7889F8E4-3B11-44EC-BF56-408DF8153FC1}" dt="2020-07-27T07:11:53.134" v="265" actId="20577"/>
          <ac:spMkLst>
            <pc:docMk/>
            <pc:sldMk cId="1186555603" sldId="302"/>
            <ac:spMk id="6" creationId="{1A28922B-B702-46CB-83EC-324B86AD1D8F}"/>
          </ac:spMkLst>
        </pc:spChg>
      </pc:sldChg>
      <pc:sldChg chg="modSp add">
        <pc:chgData name="Mondal, Tanmay" userId="83c199d5-d146-4e16-b08e-fa47ebac23d7" providerId="ADAL" clId="{7889F8E4-3B11-44EC-BF56-408DF8153FC1}" dt="2020-07-27T07:23:26.268" v="503" actId="20577"/>
        <pc:sldMkLst>
          <pc:docMk/>
          <pc:sldMk cId="1216245163" sldId="302"/>
        </pc:sldMkLst>
        <pc:spChg chg="mod">
          <ac:chgData name="Mondal, Tanmay" userId="83c199d5-d146-4e16-b08e-fa47ebac23d7" providerId="ADAL" clId="{7889F8E4-3B11-44EC-BF56-408DF8153FC1}" dt="2020-07-27T07:23:26.268" v="503" actId="20577"/>
          <ac:spMkLst>
            <pc:docMk/>
            <pc:sldMk cId="1216245163" sldId="302"/>
            <ac:spMk id="6" creationId="{1A28922B-B702-46CB-83EC-324B86AD1D8F}"/>
          </ac:spMkLst>
        </pc:spChg>
      </pc:sldChg>
      <pc:sldChg chg="modSp add">
        <pc:chgData name="Mondal, Tanmay" userId="83c199d5-d146-4e16-b08e-fa47ebac23d7" providerId="ADAL" clId="{7889F8E4-3B11-44EC-BF56-408DF8153FC1}" dt="2020-07-27T07:31:38.985" v="597" actId="20577"/>
        <pc:sldMkLst>
          <pc:docMk/>
          <pc:sldMk cId="2054088687" sldId="303"/>
        </pc:sldMkLst>
        <pc:spChg chg="mod">
          <ac:chgData name="Mondal, Tanmay" userId="83c199d5-d146-4e16-b08e-fa47ebac23d7" providerId="ADAL" clId="{7889F8E4-3B11-44EC-BF56-408DF8153FC1}" dt="2020-07-27T07:31:38.985" v="597" actId="20577"/>
          <ac:spMkLst>
            <pc:docMk/>
            <pc:sldMk cId="2054088687" sldId="303"/>
            <ac:spMk id="6" creationId="{1A28922B-B702-46CB-83EC-324B86AD1D8F}"/>
          </ac:spMkLst>
        </pc:spChg>
      </pc:sldChg>
      <pc:sldChg chg="modSp add del">
        <pc:chgData name="Mondal, Tanmay" userId="83c199d5-d146-4e16-b08e-fa47ebac23d7" providerId="ADAL" clId="{7889F8E4-3B11-44EC-BF56-408DF8153FC1}" dt="2020-07-27T07:17:19.401" v="425" actId="2696"/>
        <pc:sldMkLst>
          <pc:docMk/>
          <pc:sldMk cId="2314431827" sldId="303"/>
        </pc:sldMkLst>
        <pc:spChg chg="mod">
          <ac:chgData name="Mondal, Tanmay" userId="83c199d5-d146-4e16-b08e-fa47ebac23d7" providerId="ADAL" clId="{7889F8E4-3B11-44EC-BF56-408DF8153FC1}" dt="2020-07-27T07:12:59.063" v="288" actId="20577"/>
          <ac:spMkLst>
            <pc:docMk/>
            <pc:sldMk cId="2314431827" sldId="303"/>
            <ac:spMk id="6" creationId="{1A28922B-B702-46CB-83EC-324B86AD1D8F}"/>
          </ac:spMkLst>
        </pc:spChg>
      </pc:sldChg>
      <pc:sldChg chg="addSp delSp modSp add">
        <pc:chgData name="Mondal, Tanmay" userId="83c199d5-d146-4e16-b08e-fa47ebac23d7" providerId="ADAL" clId="{7889F8E4-3B11-44EC-BF56-408DF8153FC1}" dt="2020-07-27T07:44:04.477" v="697" actId="1076"/>
        <pc:sldMkLst>
          <pc:docMk/>
          <pc:sldMk cId="3096889081" sldId="304"/>
        </pc:sldMkLst>
        <pc:spChg chg="mod">
          <ac:chgData name="Mondal, Tanmay" userId="83c199d5-d146-4e16-b08e-fa47ebac23d7" providerId="ADAL" clId="{7889F8E4-3B11-44EC-BF56-408DF8153FC1}" dt="2020-07-27T07:37:41.782" v="658" actId="20577"/>
          <ac:spMkLst>
            <pc:docMk/>
            <pc:sldMk cId="3096889081" sldId="304"/>
            <ac:spMk id="2" creationId="{C6ECEC09-3507-4F37-860C-FCF8739F6BEA}"/>
          </ac:spMkLst>
        </pc:spChg>
        <pc:spChg chg="del mod">
          <ac:chgData name="Mondal, Tanmay" userId="83c199d5-d146-4e16-b08e-fa47ebac23d7" providerId="ADAL" clId="{7889F8E4-3B11-44EC-BF56-408DF8153FC1}" dt="2020-07-27T07:37:44.339" v="660" actId="478"/>
          <ac:spMkLst>
            <pc:docMk/>
            <pc:sldMk cId="3096889081" sldId="304"/>
            <ac:spMk id="3" creationId="{B267869F-854D-499F-B509-188E4FBECE6A}"/>
          </ac:spMkLst>
        </pc:spChg>
        <pc:spChg chg="mod">
          <ac:chgData name="Mondal, Tanmay" userId="83c199d5-d146-4e16-b08e-fa47ebac23d7" providerId="ADAL" clId="{7889F8E4-3B11-44EC-BF56-408DF8153FC1}" dt="2020-07-27T07:44:04.477" v="697" actId="1076"/>
          <ac:spMkLst>
            <pc:docMk/>
            <pc:sldMk cId="3096889081" sldId="304"/>
            <ac:spMk id="4" creationId="{A85F9E16-AE7A-4615-A1A1-F69597C8BD44}"/>
          </ac:spMkLst>
        </pc:spChg>
        <pc:spChg chg="add del">
          <ac:chgData name="Mondal, Tanmay" userId="83c199d5-d146-4e16-b08e-fa47ebac23d7" providerId="ADAL" clId="{7889F8E4-3B11-44EC-BF56-408DF8153FC1}" dt="2020-07-27T07:39:55.438" v="676"/>
          <ac:spMkLst>
            <pc:docMk/>
            <pc:sldMk cId="3096889081" sldId="304"/>
            <ac:spMk id="5" creationId="{6060B664-5528-4803-928E-CD330811C61C}"/>
          </ac:spMkLst>
        </pc:spChg>
        <pc:graphicFrameChg chg="add mod">
          <ac:chgData name="Mondal, Tanmay" userId="83c199d5-d146-4e16-b08e-fa47ebac23d7" providerId="ADAL" clId="{7889F8E4-3B11-44EC-BF56-408DF8153FC1}" dt="2020-07-27T07:43:18.463" v="693" actId="1076"/>
          <ac:graphicFrameMkLst>
            <pc:docMk/>
            <pc:sldMk cId="3096889081" sldId="304"/>
            <ac:graphicFrameMk id="6" creationId="{8A7C2354-7F94-42B2-8617-A810EFFAD6DC}"/>
          </ac:graphicFrameMkLst>
        </pc:graphicFrameChg>
      </pc:sldChg>
      <pc:sldChg chg="modSp add del">
        <pc:chgData name="Mondal, Tanmay" userId="83c199d5-d146-4e16-b08e-fa47ebac23d7" providerId="ADAL" clId="{7889F8E4-3B11-44EC-BF56-408DF8153FC1}" dt="2020-07-27T07:17:16.033" v="424" actId="2696"/>
        <pc:sldMkLst>
          <pc:docMk/>
          <pc:sldMk cId="3235397188" sldId="304"/>
        </pc:sldMkLst>
        <pc:spChg chg="mod">
          <ac:chgData name="Mondal, Tanmay" userId="83c199d5-d146-4e16-b08e-fa47ebac23d7" providerId="ADAL" clId="{7889F8E4-3B11-44EC-BF56-408DF8153FC1}" dt="2020-07-27T07:15:18.649" v="375" actId="20577"/>
          <ac:spMkLst>
            <pc:docMk/>
            <pc:sldMk cId="3235397188" sldId="304"/>
            <ac:spMk id="6" creationId="{1A28922B-B702-46CB-83EC-324B86AD1D8F}"/>
          </ac:spMkLst>
        </pc:spChg>
      </pc:sldChg>
      <pc:sldChg chg="modSp add del">
        <pc:chgData name="Mondal, Tanmay" userId="83c199d5-d146-4e16-b08e-fa47ebac23d7" providerId="ADAL" clId="{7889F8E4-3B11-44EC-BF56-408DF8153FC1}" dt="2020-07-27T07:21:36.952" v="462" actId="2696"/>
        <pc:sldMkLst>
          <pc:docMk/>
          <pc:sldMk cId="124115817" sldId="305"/>
        </pc:sldMkLst>
        <pc:spChg chg="mod">
          <ac:chgData name="Mondal, Tanmay" userId="83c199d5-d146-4e16-b08e-fa47ebac23d7" providerId="ADAL" clId="{7889F8E4-3B11-44EC-BF56-408DF8153FC1}" dt="2020-07-27T07:16:08.424" v="420" actId="20577"/>
          <ac:spMkLst>
            <pc:docMk/>
            <pc:sldMk cId="124115817" sldId="305"/>
            <ac:spMk id="6" creationId="{1A28922B-B702-46CB-83EC-324B86AD1D8F}"/>
          </ac:spMkLst>
        </pc:spChg>
      </pc:sldChg>
      <pc:sldChg chg="addSp delSp modSp add del">
        <pc:chgData name="Mondal, Tanmay" userId="83c199d5-d146-4e16-b08e-fa47ebac23d7" providerId="ADAL" clId="{7889F8E4-3B11-44EC-BF56-408DF8153FC1}" dt="2020-07-27T07:46:07.663" v="711" actId="2696"/>
        <pc:sldMkLst>
          <pc:docMk/>
          <pc:sldMk cId="35954459" sldId="642"/>
        </pc:sldMkLst>
        <pc:spChg chg="add del mod">
          <ac:chgData name="Mondal, Tanmay" userId="83c199d5-d146-4e16-b08e-fa47ebac23d7" providerId="ADAL" clId="{7889F8E4-3B11-44EC-BF56-408DF8153FC1}" dt="2020-07-27T07:45:55.759" v="710" actId="478"/>
          <ac:spMkLst>
            <pc:docMk/>
            <pc:sldMk cId="35954459" sldId="642"/>
            <ac:spMk id="5" creationId="{B52F1F78-55EF-45AE-8BD1-1B656F739DC5}"/>
          </ac:spMkLst>
        </pc:spChg>
        <pc:spChg chg="mod">
          <ac:chgData name="Mondal, Tanmay" userId="83c199d5-d146-4e16-b08e-fa47ebac23d7" providerId="ADAL" clId="{7889F8E4-3B11-44EC-BF56-408DF8153FC1}" dt="2020-07-27T07:44:52.758" v="698"/>
          <ac:spMkLst>
            <pc:docMk/>
            <pc:sldMk cId="35954459" sldId="642"/>
            <ac:spMk id="6" creationId="{00000000-0000-0000-0000-000000000000}"/>
          </ac:spMkLst>
        </pc:spChg>
        <pc:spChg chg="mod">
          <ac:chgData name="Mondal, Tanmay" userId="83c199d5-d146-4e16-b08e-fa47ebac23d7" providerId="ADAL" clId="{7889F8E4-3B11-44EC-BF56-408DF8153FC1}" dt="2020-07-27T07:44:52.758" v="698"/>
          <ac:spMkLst>
            <pc:docMk/>
            <pc:sldMk cId="35954459" sldId="642"/>
            <ac:spMk id="7" creationId="{00000000-0000-0000-0000-000000000000}"/>
          </ac:spMkLst>
        </pc:spChg>
        <pc:spChg chg="add del mod">
          <ac:chgData name="Mondal, Tanmay" userId="83c199d5-d146-4e16-b08e-fa47ebac23d7" providerId="ADAL" clId="{7889F8E4-3B11-44EC-BF56-408DF8153FC1}" dt="2020-07-27T07:45:53.119" v="709" actId="478"/>
          <ac:spMkLst>
            <pc:docMk/>
            <pc:sldMk cId="35954459" sldId="642"/>
            <ac:spMk id="8" creationId="{5429BDCE-C0EF-4081-B4A1-E63FEC5A1DA3}"/>
          </ac:spMkLst>
        </pc:spChg>
      </pc:sldChg>
      <pc:sldChg chg="add">
        <pc:chgData name="Mondal, Tanmay" userId="83c199d5-d146-4e16-b08e-fa47ebac23d7" providerId="ADAL" clId="{7889F8E4-3B11-44EC-BF56-408DF8153FC1}" dt="2020-07-27T07:46:20.074" v="715"/>
        <pc:sldMkLst>
          <pc:docMk/>
          <pc:sldMk cId="171043789" sldId="642"/>
        </pc:sldMkLst>
      </pc:sldChg>
      <pc:sldChg chg="addSp delSp modSp add del">
        <pc:chgData name="Mondal, Tanmay" userId="83c199d5-d146-4e16-b08e-fa47ebac23d7" providerId="ADAL" clId="{7889F8E4-3B11-44EC-BF56-408DF8153FC1}" dt="2020-07-27T07:46:07.676" v="712" actId="2696"/>
        <pc:sldMkLst>
          <pc:docMk/>
          <pc:sldMk cId="665900613" sldId="643"/>
        </pc:sldMkLst>
        <pc:spChg chg="add del mod">
          <ac:chgData name="Mondal, Tanmay" userId="83c199d5-d146-4e16-b08e-fa47ebac23d7" providerId="ADAL" clId="{7889F8E4-3B11-44EC-BF56-408DF8153FC1}" dt="2020-07-27T07:45:44.563" v="708" actId="478"/>
          <ac:spMkLst>
            <pc:docMk/>
            <pc:sldMk cId="665900613" sldId="643"/>
            <ac:spMk id="4" creationId="{93B88D5D-C33A-430F-BDE9-9019C77787B5}"/>
          </ac:spMkLst>
        </pc:spChg>
        <pc:spChg chg="add del mod">
          <ac:chgData name="Mondal, Tanmay" userId="83c199d5-d146-4e16-b08e-fa47ebac23d7" providerId="ADAL" clId="{7889F8E4-3B11-44EC-BF56-408DF8153FC1}" dt="2020-07-27T07:45:42.157" v="707" actId="478"/>
          <ac:spMkLst>
            <pc:docMk/>
            <pc:sldMk cId="665900613" sldId="643"/>
            <ac:spMk id="5" creationId="{303647B6-3535-40A7-A963-000E070C235B}"/>
          </ac:spMkLst>
        </pc:spChg>
        <pc:spChg chg="mod">
          <ac:chgData name="Mondal, Tanmay" userId="83c199d5-d146-4e16-b08e-fa47ebac23d7" providerId="ADAL" clId="{7889F8E4-3B11-44EC-BF56-408DF8153FC1}" dt="2020-07-27T07:44:52.758" v="698"/>
          <ac:spMkLst>
            <pc:docMk/>
            <pc:sldMk cId="665900613" sldId="643"/>
            <ac:spMk id="6" creationId="{00000000-0000-0000-0000-000000000000}"/>
          </ac:spMkLst>
        </pc:spChg>
        <pc:spChg chg="mod">
          <ac:chgData name="Mondal, Tanmay" userId="83c199d5-d146-4e16-b08e-fa47ebac23d7" providerId="ADAL" clId="{7889F8E4-3B11-44EC-BF56-408DF8153FC1}" dt="2020-07-27T07:44:52.758" v="698"/>
          <ac:spMkLst>
            <pc:docMk/>
            <pc:sldMk cId="665900613" sldId="643"/>
            <ac:spMk id="7" creationId="{00000000-0000-0000-0000-000000000000}"/>
          </ac:spMkLst>
        </pc:spChg>
      </pc:sldChg>
      <pc:sldChg chg="add">
        <pc:chgData name="Mondal, Tanmay" userId="83c199d5-d146-4e16-b08e-fa47ebac23d7" providerId="ADAL" clId="{7889F8E4-3B11-44EC-BF56-408DF8153FC1}" dt="2020-07-27T07:46:20.074" v="715"/>
        <pc:sldMkLst>
          <pc:docMk/>
          <pc:sldMk cId="1666903375" sldId="643"/>
        </pc:sldMkLst>
      </pc:sldChg>
      <pc:sldChg chg="add">
        <pc:chgData name="Mondal, Tanmay" userId="83c199d5-d146-4e16-b08e-fa47ebac23d7" providerId="ADAL" clId="{7889F8E4-3B11-44EC-BF56-408DF8153FC1}" dt="2020-07-27T07:46:20.074" v="715"/>
        <pc:sldMkLst>
          <pc:docMk/>
          <pc:sldMk cId="1290850616" sldId="644"/>
        </pc:sldMkLst>
      </pc:sldChg>
      <pc:sldChg chg="addSp delSp modSp add del">
        <pc:chgData name="Mondal, Tanmay" userId="83c199d5-d146-4e16-b08e-fa47ebac23d7" providerId="ADAL" clId="{7889F8E4-3B11-44EC-BF56-408DF8153FC1}" dt="2020-07-27T07:46:07.692" v="713" actId="2696"/>
        <pc:sldMkLst>
          <pc:docMk/>
          <pc:sldMk cId="1565357027" sldId="644"/>
        </pc:sldMkLst>
        <pc:spChg chg="add del mod">
          <ac:chgData name="Mondal, Tanmay" userId="83c199d5-d146-4e16-b08e-fa47ebac23d7" providerId="ADAL" clId="{7889F8E4-3B11-44EC-BF56-408DF8153FC1}" dt="2020-07-27T07:45:33.978" v="705" actId="478"/>
          <ac:spMkLst>
            <pc:docMk/>
            <pc:sldMk cId="1565357027" sldId="644"/>
            <ac:spMk id="2" creationId="{2B6EC12D-99AE-4964-8F21-FB0E08DAD0AB}"/>
          </ac:spMkLst>
        </pc:spChg>
        <pc:spChg chg="add del mod">
          <ac:chgData name="Mondal, Tanmay" userId="83c199d5-d146-4e16-b08e-fa47ebac23d7" providerId="ADAL" clId="{7889F8E4-3B11-44EC-BF56-408DF8153FC1}" dt="2020-07-27T07:45:36.381" v="706" actId="478"/>
          <ac:spMkLst>
            <pc:docMk/>
            <pc:sldMk cId="1565357027" sldId="644"/>
            <ac:spMk id="4" creationId="{2F50625C-2F95-40A6-9043-3E32E1BFF435}"/>
          </ac:spMkLst>
        </pc:spChg>
        <pc:spChg chg="mod">
          <ac:chgData name="Mondal, Tanmay" userId="83c199d5-d146-4e16-b08e-fa47ebac23d7" providerId="ADAL" clId="{7889F8E4-3B11-44EC-BF56-408DF8153FC1}" dt="2020-07-27T07:44:52.758" v="698"/>
          <ac:spMkLst>
            <pc:docMk/>
            <pc:sldMk cId="1565357027" sldId="644"/>
            <ac:spMk id="6" creationId="{00000000-0000-0000-0000-000000000000}"/>
          </ac:spMkLst>
        </pc:spChg>
        <pc:spChg chg="mod">
          <ac:chgData name="Mondal, Tanmay" userId="83c199d5-d146-4e16-b08e-fa47ebac23d7" providerId="ADAL" clId="{7889F8E4-3B11-44EC-BF56-408DF8153FC1}" dt="2020-07-27T07:44:52.758" v="698"/>
          <ac:spMkLst>
            <pc:docMk/>
            <pc:sldMk cId="1565357027" sldId="644"/>
            <ac:spMk id="7" creationId="{00000000-0000-0000-0000-000000000000}"/>
          </ac:spMkLst>
        </pc:spChg>
      </pc:sldChg>
      <pc:sldChg chg="addSp delSp modSp add del">
        <pc:chgData name="Mondal, Tanmay" userId="83c199d5-d146-4e16-b08e-fa47ebac23d7" providerId="ADAL" clId="{7889F8E4-3B11-44EC-BF56-408DF8153FC1}" dt="2020-07-27T07:46:07.706" v="714" actId="2696"/>
        <pc:sldMkLst>
          <pc:docMk/>
          <pc:sldMk cId="2393764473" sldId="645"/>
        </pc:sldMkLst>
        <pc:spChg chg="add del mod">
          <ac:chgData name="Mondal, Tanmay" userId="83c199d5-d146-4e16-b08e-fa47ebac23d7" providerId="ADAL" clId="{7889F8E4-3B11-44EC-BF56-408DF8153FC1}" dt="2020-07-27T07:45:26.568" v="703" actId="478"/>
          <ac:spMkLst>
            <pc:docMk/>
            <pc:sldMk cId="2393764473" sldId="645"/>
            <ac:spMk id="3" creationId="{C25E7315-49AE-49FE-A1DD-D9CAF887BFFC}"/>
          </ac:spMkLst>
        </pc:spChg>
        <pc:spChg chg="add del mod">
          <ac:chgData name="Mondal, Tanmay" userId="83c199d5-d146-4e16-b08e-fa47ebac23d7" providerId="ADAL" clId="{7889F8E4-3B11-44EC-BF56-408DF8153FC1}" dt="2020-07-27T07:45:29.816" v="704" actId="478"/>
          <ac:spMkLst>
            <pc:docMk/>
            <pc:sldMk cId="2393764473" sldId="645"/>
            <ac:spMk id="4" creationId="{EEBBE3BE-E461-4193-8EDA-8A288861D351}"/>
          </ac:spMkLst>
        </pc:spChg>
        <pc:spChg chg="mod">
          <ac:chgData name="Mondal, Tanmay" userId="83c199d5-d146-4e16-b08e-fa47ebac23d7" providerId="ADAL" clId="{7889F8E4-3B11-44EC-BF56-408DF8153FC1}" dt="2020-07-27T07:44:52.758" v="698"/>
          <ac:spMkLst>
            <pc:docMk/>
            <pc:sldMk cId="2393764473" sldId="645"/>
            <ac:spMk id="6" creationId="{00000000-0000-0000-0000-000000000000}"/>
          </ac:spMkLst>
        </pc:spChg>
        <pc:spChg chg="mod">
          <ac:chgData name="Mondal, Tanmay" userId="83c199d5-d146-4e16-b08e-fa47ebac23d7" providerId="ADAL" clId="{7889F8E4-3B11-44EC-BF56-408DF8153FC1}" dt="2020-07-27T07:44:52.758" v="698"/>
          <ac:spMkLst>
            <pc:docMk/>
            <pc:sldMk cId="2393764473" sldId="645"/>
            <ac:spMk id="7" creationId="{00000000-0000-0000-0000-000000000000}"/>
          </ac:spMkLst>
        </pc:spChg>
      </pc:sldChg>
      <pc:sldChg chg="add">
        <pc:chgData name="Mondal, Tanmay" userId="83c199d5-d146-4e16-b08e-fa47ebac23d7" providerId="ADAL" clId="{7889F8E4-3B11-44EC-BF56-408DF8153FC1}" dt="2020-07-27T07:46:20.074" v="715"/>
        <pc:sldMkLst>
          <pc:docMk/>
          <pc:sldMk cId="3980728639" sldId="645"/>
        </pc:sldMkLst>
      </pc:sldChg>
      <pc:sldChg chg="modSp add">
        <pc:chgData name="Mondal, Tanmay" userId="83c199d5-d146-4e16-b08e-fa47ebac23d7" providerId="ADAL" clId="{7889F8E4-3B11-44EC-BF56-408DF8153FC1}" dt="2020-07-27T07:46:37.248" v="723" actId="20577"/>
        <pc:sldMkLst>
          <pc:docMk/>
          <pc:sldMk cId="15631011" sldId="646"/>
        </pc:sldMkLst>
        <pc:spChg chg="mod">
          <ac:chgData name="Mondal, Tanmay" userId="83c199d5-d146-4e16-b08e-fa47ebac23d7" providerId="ADAL" clId="{7889F8E4-3B11-44EC-BF56-408DF8153FC1}" dt="2020-07-27T07:46:37.248" v="723" actId="20577"/>
          <ac:spMkLst>
            <pc:docMk/>
            <pc:sldMk cId="15631011" sldId="646"/>
            <ac:spMk id="6" creationId="{1A28922B-B702-46CB-83EC-324B86AD1D8F}"/>
          </ac:spMkLst>
        </pc:spChg>
      </pc:sldChg>
      <pc:sldChg chg="delSp modSp add">
        <pc:chgData name="Mondal, Tanmay" userId="83c199d5-d146-4e16-b08e-fa47ebac23d7" providerId="ADAL" clId="{7889F8E4-3B11-44EC-BF56-408DF8153FC1}" dt="2020-07-27T07:53:08.579" v="822" actId="478"/>
        <pc:sldMkLst>
          <pc:docMk/>
          <pc:sldMk cId="3186530603" sldId="654"/>
        </pc:sldMkLst>
        <pc:spChg chg="del mod">
          <ac:chgData name="Mondal, Tanmay" userId="83c199d5-d146-4e16-b08e-fa47ebac23d7" providerId="ADAL" clId="{7889F8E4-3B11-44EC-BF56-408DF8153FC1}" dt="2020-07-27T07:50:16.311" v="798" actId="478"/>
          <ac:spMkLst>
            <pc:docMk/>
            <pc:sldMk cId="3186530603" sldId="654"/>
            <ac:spMk id="5" creationId="{00000000-0000-0000-0000-000000000000}"/>
          </ac:spMkLst>
        </pc:spChg>
        <pc:spChg chg="del mod">
          <ac:chgData name="Mondal, Tanmay" userId="83c199d5-d146-4e16-b08e-fa47ebac23d7" providerId="ADAL" clId="{7889F8E4-3B11-44EC-BF56-408DF8153FC1}" dt="2020-07-27T07:53:08.579" v="822" actId="478"/>
          <ac:spMkLst>
            <pc:docMk/>
            <pc:sldMk cId="3186530603" sldId="654"/>
            <ac:spMk id="6" creationId="{00000000-0000-0000-0000-000000000000}"/>
          </ac:spMkLst>
        </pc:spChg>
      </pc:sldChg>
      <pc:sldChg chg="delSp modSp add">
        <pc:chgData name="Mondal, Tanmay" userId="83c199d5-d146-4e16-b08e-fa47ebac23d7" providerId="ADAL" clId="{7889F8E4-3B11-44EC-BF56-408DF8153FC1}" dt="2020-07-27T07:52:58.217" v="820" actId="478"/>
        <pc:sldMkLst>
          <pc:docMk/>
          <pc:sldMk cId="1877581789" sldId="656"/>
        </pc:sldMkLst>
        <pc:spChg chg="del mod">
          <ac:chgData name="Mondal, Tanmay" userId="83c199d5-d146-4e16-b08e-fa47ebac23d7" providerId="ADAL" clId="{7889F8E4-3B11-44EC-BF56-408DF8153FC1}" dt="2020-07-27T07:50:07.201" v="797" actId="478"/>
          <ac:spMkLst>
            <pc:docMk/>
            <pc:sldMk cId="1877581789" sldId="656"/>
            <ac:spMk id="5" creationId="{00000000-0000-0000-0000-000000000000}"/>
          </ac:spMkLst>
        </pc:spChg>
        <pc:spChg chg="del mod">
          <ac:chgData name="Mondal, Tanmay" userId="83c199d5-d146-4e16-b08e-fa47ebac23d7" providerId="ADAL" clId="{7889F8E4-3B11-44EC-BF56-408DF8153FC1}" dt="2020-07-27T07:52:58.217" v="820" actId="478"/>
          <ac:spMkLst>
            <pc:docMk/>
            <pc:sldMk cId="1877581789" sldId="656"/>
            <ac:spMk id="6" creationId="{00000000-0000-0000-0000-000000000000}"/>
          </ac:spMkLst>
        </pc:spChg>
      </pc:sldChg>
      <pc:sldChg chg="add">
        <pc:chgData name="Mondal, Tanmay" userId="83c199d5-d146-4e16-b08e-fa47ebac23d7" providerId="ADAL" clId="{7889F8E4-3B11-44EC-BF56-408DF8153FC1}" dt="2020-07-27T07:48:15.976" v="744"/>
        <pc:sldMkLst>
          <pc:docMk/>
          <pc:sldMk cId="2783163356" sldId="657"/>
        </pc:sldMkLst>
      </pc:sldChg>
      <pc:sldChg chg="delSp modSp add">
        <pc:chgData name="Mondal, Tanmay" userId="83c199d5-d146-4e16-b08e-fa47ebac23d7" providerId="ADAL" clId="{7889F8E4-3B11-44EC-BF56-408DF8153FC1}" dt="2020-07-27T07:52:45.841" v="818" actId="478"/>
        <pc:sldMkLst>
          <pc:docMk/>
          <pc:sldMk cId="1724214609" sldId="658"/>
        </pc:sldMkLst>
        <pc:spChg chg="del mod">
          <ac:chgData name="Mondal, Tanmay" userId="83c199d5-d146-4e16-b08e-fa47ebac23d7" providerId="ADAL" clId="{7889F8E4-3B11-44EC-BF56-408DF8153FC1}" dt="2020-07-27T07:49:50.198" v="795" actId="478"/>
          <ac:spMkLst>
            <pc:docMk/>
            <pc:sldMk cId="1724214609" sldId="658"/>
            <ac:spMk id="5" creationId="{00000000-0000-0000-0000-000000000000}"/>
          </ac:spMkLst>
        </pc:spChg>
        <pc:spChg chg="del mod">
          <ac:chgData name="Mondal, Tanmay" userId="83c199d5-d146-4e16-b08e-fa47ebac23d7" providerId="ADAL" clId="{7889F8E4-3B11-44EC-BF56-408DF8153FC1}" dt="2020-07-27T07:52:45.841" v="818" actId="478"/>
          <ac:spMkLst>
            <pc:docMk/>
            <pc:sldMk cId="1724214609" sldId="658"/>
            <ac:spMk id="6" creationId="{00000000-0000-0000-0000-000000000000}"/>
          </ac:spMkLst>
        </pc:spChg>
      </pc:sldChg>
      <pc:sldChg chg="modSp add">
        <pc:chgData name="Mondal, Tanmay" userId="83c199d5-d146-4e16-b08e-fa47ebac23d7" providerId="ADAL" clId="{7889F8E4-3B11-44EC-BF56-408DF8153FC1}" dt="2020-07-27T07:48:58.614" v="769" actId="20577"/>
        <pc:sldMkLst>
          <pc:docMk/>
          <pc:sldMk cId="1705383806" sldId="659"/>
        </pc:sldMkLst>
        <pc:spChg chg="mod">
          <ac:chgData name="Mondal, Tanmay" userId="83c199d5-d146-4e16-b08e-fa47ebac23d7" providerId="ADAL" clId="{7889F8E4-3B11-44EC-BF56-408DF8153FC1}" dt="2020-07-27T07:48:58.614" v="769" actId="20577"/>
          <ac:spMkLst>
            <pc:docMk/>
            <pc:sldMk cId="1705383806" sldId="659"/>
            <ac:spMk id="25" creationId="{00000000-0000-0000-0000-000000000000}"/>
          </ac:spMkLst>
        </pc:spChg>
      </pc:sldChg>
      <pc:sldChg chg="modSp add">
        <pc:chgData name="Mondal, Tanmay" userId="83c199d5-d146-4e16-b08e-fa47ebac23d7" providerId="ADAL" clId="{7889F8E4-3B11-44EC-BF56-408DF8153FC1}" dt="2020-07-27T07:49:29.919" v="794" actId="20577"/>
        <pc:sldMkLst>
          <pc:docMk/>
          <pc:sldMk cId="1537213846" sldId="660"/>
        </pc:sldMkLst>
        <pc:spChg chg="mod">
          <ac:chgData name="Mondal, Tanmay" userId="83c199d5-d146-4e16-b08e-fa47ebac23d7" providerId="ADAL" clId="{7889F8E4-3B11-44EC-BF56-408DF8153FC1}" dt="2020-07-27T07:49:29.919" v="794" actId="20577"/>
          <ac:spMkLst>
            <pc:docMk/>
            <pc:sldMk cId="1537213846" sldId="660"/>
            <ac:spMk id="25" creationId="{00000000-0000-0000-0000-000000000000}"/>
          </ac:spMkLst>
        </pc:spChg>
      </pc:sldChg>
      <pc:sldChg chg="add">
        <pc:chgData name="Mondal, Tanmay" userId="83c199d5-d146-4e16-b08e-fa47ebac23d7" providerId="ADAL" clId="{7889F8E4-3B11-44EC-BF56-408DF8153FC1}" dt="2020-07-27T07:52:17.067" v="816"/>
        <pc:sldMkLst>
          <pc:docMk/>
          <pc:sldMk cId="687213524" sldId="661"/>
        </pc:sldMkLst>
      </pc:sldChg>
      <pc:sldMasterChg chg="modSldLayout">
        <pc:chgData name="Mondal, Tanmay" userId="83c199d5-d146-4e16-b08e-fa47ebac23d7" providerId="ADAL" clId="{7889F8E4-3B11-44EC-BF56-408DF8153FC1}" dt="2020-07-27T05:53:20.024" v="11"/>
        <pc:sldMasterMkLst>
          <pc:docMk/>
          <pc:sldMasterMk cId="1531066633" sldId="2147483650"/>
        </pc:sldMasterMkLst>
        <pc:sldLayoutChg chg="delSp">
          <pc:chgData name="Mondal, Tanmay" userId="83c199d5-d146-4e16-b08e-fa47ebac23d7" providerId="ADAL" clId="{7889F8E4-3B11-44EC-BF56-408DF8153FC1}" dt="2020-07-27T05:53:20.024" v="11"/>
          <pc:sldLayoutMkLst>
            <pc:docMk/>
            <pc:sldMasterMk cId="1531066633" sldId="2147483650"/>
            <pc:sldLayoutMk cId="3020800346" sldId="2147483703"/>
          </pc:sldLayoutMkLst>
          <pc:spChg chg="del">
            <ac:chgData name="Mondal, Tanmay" userId="83c199d5-d146-4e16-b08e-fa47ebac23d7" providerId="ADAL" clId="{7889F8E4-3B11-44EC-BF56-408DF8153FC1}" dt="2020-07-27T05:53:20.024" v="11"/>
            <ac:spMkLst>
              <pc:docMk/>
              <pc:sldMasterMk cId="1531066633" sldId="2147483650"/>
              <pc:sldLayoutMk cId="3020800346" sldId="2147483703"/>
              <ac:spMk id="4" creationId="{00000000-0000-0000-0000-000000000000}"/>
            </ac:spMkLst>
          </pc:spChg>
          <pc:picChg chg="del">
            <ac:chgData name="Mondal, Tanmay" userId="83c199d5-d146-4e16-b08e-fa47ebac23d7" providerId="ADAL" clId="{7889F8E4-3B11-44EC-BF56-408DF8153FC1}" dt="2020-07-27T05:53:20.024" v="11"/>
            <ac:picMkLst>
              <pc:docMk/>
              <pc:sldMasterMk cId="1531066633" sldId="2147483650"/>
              <pc:sldLayoutMk cId="3020800346" sldId="2147483703"/>
              <ac:picMk id="13" creationId="{C3D2EC56-D17C-4A75-8178-C69397BC7353}"/>
            </ac:picMkLst>
          </pc:picChg>
          <pc:picChg chg="del">
            <ac:chgData name="Mondal, Tanmay" userId="83c199d5-d146-4e16-b08e-fa47ebac23d7" providerId="ADAL" clId="{7889F8E4-3B11-44EC-BF56-408DF8153FC1}" dt="2020-07-27T05:53:20.024" v="11"/>
            <ac:picMkLst>
              <pc:docMk/>
              <pc:sldMasterMk cId="1531066633" sldId="2147483650"/>
              <pc:sldLayoutMk cId="3020800346" sldId="2147483703"/>
              <ac:picMk id="17" creationId="{829BBBD1-ECF6-4131-A3B0-11EFC39DB482}"/>
            </ac:picMkLst>
          </pc:picChg>
        </pc:sldLayoutChg>
      </pc:sldMasterChg>
      <pc:sldMasterChg chg="del delSldLayout">
        <pc:chgData name="Mondal, Tanmay" userId="83c199d5-d146-4e16-b08e-fa47ebac23d7" providerId="ADAL" clId="{7889F8E4-3B11-44EC-BF56-408DF8153FC1}" dt="2020-07-27T05:53:07.180" v="6" actId="2696"/>
        <pc:sldMasterMkLst>
          <pc:docMk/>
          <pc:sldMasterMk cId="3731682138" sldId="2147483684"/>
        </pc:sldMasterMkLst>
        <pc:sldLayoutChg chg="del">
          <pc:chgData name="Mondal, Tanmay" userId="83c199d5-d146-4e16-b08e-fa47ebac23d7" providerId="ADAL" clId="{7889F8E4-3B11-44EC-BF56-408DF8153FC1}" dt="2020-07-27T05:53:07.165" v="2" actId="2696"/>
          <pc:sldLayoutMkLst>
            <pc:docMk/>
            <pc:sldMasterMk cId="3731682138" sldId="2147483684"/>
            <pc:sldLayoutMk cId="1296681902" sldId="2147483685"/>
          </pc:sldLayoutMkLst>
        </pc:sldLayoutChg>
        <pc:sldLayoutChg chg="del">
          <pc:chgData name="Mondal, Tanmay" userId="83c199d5-d146-4e16-b08e-fa47ebac23d7" providerId="ADAL" clId="{7889F8E4-3B11-44EC-BF56-408DF8153FC1}" dt="2020-07-27T05:53:07.169" v="3" actId="2696"/>
          <pc:sldLayoutMkLst>
            <pc:docMk/>
            <pc:sldMasterMk cId="3731682138" sldId="2147483684"/>
            <pc:sldLayoutMk cId="1296681902" sldId="2147483686"/>
          </pc:sldLayoutMkLst>
        </pc:sldLayoutChg>
        <pc:sldLayoutChg chg="del">
          <pc:chgData name="Mondal, Tanmay" userId="83c199d5-d146-4e16-b08e-fa47ebac23d7" providerId="ADAL" clId="{7889F8E4-3B11-44EC-BF56-408DF8153FC1}" dt="2020-07-27T05:53:07.173" v="4" actId="2696"/>
          <pc:sldLayoutMkLst>
            <pc:docMk/>
            <pc:sldMasterMk cId="3731682138" sldId="2147483684"/>
            <pc:sldLayoutMk cId="1296681902" sldId="2147483687"/>
          </pc:sldLayoutMkLst>
        </pc:sldLayoutChg>
        <pc:sldLayoutChg chg="del">
          <pc:chgData name="Mondal, Tanmay" userId="83c199d5-d146-4e16-b08e-fa47ebac23d7" providerId="ADAL" clId="{7889F8E4-3B11-44EC-BF56-408DF8153FC1}" dt="2020-07-27T05:53:07.177" v="5" actId="2696"/>
          <pc:sldLayoutMkLst>
            <pc:docMk/>
            <pc:sldMasterMk cId="3731682138" sldId="2147483684"/>
            <pc:sldLayoutMk cId="0" sldId="2147483688"/>
          </pc:sldLayoutMkLst>
        </pc:sldLayoutChg>
      </pc:sldMasterChg>
      <pc:sldMasterChg chg="del delSldLayout">
        <pc:chgData name="Mondal, Tanmay" userId="83c199d5-d146-4e16-b08e-fa47ebac23d7" providerId="ADAL" clId="{7889F8E4-3B11-44EC-BF56-408DF8153FC1}" dt="2020-07-27T05:52:56.516" v="1" actId="2696"/>
        <pc:sldMasterMkLst>
          <pc:docMk/>
          <pc:sldMasterMk cId="1762778664" sldId="2147483689"/>
        </pc:sldMasterMkLst>
        <pc:sldLayoutChg chg="del">
          <pc:chgData name="Mondal, Tanmay" userId="83c199d5-d146-4e16-b08e-fa47ebac23d7" providerId="ADAL" clId="{7889F8E4-3B11-44EC-BF56-408DF8153FC1}" dt="2020-07-27T05:52:56.512" v="0" actId="2696"/>
          <pc:sldLayoutMkLst>
            <pc:docMk/>
            <pc:sldMasterMk cId="1762778664" sldId="2147483689"/>
            <pc:sldLayoutMk cId="2861388153" sldId="2147483690"/>
          </pc:sldLayoutMkLst>
        </pc:sldLayoutChg>
      </pc:sldMasterChg>
      <pc:sldMasterChg chg="modSp modSldLayout">
        <pc:chgData name="Mondal, Tanmay" userId="83c199d5-d146-4e16-b08e-fa47ebac23d7" providerId="ADAL" clId="{7889F8E4-3B11-44EC-BF56-408DF8153FC1}" dt="2020-07-27T07:14:29.827" v="340" actId="20577"/>
        <pc:sldMasterMkLst>
          <pc:docMk/>
          <pc:sldMasterMk cId="1852916292" sldId="2147483691"/>
        </pc:sldMasterMkLst>
        <pc:spChg chg="mod">
          <ac:chgData name="Mondal, Tanmay" userId="83c199d5-d146-4e16-b08e-fa47ebac23d7" providerId="ADAL" clId="{7889F8E4-3B11-44EC-BF56-408DF8153FC1}" dt="2020-07-27T07:14:29.827" v="340" actId="20577"/>
          <ac:spMkLst>
            <pc:docMk/>
            <pc:sldMasterMk cId="1852916292" sldId="2147483691"/>
            <ac:spMk id="6" creationId="{E824319D-02CC-441E-87B5-E9D15DE8CA35}"/>
          </ac:spMkLst>
        </pc:spChg>
        <pc:spChg chg="mod">
          <ac:chgData name="Mondal, Tanmay" userId="83c199d5-d146-4e16-b08e-fa47ebac23d7" providerId="ADAL" clId="{7889F8E4-3B11-44EC-BF56-408DF8153FC1}" dt="2020-07-27T05:54:12.536" v="19"/>
          <ac:spMkLst>
            <pc:docMk/>
            <pc:sldMasterMk cId="1852916292" sldId="2147483691"/>
            <ac:spMk id="7" creationId="{25FC8637-25BD-4C09-AF25-56B4243DAB3D}"/>
          </ac:spMkLst>
        </pc:spChg>
        <pc:spChg chg="mod">
          <ac:chgData name="Mondal, Tanmay" userId="83c199d5-d146-4e16-b08e-fa47ebac23d7" providerId="ADAL" clId="{7889F8E4-3B11-44EC-BF56-408DF8153FC1}" dt="2020-07-27T07:14:21.289" v="336" actId="20577"/>
          <ac:spMkLst>
            <pc:docMk/>
            <pc:sldMasterMk cId="1852916292" sldId="2147483691"/>
            <ac:spMk id="8" creationId="{E824319D-02CC-441E-87B5-E9D15DE8CA35}"/>
          </ac:spMkLst>
        </pc:spChg>
        <pc:spChg chg="mod">
          <ac:chgData name="Mondal, Tanmay" userId="83c199d5-d146-4e16-b08e-fa47ebac23d7" providerId="ADAL" clId="{7889F8E4-3B11-44EC-BF56-408DF8153FC1}" dt="2020-07-27T05:54:12.536" v="19"/>
          <ac:spMkLst>
            <pc:docMk/>
            <pc:sldMasterMk cId="1852916292" sldId="2147483691"/>
            <ac:spMk id="9" creationId="{00000000-0000-0000-0000-000000000000}"/>
          </ac:spMkLst>
        </pc:spChg>
        <pc:grpChg chg="mod">
          <ac:chgData name="Mondal, Tanmay" userId="83c199d5-d146-4e16-b08e-fa47ebac23d7" providerId="ADAL" clId="{7889F8E4-3B11-44EC-BF56-408DF8153FC1}" dt="2020-07-27T05:54:12.536" v="19"/>
          <ac:grpSpMkLst>
            <pc:docMk/>
            <pc:sldMasterMk cId="1852916292" sldId="2147483691"/>
            <ac:grpSpMk id="2" creationId="{00000000-0000-0000-0000-000000000000}"/>
          </ac:grpSpMkLst>
        </pc:grpChg>
        <pc:graphicFrameChg chg="mod">
          <ac:chgData name="Mondal, Tanmay" userId="83c199d5-d146-4e16-b08e-fa47ebac23d7" providerId="ADAL" clId="{7889F8E4-3B11-44EC-BF56-408DF8153FC1}" dt="2020-07-27T05:54:12.536" v="19"/>
          <ac:graphicFrameMkLst>
            <pc:docMk/>
            <pc:sldMasterMk cId="1852916292" sldId="2147483691"/>
            <ac:graphicFrameMk id="21" creationId="{00000000-0000-0000-0000-000000000000}"/>
          </ac:graphicFrameMkLst>
        </pc:graphicFrameChg>
        <pc:sldLayoutChg chg="modSp">
          <pc:chgData name="Mondal, Tanmay" userId="83c199d5-d146-4e16-b08e-fa47ebac23d7" providerId="ADAL" clId="{7889F8E4-3B11-44EC-BF56-408DF8153FC1}" dt="2020-07-27T05:54:12.536" v="19"/>
          <pc:sldLayoutMkLst>
            <pc:docMk/>
            <pc:sldMasterMk cId="1852916292" sldId="2147483691"/>
            <pc:sldLayoutMk cId="2404026875" sldId="2147483692"/>
          </pc:sldLayoutMkLst>
          <pc:spChg chg="mod">
            <ac:chgData name="Mondal, Tanmay" userId="83c199d5-d146-4e16-b08e-fa47ebac23d7" providerId="ADAL" clId="{7889F8E4-3B11-44EC-BF56-408DF8153FC1}" dt="2020-07-27T05:54:12.536" v="19"/>
            <ac:spMkLst>
              <pc:docMk/>
              <pc:sldMasterMk cId="1852916292" sldId="2147483691"/>
              <pc:sldLayoutMk cId="2404026875" sldId="2147483692"/>
              <ac:spMk id="6" creationId="{BA481B46-4B6D-4361-AB57-2D166C5DCFF3}"/>
            </ac:spMkLst>
          </pc:spChg>
          <pc:spChg chg="mod">
            <ac:chgData name="Mondal, Tanmay" userId="83c199d5-d146-4e16-b08e-fa47ebac23d7" providerId="ADAL" clId="{7889F8E4-3B11-44EC-BF56-408DF8153FC1}" dt="2020-07-27T05:54:12.536" v="19"/>
            <ac:spMkLst>
              <pc:docMk/>
              <pc:sldMasterMk cId="1852916292" sldId="2147483691"/>
              <pc:sldLayoutMk cId="2404026875" sldId="2147483692"/>
              <ac:spMk id="7" creationId="{26FBB676-D5E1-489A-A845-100D87C7DBA9}"/>
            </ac:spMkLst>
          </pc:spChg>
        </pc:sldLayoutChg>
        <pc:sldLayoutChg chg="modSp">
          <pc:chgData name="Mondal, Tanmay" userId="83c199d5-d146-4e16-b08e-fa47ebac23d7" providerId="ADAL" clId="{7889F8E4-3B11-44EC-BF56-408DF8153FC1}" dt="2020-07-27T05:54:12.536" v="19"/>
          <pc:sldLayoutMkLst>
            <pc:docMk/>
            <pc:sldMasterMk cId="1852916292" sldId="2147483691"/>
            <pc:sldLayoutMk cId="2950940001" sldId="2147483693"/>
          </pc:sldLayoutMkLst>
          <pc:spChg chg="mod">
            <ac:chgData name="Mondal, Tanmay" userId="83c199d5-d146-4e16-b08e-fa47ebac23d7" providerId="ADAL" clId="{7889F8E4-3B11-44EC-BF56-408DF8153FC1}" dt="2020-07-27T05:54:12.536" v="19"/>
            <ac:spMkLst>
              <pc:docMk/>
              <pc:sldMasterMk cId="1852916292" sldId="2147483691"/>
              <pc:sldLayoutMk cId="2950940001" sldId="2147483693"/>
              <ac:spMk id="7" creationId="{5C674D03-4995-4743-8CE4-61CF32CFBDDE}"/>
            </ac:spMkLst>
          </pc:spChg>
          <pc:spChg chg="mod">
            <ac:chgData name="Mondal, Tanmay" userId="83c199d5-d146-4e16-b08e-fa47ebac23d7" providerId="ADAL" clId="{7889F8E4-3B11-44EC-BF56-408DF8153FC1}" dt="2020-07-27T05:54:12.536" v="19"/>
            <ac:spMkLst>
              <pc:docMk/>
              <pc:sldMasterMk cId="1852916292" sldId="2147483691"/>
              <pc:sldLayoutMk cId="2950940001" sldId="2147483693"/>
              <ac:spMk id="16" creationId="{00000000-0000-0000-0000-000000000000}"/>
            </ac:spMkLst>
          </pc:spChg>
          <pc:grpChg chg="mod">
            <ac:chgData name="Mondal, Tanmay" userId="83c199d5-d146-4e16-b08e-fa47ebac23d7" providerId="ADAL" clId="{7889F8E4-3B11-44EC-BF56-408DF8153FC1}" dt="2020-07-27T05:54:12.536" v="19"/>
            <ac:grpSpMkLst>
              <pc:docMk/>
              <pc:sldMasterMk cId="1852916292" sldId="2147483691"/>
              <pc:sldLayoutMk cId="2950940001" sldId="2147483693"/>
              <ac:grpSpMk id="15" creationId="{00000000-0000-0000-0000-000000000000}"/>
            </ac:grpSpMkLst>
          </pc:grpChg>
          <pc:grpChg chg="mod">
            <ac:chgData name="Mondal, Tanmay" userId="83c199d5-d146-4e16-b08e-fa47ebac23d7" providerId="ADAL" clId="{7889F8E4-3B11-44EC-BF56-408DF8153FC1}" dt="2020-07-27T05:54:12.536" v="19"/>
            <ac:grpSpMkLst>
              <pc:docMk/>
              <pc:sldMasterMk cId="1852916292" sldId="2147483691"/>
              <pc:sldLayoutMk cId="2950940001" sldId="2147483693"/>
              <ac:grpSpMk id="22" creationId="{3DB2FB67-77DB-4CBD-9C92-DA7BCA020134}"/>
            </ac:grpSpMkLst>
          </pc:grpChg>
          <pc:graphicFrameChg chg="mod">
            <ac:chgData name="Mondal, Tanmay" userId="83c199d5-d146-4e16-b08e-fa47ebac23d7" providerId="ADAL" clId="{7889F8E4-3B11-44EC-BF56-408DF8153FC1}" dt="2020-07-27T05:54:12.536" v="19"/>
            <ac:graphicFrameMkLst>
              <pc:docMk/>
              <pc:sldMasterMk cId="1852916292" sldId="2147483691"/>
              <pc:sldLayoutMk cId="2950940001" sldId="2147483693"/>
              <ac:graphicFrameMk id="9" creationId="{00000000-0000-0000-0000-000000000000}"/>
            </ac:graphicFrameMkLst>
          </pc:graphicFrameChg>
        </pc:sldLayoutChg>
        <pc:sldLayoutChg chg="modSp">
          <pc:chgData name="Mondal, Tanmay" userId="83c199d5-d146-4e16-b08e-fa47ebac23d7" providerId="ADAL" clId="{7889F8E4-3B11-44EC-BF56-408DF8153FC1}" dt="2020-07-27T05:54:12.536" v="19"/>
          <pc:sldLayoutMkLst>
            <pc:docMk/>
            <pc:sldMasterMk cId="1852916292" sldId="2147483691"/>
            <pc:sldLayoutMk cId="1238728576" sldId="2147483694"/>
          </pc:sldLayoutMkLst>
          <pc:spChg chg="mod">
            <ac:chgData name="Mondal, Tanmay" userId="83c199d5-d146-4e16-b08e-fa47ebac23d7" providerId="ADAL" clId="{7889F8E4-3B11-44EC-BF56-408DF8153FC1}" dt="2020-07-27T05:54:12.536" v="19"/>
            <ac:spMkLst>
              <pc:docMk/>
              <pc:sldMasterMk cId="1852916292" sldId="2147483691"/>
              <pc:sldLayoutMk cId="1238728576" sldId="2147483694"/>
              <ac:spMk id="7"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14"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15"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16"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22" creationId="{AEFD73FD-4310-4FE6-83F6-4ADDF1642E27}"/>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23"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25"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1238728576" sldId="2147483694"/>
              <ac:spMk id="26" creationId="{00000000-0000-0000-0000-000000000000}"/>
            </ac:spMkLst>
          </pc:spChg>
          <pc:grpChg chg="mod">
            <ac:chgData name="Mondal, Tanmay" userId="83c199d5-d146-4e16-b08e-fa47ebac23d7" providerId="ADAL" clId="{7889F8E4-3B11-44EC-BF56-408DF8153FC1}" dt="2020-07-27T05:54:12.536" v="19"/>
            <ac:grpSpMkLst>
              <pc:docMk/>
              <pc:sldMasterMk cId="1852916292" sldId="2147483691"/>
              <pc:sldLayoutMk cId="1238728576" sldId="2147483694"/>
              <ac:grpSpMk id="2" creationId="{D1D61DEE-13C9-4E34-97DE-432882EEB993}"/>
            </ac:grpSpMkLst>
          </pc:grpChg>
          <pc:grpChg chg="mod">
            <ac:chgData name="Mondal, Tanmay" userId="83c199d5-d146-4e16-b08e-fa47ebac23d7" providerId="ADAL" clId="{7889F8E4-3B11-44EC-BF56-408DF8153FC1}" dt="2020-07-27T05:54:12.536" v="19"/>
            <ac:grpSpMkLst>
              <pc:docMk/>
              <pc:sldMasterMk cId="1852916292" sldId="2147483691"/>
              <pc:sldLayoutMk cId="1238728576" sldId="2147483694"/>
              <ac:grpSpMk id="27" creationId="{00000000-0000-0000-0000-000000000000}"/>
            </ac:grpSpMkLst>
          </pc:grpChg>
          <pc:picChg chg="mod">
            <ac:chgData name="Mondal, Tanmay" userId="83c199d5-d146-4e16-b08e-fa47ebac23d7" providerId="ADAL" clId="{7889F8E4-3B11-44EC-BF56-408DF8153FC1}" dt="2020-07-27T05:54:12.536" v="19"/>
            <ac:picMkLst>
              <pc:docMk/>
              <pc:sldMasterMk cId="1852916292" sldId="2147483691"/>
              <pc:sldLayoutMk cId="1238728576" sldId="2147483694"/>
              <ac:picMk id="17" creationId="{00000000-0000-0000-0000-000000000000}"/>
            </ac:picMkLst>
          </pc:picChg>
          <pc:picChg chg="mod">
            <ac:chgData name="Mondal, Tanmay" userId="83c199d5-d146-4e16-b08e-fa47ebac23d7" providerId="ADAL" clId="{7889F8E4-3B11-44EC-BF56-408DF8153FC1}" dt="2020-07-27T05:54:12.536" v="19"/>
            <ac:picMkLst>
              <pc:docMk/>
              <pc:sldMasterMk cId="1852916292" sldId="2147483691"/>
              <pc:sldLayoutMk cId="1238728576" sldId="2147483694"/>
              <ac:picMk id="18" creationId="{00000000-0000-0000-0000-000000000000}"/>
            </ac:picMkLst>
          </pc:picChg>
          <pc:picChg chg="mod">
            <ac:chgData name="Mondal, Tanmay" userId="83c199d5-d146-4e16-b08e-fa47ebac23d7" providerId="ADAL" clId="{7889F8E4-3B11-44EC-BF56-408DF8153FC1}" dt="2020-07-27T05:54:12.536" v="19"/>
            <ac:picMkLst>
              <pc:docMk/>
              <pc:sldMasterMk cId="1852916292" sldId="2147483691"/>
              <pc:sldLayoutMk cId="1238728576" sldId="2147483694"/>
              <ac:picMk id="19" creationId="{00000000-0000-0000-0000-000000000000}"/>
            </ac:picMkLst>
          </pc:picChg>
          <pc:picChg chg="mod">
            <ac:chgData name="Mondal, Tanmay" userId="83c199d5-d146-4e16-b08e-fa47ebac23d7" providerId="ADAL" clId="{7889F8E4-3B11-44EC-BF56-408DF8153FC1}" dt="2020-07-27T05:54:12.536" v="19"/>
            <ac:picMkLst>
              <pc:docMk/>
              <pc:sldMasterMk cId="1852916292" sldId="2147483691"/>
              <pc:sldLayoutMk cId="1238728576" sldId="2147483694"/>
              <ac:picMk id="20" creationId="{00000000-0000-0000-0000-000000000000}"/>
            </ac:picMkLst>
          </pc:picChg>
          <pc:picChg chg="mod">
            <ac:chgData name="Mondal, Tanmay" userId="83c199d5-d146-4e16-b08e-fa47ebac23d7" providerId="ADAL" clId="{7889F8E4-3B11-44EC-BF56-408DF8153FC1}" dt="2020-07-27T05:54:12.536" v="19"/>
            <ac:picMkLst>
              <pc:docMk/>
              <pc:sldMasterMk cId="1852916292" sldId="2147483691"/>
              <pc:sldLayoutMk cId="1238728576" sldId="2147483694"/>
              <ac:picMk id="21" creationId="{00000000-0000-0000-0000-000000000000}"/>
            </ac:picMkLst>
          </pc:picChg>
        </pc:sldLayoutChg>
        <pc:sldLayoutChg chg="modSp">
          <pc:chgData name="Mondal, Tanmay" userId="83c199d5-d146-4e16-b08e-fa47ebac23d7" providerId="ADAL" clId="{7889F8E4-3B11-44EC-BF56-408DF8153FC1}" dt="2020-07-27T05:54:12.536" v="19"/>
          <pc:sldLayoutMkLst>
            <pc:docMk/>
            <pc:sldMasterMk cId="1852916292" sldId="2147483691"/>
            <pc:sldLayoutMk cId="3742690721" sldId="2147483695"/>
          </pc:sldLayoutMkLst>
          <pc:spChg chg="mod">
            <ac:chgData name="Mondal, Tanmay" userId="83c199d5-d146-4e16-b08e-fa47ebac23d7" providerId="ADAL" clId="{7889F8E4-3B11-44EC-BF56-408DF8153FC1}" dt="2020-07-27T05:54:12.536" v="19"/>
            <ac:spMkLst>
              <pc:docMk/>
              <pc:sldMasterMk cId="1852916292" sldId="2147483691"/>
              <pc:sldLayoutMk cId="3742690721" sldId="2147483695"/>
              <ac:spMk id="7" creationId="{5C674D03-4995-4743-8CE4-61CF32CFBDDE}"/>
            </ac:spMkLst>
          </pc:spChg>
          <pc:grpChg chg="mod">
            <ac:chgData name="Mondal, Tanmay" userId="83c199d5-d146-4e16-b08e-fa47ebac23d7" providerId="ADAL" clId="{7889F8E4-3B11-44EC-BF56-408DF8153FC1}" dt="2020-07-27T05:54:12.536" v="19"/>
            <ac:grpSpMkLst>
              <pc:docMk/>
              <pc:sldMasterMk cId="1852916292" sldId="2147483691"/>
              <pc:sldLayoutMk cId="3742690721" sldId="2147483695"/>
              <ac:grpSpMk id="13" creationId="{8DC6A54A-9BF8-4F66-8401-A8591C494FA5}"/>
            </ac:grpSpMkLst>
          </pc:grpChg>
          <pc:graphicFrameChg chg="mod">
            <ac:chgData name="Mondal, Tanmay" userId="83c199d5-d146-4e16-b08e-fa47ebac23d7" providerId="ADAL" clId="{7889F8E4-3B11-44EC-BF56-408DF8153FC1}" dt="2020-07-27T05:54:12.536" v="19"/>
            <ac:graphicFrameMkLst>
              <pc:docMk/>
              <pc:sldMasterMk cId="1852916292" sldId="2147483691"/>
              <pc:sldLayoutMk cId="3742690721" sldId="2147483695"/>
              <ac:graphicFrameMk id="10" creationId="{00000000-0000-0000-0000-000000000000}"/>
            </ac:graphicFrameMkLst>
          </pc:graphicFrameChg>
        </pc:sldLayoutChg>
        <pc:sldLayoutChg chg="modSp">
          <pc:chgData name="Mondal, Tanmay" userId="83c199d5-d146-4e16-b08e-fa47ebac23d7" providerId="ADAL" clId="{7889F8E4-3B11-44EC-BF56-408DF8153FC1}" dt="2020-07-27T05:54:12.536" v="19"/>
          <pc:sldLayoutMkLst>
            <pc:docMk/>
            <pc:sldMasterMk cId="1852916292" sldId="2147483691"/>
            <pc:sldLayoutMk cId="2194595922" sldId="2147483697"/>
          </pc:sldLayoutMkLst>
          <pc:spChg chg="mod">
            <ac:chgData name="Mondal, Tanmay" userId="83c199d5-d146-4e16-b08e-fa47ebac23d7" providerId="ADAL" clId="{7889F8E4-3B11-44EC-BF56-408DF8153FC1}" dt="2020-07-27T05:54:12.536" v="19"/>
            <ac:spMkLst>
              <pc:docMk/>
              <pc:sldMasterMk cId="1852916292" sldId="2147483691"/>
              <pc:sldLayoutMk cId="2194595922" sldId="2147483697"/>
              <ac:spMk id="3"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2194595922" sldId="2147483697"/>
              <ac:spMk id="4" creationId="{00000000-0000-0000-0000-000000000000}"/>
            </ac:spMkLst>
          </pc:spChg>
        </pc:sldLayoutChg>
        <pc:sldLayoutChg chg="modSp">
          <pc:chgData name="Mondal, Tanmay" userId="83c199d5-d146-4e16-b08e-fa47ebac23d7" providerId="ADAL" clId="{7889F8E4-3B11-44EC-BF56-408DF8153FC1}" dt="2020-07-27T05:54:12.536" v="19"/>
          <pc:sldLayoutMkLst>
            <pc:docMk/>
            <pc:sldMasterMk cId="1852916292" sldId="2147483691"/>
            <pc:sldLayoutMk cId="3978670281" sldId="2147483698"/>
          </pc:sldLayoutMkLst>
          <pc:spChg chg="mod">
            <ac:chgData name="Mondal, Tanmay" userId="83c199d5-d146-4e16-b08e-fa47ebac23d7" providerId="ADAL" clId="{7889F8E4-3B11-44EC-BF56-408DF8153FC1}" dt="2020-07-27T05:54:12.536" v="19"/>
            <ac:spMkLst>
              <pc:docMk/>
              <pc:sldMasterMk cId="1852916292" sldId="2147483691"/>
              <pc:sldLayoutMk cId="3978670281" sldId="2147483698"/>
              <ac:spMk id="7" creationId="{5C674D03-4995-4743-8CE4-61CF32CFBDDE}"/>
            </ac:spMkLst>
          </pc:spChg>
          <pc:spChg chg="mod">
            <ac:chgData name="Mondal, Tanmay" userId="83c199d5-d146-4e16-b08e-fa47ebac23d7" providerId="ADAL" clId="{7889F8E4-3B11-44EC-BF56-408DF8153FC1}" dt="2020-07-27T05:54:12.536" v="19"/>
            <ac:spMkLst>
              <pc:docMk/>
              <pc:sldMasterMk cId="1852916292" sldId="2147483691"/>
              <pc:sldLayoutMk cId="3978670281" sldId="2147483698"/>
              <ac:spMk id="8" creationId="{D4E263B9-5E55-409E-9F7C-2F67A89E06AA}"/>
            </ac:spMkLst>
          </pc:spChg>
          <pc:spChg chg="mod">
            <ac:chgData name="Mondal, Tanmay" userId="83c199d5-d146-4e16-b08e-fa47ebac23d7" providerId="ADAL" clId="{7889F8E4-3B11-44EC-BF56-408DF8153FC1}" dt="2020-07-27T05:54:12.536" v="19"/>
            <ac:spMkLst>
              <pc:docMk/>
              <pc:sldMasterMk cId="1852916292" sldId="2147483691"/>
              <pc:sldLayoutMk cId="3978670281" sldId="2147483698"/>
              <ac:spMk id="15366" creationId="{00000000-0000-0000-0000-000000000000}"/>
            </ac:spMkLst>
          </pc:spChg>
          <pc:graphicFrameChg chg="mod">
            <ac:chgData name="Mondal, Tanmay" userId="83c199d5-d146-4e16-b08e-fa47ebac23d7" providerId="ADAL" clId="{7889F8E4-3B11-44EC-BF56-408DF8153FC1}" dt="2020-07-27T05:54:12.536" v="19"/>
            <ac:graphicFrameMkLst>
              <pc:docMk/>
              <pc:sldMasterMk cId="1852916292" sldId="2147483691"/>
              <pc:sldLayoutMk cId="3978670281" sldId="2147483698"/>
              <ac:graphicFrameMk id="10" creationId="{00000000-0000-0000-0000-000000000000}"/>
            </ac:graphicFrameMkLst>
          </pc:graphicFrameChg>
        </pc:sldLayoutChg>
        <pc:sldLayoutChg chg="modSp">
          <pc:chgData name="Mondal, Tanmay" userId="83c199d5-d146-4e16-b08e-fa47ebac23d7" providerId="ADAL" clId="{7889F8E4-3B11-44EC-BF56-408DF8153FC1}" dt="2020-07-27T05:54:12.536" v="19"/>
          <pc:sldLayoutMkLst>
            <pc:docMk/>
            <pc:sldMasterMk cId="1852916292" sldId="2147483691"/>
            <pc:sldLayoutMk cId="878947755" sldId="2147483699"/>
          </pc:sldLayoutMkLst>
          <pc:spChg chg="mod">
            <ac:chgData name="Mondal, Tanmay" userId="83c199d5-d146-4e16-b08e-fa47ebac23d7" providerId="ADAL" clId="{7889F8E4-3B11-44EC-BF56-408DF8153FC1}" dt="2020-07-27T05:54:12.536" v="19"/>
            <ac:spMkLst>
              <pc:docMk/>
              <pc:sldMasterMk cId="1852916292" sldId="2147483691"/>
              <pc:sldLayoutMk cId="878947755" sldId="2147483699"/>
              <ac:spMk id="8" creationId="{27CE2609-37DA-4C4C-BF45-E56CE85AA41D}"/>
            </ac:spMkLst>
          </pc:spChg>
          <pc:spChg chg="mod">
            <ac:chgData name="Mondal, Tanmay" userId="83c199d5-d146-4e16-b08e-fa47ebac23d7" providerId="ADAL" clId="{7889F8E4-3B11-44EC-BF56-408DF8153FC1}" dt="2020-07-27T05:54:12.536" v="19"/>
            <ac:spMkLst>
              <pc:docMk/>
              <pc:sldMasterMk cId="1852916292" sldId="2147483691"/>
              <pc:sldLayoutMk cId="878947755" sldId="2147483699"/>
              <ac:spMk id="9" creationId="{6733E381-C11A-4F10-88ED-DDEA4B9167E2}"/>
            </ac:spMkLst>
          </pc:spChg>
          <pc:spChg chg="mod">
            <ac:chgData name="Mondal, Tanmay" userId="83c199d5-d146-4e16-b08e-fa47ebac23d7" providerId="ADAL" clId="{7889F8E4-3B11-44EC-BF56-408DF8153FC1}" dt="2020-07-27T05:54:12.536" v="19"/>
            <ac:spMkLst>
              <pc:docMk/>
              <pc:sldMasterMk cId="1852916292" sldId="2147483691"/>
              <pc:sldLayoutMk cId="878947755" sldId="2147483699"/>
              <ac:spMk id="11" creationId="{4F279807-494A-45DD-A5C6-24F625316B92}"/>
            </ac:spMkLst>
          </pc:spChg>
          <pc:spChg chg="mod">
            <ac:chgData name="Mondal, Tanmay" userId="83c199d5-d146-4e16-b08e-fa47ebac23d7" providerId="ADAL" clId="{7889F8E4-3B11-44EC-BF56-408DF8153FC1}" dt="2020-07-27T05:54:12.536" v="19"/>
            <ac:spMkLst>
              <pc:docMk/>
              <pc:sldMasterMk cId="1852916292" sldId="2147483691"/>
              <pc:sldLayoutMk cId="878947755" sldId="2147483699"/>
              <ac:spMk id="13" creationId="{D8D7F005-BA7C-423E-87B0-6782D88233F6}"/>
            </ac:spMkLst>
          </pc:spChg>
          <pc:spChg chg="mod">
            <ac:chgData name="Mondal, Tanmay" userId="83c199d5-d146-4e16-b08e-fa47ebac23d7" providerId="ADAL" clId="{7889F8E4-3B11-44EC-BF56-408DF8153FC1}" dt="2020-07-27T05:54:12.536" v="19"/>
            <ac:spMkLst>
              <pc:docMk/>
              <pc:sldMasterMk cId="1852916292" sldId="2147483691"/>
              <pc:sldLayoutMk cId="878947755" sldId="2147483699"/>
              <ac:spMk id="14" creationId="{47BDC0DA-1585-454D-9E74-41D2AFC0FEE5}"/>
            </ac:spMkLst>
          </pc:spChg>
          <pc:spChg chg="mod">
            <ac:chgData name="Mondal, Tanmay" userId="83c199d5-d146-4e16-b08e-fa47ebac23d7" providerId="ADAL" clId="{7889F8E4-3B11-44EC-BF56-408DF8153FC1}" dt="2020-07-27T05:54:12.536" v="19"/>
            <ac:spMkLst>
              <pc:docMk/>
              <pc:sldMasterMk cId="1852916292" sldId="2147483691"/>
              <pc:sldLayoutMk cId="878947755" sldId="2147483699"/>
              <ac:spMk id="16" creationId="{25FC8637-25BD-4C09-AF25-56B4243DAB3D}"/>
            </ac:spMkLst>
          </pc:spChg>
          <pc:cxnChg chg="mod">
            <ac:chgData name="Mondal, Tanmay" userId="83c199d5-d146-4e16-b08e-fa47ebac23d7" providerId="ADAL" clId="{7889F8E4-3B11-44EC-BF56-408DF8153FC1}" dt="2020-07-27T05:54:12.536" v="19"/>
            <ac:cxnSpMkLst>
              <pc:docMk/>
              <pc:sldMasterMk cId="1852916292" sldId="2147483691"/>
              <pc:sldLayoutMk cId="878947755" sldId="2147483699"/>
              <ac:cxnSpMk id="20" creationId="{6B6D7F6B-C184-4C2B-8EB7-067E0C1E8DF2}"/>
            </ac:cxnSpMkLst>
          </pc:cxnChg>
        </pc:sldLayoutChg>
        <pc:sldLayoutChg chg="modSp">
          <pc:chgData name="Mondal, Tanmay" userId="83c199d5-d146-4e16-b08e-fa47ebac23d7" providerId="ADAL" clId="{7889F8E4-3B11-44EC-BF56-408DF8153FC1}" dt="2020-07-27T05:54:12.536" v="19"/>
          <pc:sldLayoutMkLst>
            <pc:docMk/>
            <pc:sldMasterMk cId="1852916292" sldId="2147483691"/>
            <pc:sldLayoutMk cId="265754096" sldId="2147483700"/>
          </pc:sldLayoutMkLst>
          <pc:spChg chg="mod">
            <ac:chgData name="Mondal, Tanmay" userId="83c199d5-d146-4e16-b08e-fa47ebac23d7" providerId="ADAL" clId="{7889F8E4-3B11-44EC-BF56-408DF8153FC1}" dt="2020-07-27T05:54:12.536" v="19"/>
            <ac:spMkLst>
              <pc:docMk/>
              <pc:sldMasterMk cId="1852916292" sldId="2147483691"/>
              <pc:sldLayoutMk cId="265754096" sldId="2147483700"/>
              <ac:spMk id="7" creationId="{552BBB0A-405D-419D-8BD5-EC8D9F84B795}"/>
            </ac:spMkLst>
          </pc:spChg>
          <pc:spChg chg="mod">
            <ac:chgData name="Mondal, Tanmay" userId="83c199d5-d146-4e16-b08e-fa47ebac23d7" providerId="ADAL" clId="{7889F8E4-3B11-44EC-BF56-408DF8153FC1}" dt="2020-07-27T05:54:12.536" v="19"/>
            <ac:spMkLst>
              <pc:docMk/>
              <pc:sldMasterMk cId="1852916292" sldId="2147483691"/>
              <pc:sldLayoutMk cId="265754096" sldId="2147483700"/>
              <ac:spMk id="10" creationId="{9228FC83-C11D-47F2-8BDE-B10D125E5E87}"/>
            </ac:spMkLst>
          </pc:spChg>
          <pc:spChg chg="mod">
            <ac:chgData name="Mondal, Tanmay" userId="83c199d5-d146-4e16-b08e-fa47ebac23d7" providerId="ADAL" clId="{7889F8E4-3B11-44EC-BF56-408DF8153FC1}" dt="2020-07-27T05:54:12.536" v="19"/>
            <ac:spMkLst>
              <pc:docMk/>
              <pc:sldMasterMk cId="1852916292" sldId="2147483691"/>
              <pc:sldLayoutMk cId="265754096" sldId="2147483700"/>
              <ac:spMk id="11" creationId="{9228FC83-C11D-47F2-8BDE-B10D125E5E87}"/>
            </ac:spMkLst>
          </pc:spChg>
          <pc:spChg chg="mod">
            <ac:chgData name="Mondal, Tanmay" userId="83c199d5-d146-4e16-b08e-fa47ebac23d7" providerId="ADAL" clId="{7889F8E4-3B11-44EC-BF56-408DF8153FC1}" dt="2020-07-27T05:54:12.536" v="19"/>
            <ac:spMkLst>
              <pc:docMk/>
              <pc:sldMasterMk cId="1852916292" sldId="2147483691"/>
              <pc:sldLayoutMk cId="265754096" sldId="2147483700"/>
              <ac:spMk id="12" creationId="{9228FC83-C11D-47F2-8BDE-B10D125E5E87}"/>
            </ac:spMkLst>
          </pc:spChg>
          <pc:spChg chg="mod">
            <ac:chgData name="Mondal, Tanmay" userId="83c199d5-d146-4e16-b08e-fa47ebac23d7" providerId="ADAL" clId="{7889F8E4-3B11-44EC-BF56-408DF8153FC1}" dt="2020-07-27T05:54:12.536" v="19"/>
            <ac:spMkLst>
              <pc:docMk/>
              <pc:sldMasterMk cId="1852916292" sldId="2147483691"/>
              <pc:sldLayoutMk cId="265754096" sldId="2147483700"/>
              <ac:spMk id="13" creationId="{25FC8637-25BD-4C09-AF25-56B4243DAB3D}"/>
            </ac:spMkLst>
          </pc:spChg>
          <pc:grpChg chg="mod">
            <ac:chgData name="Mondal, Tanmay" userId="83c199d5-d146-4e16-b08e-fa47ebac23d7" providerId="ADAL" clId="{7889F8E4-3B11-44EC-BF56-408DF8153FC1}" dt="2020-07-27T05:54:12.536" v="19"/>
            <ac:grpSpMkLst>
              <pc:docMk/>
              <pc:sldMasterMk cId="1852916292" sldId="2147483691"/>
              <pc:sldLayoutMk cId="265754096" sldId="2147483700"/>
              <ac:grpSpMk id="17" creationId="{F55AA728-28C9-4E2C-9F9C-ED1CE98A5CDA}"/>
            </ac:grpSpMkLst>
          </pc:grpChg>
          <pc:grpChg chg="mod">
            <ac:chgData name="Mondal, Tanmay" userId="83c199d5-d146-4e16-b08e-fa47ebac23d7" providerId="ADAL" clId="{7889F8E4-3B11-44EC-BF56-408DF8153FC1}" dt="2020-07-27T05:54:12.536" v="19"/>
            <ac:grpSpMkLst>
              <pc:docMk/>
              <pc:sldMasterMk cId="1852916292" sldId="2147483691"/>
              <pc:sldLayoutMk cId="265754096" sldId="2147483700"/>
              <ac:grpSpMk id="23" creationId="{A10900A1-B639-4F4D-B2A8-3302F49771BD}"/>
            </ac:grpSpMkLst>
          </pc:grpChg>
          <pc:grpChg chg="mod">
            <ac:chgData name="Mondal, Tanmay" userId="83c199d5-d146-4e16-b08e-fa47ebac23d7" providerId="ADAL" clId="{7889F8E4-3B11-44EC-BF56-408DF8153FC1}" dt="2020-07-27T05:54:12.536" v="19"/>
            <ac:grpSpMkLst>
              <pc:docMk/>
              <pc:sldMasterMk cId="1852916292" sldId="2147483691"/>
              <pc:sldLayoutMk cId="265754096" sldId="2147483700"/>
              <ac:grpSpMk id="32" creationId="{B03705AC-ADA5-4143-92DC-8EE15523316C}"/>
            </ac:grpSpMkLst>
          </pc:grpChg>
          <pc:cxnChg chg="mod">
            <ac:chgData name="Mondal, Tanmay" userId="83c199d5-d146-4e16-b08e-fa47ebac23d7" providerId="ADAL" clId="{7889F8E4-3B11-44EC-BF56-408DF8153FC1}" dt="2020-07-27T05:54:12.536" v="19"/>
            <ac:cxnSpMkLst>
              <pc:docMk/>
              <pc:sldMasterMk cId="1852916292" sldId="2147483691"/>
              <pc:sldLayoutMk cId="265754096" sldId="2147483700"/>
              <ac:cxnSpMk id="14" creationId="{6B6D7F6B-C184-4C2B-8EB7-067E0C1E8DF2}"/>
            </ac:cxnSpMkLst>
          </pc:cxnChg>
        </pc:sldLayoutChg>
        <pc:sldLayoutChg chg="modSp">
          <pc:chgData name="Mondal, Tanmay" userId="83c199d5-d146-4e16-b08e-fa47ebac23d7" providerId="ADAL" clId="{7889F8E4-3B11-44EC-BF56-408DF8153FC1}" dt="2020-07-27T05:54:12.536" v="19"/>
          <pc:sldLayoutMkLst>
            <pc:docMk/>
            <pc:sldMasterMk cId="1852916292" sldId="2147483691"/>
            <pc:sldLayoutMk cId="3401345463" sldId="2147483701"/>
          </pc:sldLayoutMkLst>
          <pc:spChg chg="mod">
            <ac:chgData name="Mondal, Tanmay" userId="83c199d5-d146-4e16-b08e-fa47ebac23d7" providerId="ADAL" clId="{7889F8E4-3B11-44EC-BF56-408DF8153FC1}" dt="2020-07-27T05:54:12.536" v="19"/>
            <ac:spMkLst>
              <pc:docMk/>
              <pc:sldMasterMk cId="1852916292" sldId="2147483691"/>
              <pc:sldLayoutMk cId="3401345463" sldId="2147483701"/>
              <ac:spMk id="3"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3401345463" sldId="2147483701"/>
              <ac:spMk id="4"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3401345463" sldId="2147483701"/>
              <ac:spMk id="5" creationId="{00000000-0000-0000-0000-000000000000}"/>
            </ac:spMkLst>
          </pc:spChg>
        </pc:sldLayoutChg>
        <pc:sldLayoutChg chg="modSp">
          <pc:chgData name="Mondal, Tanmay" userId="83c199d5-d146-4e16-b08e-fa47ebac23d7" providerId="ADAL" clId="{7889F8E4-3B11-44EC-BF56-408DF8153FC1}" dt="2020-07-27T05:54:12.536" v="19"/>
          <pc:sldLayoutMkLst>
            <pc:docMk/>
            <pc:sldMasterMk cId="1852916292" sldId="2147483691"/>
            <pc:sldLayoutMk cId="4127358191" sldId="2147483702"/>
          </pc:sldLayoutMkLst>
          <pc:spChg chg="mod">
            <ac:chgData name="Mondal, Tanmay" userId="83c199d5-d146-4e16-b08e-fa47ebac23d7" providerId="ADAL" clId="{7889F8E4-3B11-44EC-BF56-408DF8153FC1}" dt="2020-07-27T05:54:12.536" v="19"/>
            <ac:spMkLst>
              <pc:docMk/>
              <pc:sldMasterMk cId="1852916292" sldId="2147483691"/>
              <pc:sldLayoutMk cId="4127358191" sldId="2147483702"/>
              <ac:spMk id="2"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4127358191" sldId="2147483702"/>
              <ac:spMk id="4" creationId="{00000000-0000-0000-0000-000000000000}"/>
            </ac:spMkLst>
          </pc:spChg>
          <pc:spChg chg="mod">
            <ac:chgData name="Mondal, Tanmay" userId="83c199d5-d146-4e16-b08e-fa47ebac23d7" providerId="ADAL" clId="{7889F8E4-3B11-44EC-BF56-408DF8153FC1}" dt="2020-07-27T05:54:12.536" v="19"/>
            <ac:spMkLst>
              <pc:docMk/>
              <pc:sldMasterMk cId="1852916292" sldId="2147483691"/>
              <pc:sldLayoutMk cId="4127358191" sldId="2147483702"/>
              <ac:spMk id="5" creationId="{00000000-0000-0000-0000-000000000000}"/>
            </ac:spMkLst>
          </pc:spChg>
        </pc:sldLayoutChg>
        <pc:sldLayoutChg chg="modSp">
          <pc:chgData name="Mondal, Tanmay" userId="83c199d5-d146-4e16-b08e-fa47ebac23d7" providerId="ADAL" clId="{7889F8E4-3B11-44EC-BF56-408DF8153FC1}" dt="2020-07-27T05:54:12.536" v="19"/>
          <pc:sldLayoutMkLst>
            <pc:docMk/>
            <pc:sldMasterMk cId="1852916292" sldId="2147483691"/>
            <pc:sldLayoutMk cId="1616071377" sldId="2147483704"/>
          </pc:sldLayoutMkLst>
          <pc:spChg chg="mod">
            <ac:chgData name="Mondal, Tanmay" userId="83c199d5-d146-4e16-b08e-fa47ebac23d7" providerId="ADAL" clId="{7889F8E4-3B11-44EC-BF56-408DF8153FC1}" dt="2020-07-27T05:54:12.536" v="19"/>
            <ac:spMkLst>
              <pc:docMk/>
              <pc:sldMasterMk cId="1852916292" sldId="2147483691"/>
              <pc:sldLayoutMk cId="1616071377" sldId="2147483704"/>
              <ac:spMk id="14" creationId="{4252348C-45B4-48E3-B74B-8E834575C8AA}"/>
            </ac:spMkLst>
          </pc:spChg>
          <pc:spChg chg="mod">
            <ac:chgData name="Mondal, Tanmay" userId="83c199d5-d146-4e16-b08e-fa47ebac23d7" providerId="ADAL" clId="{7889F8E4-3B11-44EC-BF56-408DF8153FC1}" dt="2020-07-27T05:54:12.536" v="19"/>
            <ac:spMkLst>
              <pc:docMk/>
              <pc:sldMasterMk cId="1852916292" sldId="2147483691"/>
              <pc:sldLayoutMk cId="1616071377" sldId="2147483704"/>
              <ac:spMk id="15" creationId="{97620309-84FF-4D53-AD39-936B55216B4B}"/>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81F982-FC3C-4EBB-B054-35A2A03F2FED}" type="doc">
      <dgm:prSet loTypeId="urn:microsoft.com/office/officeart/2005/8/layout/cycle3" loCatId="cycle" qsTypeId="urn:microsoft.com/office/officeart/2005/8/quickstyle/simple5" qsCatId="simple" csTypeId="urn:microsoft.com/office/officeart/2005/8/colors/accent1_2" csCatId="accent1" phldr="1"/>
      <dgm:spPr/>
      <dgm:t>
        <a:bodyPr/>
        <a:lstStyle/>
        <a:p>
          <a:endParaRPr lang="en-US"/>
        </a:p>
      </dgm:t>
    </dgm:pt>
    <dgm:pt modelId="{E28267E5-32E5-4413-AC69-05499F03DDE3}">
      <dgm:prSet phldrT="[Text]" custT="1"/>
      <dgm:spPr/>
      <dgm:t>
        <a:bodyPr/>
        <a:lstStyle/>
        <a:p>
          <a:pPr algn="ctr"/>
          <a:r>
            <a:rPr lang="en-US" sz="1600" b="1" dirty="0"/>
            <a:t>Sales Support</a:t>
          </a:r>
        </a:p>
        <a:p>
          <a:pPr algn="ctr"/>
          <a:r>
            <a:rPr lang="en-US" sz="1200" dirty="0"/>
            <a:t>Sales Activity</a:t>
          </a:r>
        </a:p>
      </dgm:t>
    </dgm:pt>
    <dgm:pt modelId="{919A4E8E-CD5C-4C41-B5FC-E247635C1015}" type="parTrans" cxnId="{0644D231-5D5E-4113-8C26-1DD18CF25D81}">
      <dgm:prSet/>
      <dgm:spPr/>
      <dgm:t>
        <a:bodyPr/>
        <a:lstStyle/>
        <a:p>
          <a:endParaRPr lang="en-US"/>
        </a:p>
      </dgm:t>
    </dgm:pt>
    <dgm:pt modelId="{76862B5C-F9C4-4A7B-9691-AC4523C4FEB8}" type="sibTrans" cxnId="{0644D231-5D5E-4113-8C26-1DD18CF25D81}">
      <dgm:prSet/>
      <dgm:spPr/>
      <dgm:t>
        <a:bodyPr/>
        <a:lstStyle/>
        <a:p>
          <a:endParaRPr lang="en-US"/>
        </a:p>
      </dgm:t>
    </dgm:pt>
    <dgm:pt modelId="{E4A31FF5-4985-4778-ADDA-8F4B99AFA571}">
      <dgm:prSet phldrT="[Text]" custT="1"/>
      <dgm:spPr/>
      <dgm:t>
        <a:bodyPr/>
        <a:lstStyle/>
        <a:p>
          <a:pPr algn="ctr"/>
          <a:r>
            <a:rPr lang="en-US" sz="1600" b="1" dirty="0"/>
            <a:t>Shipping</a:t>
          </a:r>
        </a:p>
        <a:p>
          <a:pPr algn="ctr"/>
          <a:r>
            <a:rPr lang="en-US" sz="1200" dirty="0"/>
            <a:t>Delivery</a:t>
          </a:r>
        </a:p>
      </dgm:t>
    </dgm:pt>
    <dgm:pt modelId="{53064782-D30C-45BC-8B5F-4A60FCAED648}" type="parTrans" cxnId="{4BB390A5-550E-4327-9235-ACCE5ED1FD00}">
      <dgm:prSet/>
      <dgm:spPr/>
      <dgm:t>
        <a:bodyPr/>
        <a:lstStyle/>
        <a:p>
          <a:endParaRPr lang="en-US"/>
        </a:p>
      </dgm:t>
    </dgm:pt>
    <dgm:pt modelId="{10E33F90-70A9-4F22-981F-BC80F3A4E20F}" type="sibTrans" cxnId="{4BB390A5-550E-4327-9235-ACCE5ED1FD00}">
      <dgm:prSet/>
      <dgm:spPr/>
      <dgm:t>
        <a:bodyPr/>
        <a:lstStyle/>
        <a:p>
          <a:endParaRPr lang="en-US"/>
        </a:p>
      </dgm:t>
    </dgm:pt>
    <dgm:pt modelId="{6D68E34F-79A2-4D4B-8B7D-86F343889750}">
      <dgm:prSet phldrT="[Text]" custT="1"/>
      <dgm:spPr/>
      <dgm:t>
        <a:bodyPr/>
        <a:lstStyle/>
        <a:p>
          <a:pPr algn="ctr"/>
          <a:r>
            <a:rPr lang="en-US" sz="1600" b="1" dirty="0"/>
            <a:t>Billing</a:t>
          </a:r>
        </a:p>
        <a:p>
          <a:pPr algn="ctr"/>
          <a:r>
            <a:rPr lang="en-US" sz="1200" dirty="0"/>
            <a:t>Invoice | Debit Memo | Credit Memo</a:t>
          </a:r>
        </a:p>
      </dgm:t>
    </dgm:pt>
    <dgm:pt modelId="{07B87D50-77C9-4D59-9AB9-B71648260791}" type="parTrans" cxnId="{12D94134-7271-4BCF-84EA-7FE611BAF70E}">
      <dgm:prSet/>
      <dgm:spPr/>
      <dgm:t>
        <a:bodyPr/>
        <a:lstStyle/>
        <a:p>
          <a:endParaRPr lang="en-US"/>
        </a:p>
      </dgm:t>
    </dgm:pt>
    <dgm:pt modelId="{9652C929-BD6E-4B2B-BB13-2B5B6ED44484}" type="sibTrans" cxnId="{12D94134-7271-4BCF-84EA-7FE611BAF70E}">
      <dgm:prSet/>
      <dgm:spPr/>
      <dgm:t>
        <a:bodyPr/>
        <a:lstStyle/>
        <a:p>
          <a:endParaRPr lang="en-US"/>
        </a:p>
      </dgm:t>
    </dgm:pt>
    <dgm:pt modelId="{5087DEBB-52E4-4D25-BC75-3D4D09247132}">
      <dgm:prSet phldrT="[Text]" custT="1"/>
      <dgm:spPr/>
      <dgm:t>
        <a:bodyPr/>
        <a:lstStyle/>
        <a:p>
          <a:pPr algn="ctr"/>
          <a:r>
            <a:rPr lang="en-US" sz="1600" b="1" dirty="0"/>
            <a:t>Sales</a:t>
          </a:r>
        </a:p>
        <a:p>
          <a:pPr algn="ctr"/>
          <a:r>
            <a:rPr lang="en-US" sz="1200" dirty="0"/>
            <a:t>Inquiry | Quotation | Sales Order</a:t>
          </a:r>
          <a:br>
            <a:rPr lang="en-US" sz="1200" dirty="0"/>
          </a:br>
          <a:r>
            <a:rPr lang="en-US" sz="1200" dirty="0"/>
            <a:t>| Delivery Free of Charge | Subsequent Delivery Free of Charge | Returns | Scheduling Agreement | Contracts</a:t>
          </a:r>
        </a:p>
      </dgm:t>
    </dgm:pt>
    <dgm:pt modelId="{1F6C7D27-1C0D-487C-8853-325C0978A5F3}" type="parTrans" cxnId="{346EF7D6-65A4-4B1B-819A-909A10C48FFE}">
      <dgm:prSet/>
      <dgm:spPr/>
      <dgm:t>
        <a:bodyPr/>
        <a:lstStyle/>
        <a:p>
          <a:endParaRPr lang="en-US"/>
        </a:p>
      </dgm:t>
    </dgm:pt>
    <dgm:pt modelId="{0A867309-3915-41A6-A5B9-616C55674A60}" type="sibTrans" cxnId="{346EF7D6-65A4-4B1B-819A-909A10C48FFE}">
      <dgm:prSet/>
      <dgm:spPr/>
      <dgm:t>
        <a:bodyPr/>
        <a:lstStyle/>
        <a:p>
          <a:endParaRPr lang="en-US"/>
        </a:p>
      </dgm:t>
    </dgm:pt>
    <dgm:pt modelId="{82100C84-7CED-4662-864B-7C6C70F45E1E}">
      <dgm:prSet phldrT="[Text]" custT="1"/>
      <dgm:spPr/>
      <dgm:t>
        <a:bodyPr/>
        <a:lstStyle/>
        <a:p>
          <a:pPr algn="ctr"/>
          <a:r>
            <a:rPr lang="en-US" sz="1600" b="1" dirty="0"/>
            <a:t>Customer</a:t>
          </a:r>
        </a:p>
      </dgm:t>
    </dgm:pt>
    <dgm:pt modelId="{B7A9C1E5-398F-422C-9682-F1E99E9C53F3}" type="parTrans" cxnId="{3FEFE5AB-C0D7-408E-B53F-8BE29D3ED50F}">
      <dgm:prSet/>
      <dgm:spPr/>
      <dgm:t>
        <a:bodyPr/>
        <a:lstStyle/>
        <a:p>
          <a:endParaRPr lang="en-US"/>
        </a:p>
      </dgm:t>
    </dgm:pt>
    <dgm:pt modelId="{21EF1F1A-E480-40DD-B083-33AB5E673513}" type="sibTrans" cxnId="{3FEFE5AB-C0D7-408E-B53F-8BE29D3ED50F}">
      <dgm:prSet/>
      <dgm:spPr>
        <a:solidFill>
          <a:srgbClr val="9BC348"/>
        </a:solidFill>
      </dgm:spPr>
      <dgm:t>
        <a:bodyPr/>
        <a:lstStyle/>
        <a:p>
          <a:endParaRPr lang="en-US" dirty="0"/>
        </a:p>
      </dgm:t>
    </dgm:pt>
    <dgm:pt modelId="{EEEB8EE2-904A-40E5-AC06-085695B355ED}" type="pres">
      <dgm:prSet presAssocID="{8981F982-FC3C-4EBB-B054-35A2A03F2FED}" presName="Name0" presStyleCnt="0">
        <dgm:presLayoutVars>
          <dgm:dir/>
          <dgm:resizeHandles val="exact"/>
        </dgm:presLayoutVars>
      </dgm:prSet>
      <dgm:spPr/>
    </dgm:pt>
    <dgm:pt modelId="{F2051082-A501-4682-ABA4-AAC43120736B}" type="pres">
      <dgm:prSet presAssocID="{8981F982-FC3C-4EBB-B054-35A2A03F2FED}" presName="cycle" presStyleCnt="0"/>
      <dgm:spPr/>
    </dgm:pt>
    <dgm:pt modelId="{4F22B4B2-C418-44C6-9FE5-A33B0B28498D}" type="pres">
      <dgm:prSet presAssocID="{82100C84-7CED-4662-864B-7C6C70F45E1E}" presName="nodeFirstNode" presStyleLbl="node1" presStyleIdx="0" presStyleCnt="5" custScaleX="83833" custScaleY="65280">
        <dgm:presLayoutVars>
          <dgm:bulletEnabled val="1"/>
        </dgm:presLayoutVars>
      </dgm:prSet>
      <dgm:spPr/>
    </dgm:pt>
    <dgm:pt modelId="{69B9D3C2-F105-47E4-9FA1-6D88D81228FE}" type="pres">
      <dgm:prSet presAssocID="{21EF1F1A-E480-40DD-B083-33AB5E673513}" presName="sibTransFirstNode" presStyleLbl="bgShp" presStyleIdx="0" presStyleCnt="1"/>
      <dgm:spPr/>
    </dgm:pt>
    <dgm:pt modelId="{169EC6A5-EA9F-459A-9A01-58A7CAF23285}" type="pres">
      <dgm:prSet presAssocID="{E28267E5-32E5-4413-AC69-05499F03DDE3}" presName="nodeFollowingNodes" presStyleLbl="node1" presStyleIdx="1" presStyleCnt="5" custScaleX="83833" custScaleY="65280">
        <dgm:presLayoutVars>
          <dgm:bulletEnabled val="1"/>
        </dgm:presLayoutVars>
      </dgm:prSet>
      <dgm:spPr/>
    </dgm:pt>
    <dgm:pt modelId="{A4C1CC10-A8F0-40B9-A627-273B8CDB6716}" type="pres">
      <dgm:prSet presAssocID="{5087DEBB-52E4-4D25-BC75-3D4D09247132}" presName="nodeFollowingNodes" presStyleLbl="node1" presStyleIdx="2" presStyleCnt="5" custScaleX="153194" custScaleY="113033" custRadScaleRad="110795" custRadScaleInc="-18140">
        <dgm:presLayoutVars>
          <dgm:bulletEnabled val="1"/>
        </dgm:presLayoutVars>
      </dgm:prSet>
      <dgm:spPr/>
    </dgm:pt>
    <dgm:pt modelId="{98652406-70D7-4502-94FC-DFB1E7E07B7B}" type="pres">
      <dgm:prSet presAssocID="{E4A31FF5-4985-4778-ADDA-8F4B99AFA571}" presName="nodeFollowingNodes" presStyleLbl="node1" presStyleIdx="3" presStyleCnt="5" custScaleX="83833" custScaleY="65280" custRadScaleRad="101095" custRadScaleInc="34004">
        <dgm:presLayoutVars>
          <dgm:bulletEnabled val="1"/>
        </dgm:presLayoutVars>
      </dgm:prSet>
      <dgm:spPr/>
    </dgm:pt>
    <dgm:pt modelId="{AD10501C-5BFA-4C74-B81A-38D6D4F90AB1}" type="pres">
      <dgm:prSet presAssocID="{6D68E34F-79A2-4D4B-8B7D-86F343889750}" presName="nodeFollowingNodes" presStyleLbl="node1" presStyleIdx="4" presStyleCnt="5" custScaleX="83833" custScaleY="96968" custRadScaleRad="113754" custRadScaleInc="4750">
        <dgm:presLayoutVars>
          <dgm:bulletEnabled val="1"/>
        </dgm:presLayoutVars>
      </dgm:prSet>
      <dgm:spPr/>
    </dgm:pt>
  </dgm:ptLst>
  <dgm:cxnLst>
    <dgm:cxn modelId="{3FE1B800-7115-41BF-B06B-1CD231D8AC66}" type="presOf" srcId="{E4A31FF5-4985-4778-ADDA-8F4B99AFA571}" destId="{98652406-70D7-4502-94FC-DFB1E7E07B7B}" srcOrd="0" destOrd="0" presId="urn:microsoft.com/office/officeart/2005/8/layout/cycle3"/>
    <dgm:cxn modelId="{7E97240C-05F8-483B-9FB4-DC8C67D68CFB}" type="presOf" srcId="{E28267E5-32E5-4413-AC69-05499F03DDE3}" destId="{169EC6A5-EA9F-459A-9A01-58A7CAF23285}" srcOrd="0" destOrd="0" presId="urn:microsoft.com/office/officeart/2005/8/layout/cycle3"/>
    <dgm:cxn modelId="{E0ABB410-28DA-4478-A307-5146853808E6}" type="presOf" srcId="{5087DEBB-52E4-4D25-BC75-3D4D09247132}" destId="{A4C1CC10-A8F0-40B9-A627-273B8CDB6716}" srcOrd="0" destOrd="0" presId="urn:microsoft.com/office/officeart/2005/8/layout/cycle3"/>
    <dgm:cxn modelId="{14DFBC1F-0B05-4C53-8A3B-4C2F0D303CDF}" type="presOf" srcId="{21EF1F1A-E480-40DD-B083-33AB5E673513}" destId="{69B9D3C2-F105-47E4-9FA1-6D88D81228FE}" srcOrd="0" destOrd="0" presId="urn:microsoft.com/office/officeart/2005/8/layout/cycle3"/>
    <dgm:cxn modelId="{0644D231-5D5E-4113-8C26-1DD18CF25D81}" srcId="{8981F982-FC3C-4EBB-B054-35A2A03F2FED}" destId="{E28267E5-32E5-4413-AC69-05499F03DDE3}" srcOrd="1" destOrd="0" parTransId="{919A4E8E-CD5C-4C41-B5FC-E247635C1015}" sibTransId="{76862B5C-F9C4-4A7B-9691-AC4523C4FEB8}"/>
    <dgm:cxn modelId="{12D94134-7271-4BCF-84EA-7FE611BAF70E}" srcId="{8981F982-FC3C-4EBB-B054-35A2A03F2FED}" destId="{6D68E34F-79A2-4D4B-8B7D-86F343889750}" srcOrd="4" destOrd="0" parTransId="{07B87D50-77C9-4D59-9AB9-B71648260791}" sibTransId="{9652C929-BD6E-4B2B-BB13-2B5B6ED44484}"/>
    <dgm:cxn modelId="{8E873C81-8EBB-4A7C-A2E5-6CD23C06BF89}" type="presOf" srcId="{8981F982-FC3C-4EBB-B054-35A2A03F2FED}" destId="{EEEB8EE2-904A-40E5-AC06-085695B355ED}" srcOrd="0" destOrd="0" presId="urn:microsoft.com/office/officeart/2005/8/layout/cycle3"/>
    <dgm:cxn modelId="{4BB390A5-550E-4327-9235-ACCE5ED1FD00}" srcId="{8981F982-FC3C-4EBB-B054-35A2A03F2FED}" destId="{E4A31FF5-4985-4778-ADDA-8F4B99AFA571}" srcOrd="3" destOrd="0" parTransId="{53064782-D30C-45BC-8B5F-4A60FCAED648}" sibTransId="{10E33F90-70A9-4F22-981F-BC80F3A4E20F}"/>
    <dgm:cxn modelId="{3FEFE5AB-C0D7-408E-B53F-8BE29D3ED50F}" srcId="{8981F982-FC3C-4EBB-B054-35A2A03F2FED}" destId="{82100C84-7CED-4662-864B-7C6C70F45E1E}" srcOrd="0" destOrd="0" parTransId="{B7A9C1E5-398F-422C-9682-F1E99E9C53F3}" sibTransId="{21EF1F1A-E480-40DD-B083-33AB5E673513}"/>
    <dgm:cxn modelId="{346EF7D6-65A4-4B1B-819A-909A10C48FFE}" srcId="{8981F982-FC3C-4EBB-B054-35A2A03F2FED}" destId="{5087DEBB-52E4-4D25-BC75-3D4D09247132}" srcOrd="2" destOrd="0" parTransId="{1F6C7D27-1C0D-487C-8853-325C0978A5F3}" sibTransId="{0A867309-3915-41A6-A5B9-616C55674A60}"/>
    <dgm:cxn modelId="{1001B2E7-EC70-46EA-A3DA-B179852980E6}" type="presOf" srcId="{82100C84-7CED-4662-864B-7C6C70F45E1E}" destId="{4F22B4B2-C418-44C6-9FE5-A33B0B28498D}" srcOrd="0" destOrd="0" presId="urn:microsoft.com/office/officeart/2005/8/layout/cycle3"/>
    <dgm:cxn modelId="{D652C0E9-6F0D-443D-A78F-BEA0E157518C}" type="presOf" srcId="{6D68E34F-79A2-4D4B-8B7D-86F343889750}" destId="{AD10501C-5BFA-4C74-B81A-38D6D4F90AB1}" srcOrd="0" destOrd="0" presId="urn:microsoft.com/office/officeart/2005/8/layout/cycle3"/>
    <dgm:cxn modelId="{959FAEDF-3B7E-48C1-8EC0-CCFDA7B607C9}" type="presParOf" srcId="{EEEB8EE2-904A-40E5-AC06-085695B355ED}" destId="{F2051082-A501-4682-ABA4-AAC43120736B}" srcOrd="0" destOrd="0" presId="urn:microsoft.com/office/officeart/2005/8/layout/cycle3"/>
    <dgm:cxn modelId="{915B6C81-ECB0-441B-BDDF-3D630D24B376}" type="presParOf" srcId="{F2051082-A501-4682-ABA4-AAC43120736B}" destId="{4F22B4B2-C418-44C6-9FE5-A33B0B28498D}" srcOrd="0" destOrd="0" presId="urn:microsoft.com/office/officeart/2005/8/layout/cycle3"/>
    <dgm:cxn modelId="{5BD4037B-5286-4E37-B7A6-F4BE1153EA09}" type="presParOf" srcId="{F2051082-A501-4682-ABA4-AAC43120736B}" destId="{69B9D3C2-F105-47E4-9FA1-6D88D81228FE}" srcOrd="1" destOrd="0" presId="urn:microsoft.com/office/officeart/2005/8/layout/cycle3"/>
    <dgm:cxn modelId="{B53C3D7B-7C42-49CA-91C6-55F1517D1FE4}" type="presParOf" srcId="{F2051082-A501-4682-ABA4-AAC43120736B}" destId="{169EC6A5-EA9F-459A-9A01-58A7CAF23285}" srcOrd="2" destOrd="0" presId="urn:microsoft.com/office/officeart/2005/8/layout/cycle3"/>
    <dgm:cxn modelId="{E296AEE6-5CFE-4A0B-AF8B-026FC4AAEA14}" type="presParOf" srcId="{F2051082-A501-4682-ABA4-AAC43120736B}" destId="{A4C1CC10-A8F0-40B9-A627-273B8CDB6716}" srcOrd="3" destOrd="0" presId="urn:microsoft.com/office/officeart/2005/8/layout/cycle3"/>
    <dgm:cxn modelId="{57C52C81-23E3-446B-A9C8-FE29BF0702D0}" type="presParOf" srcId="{F2051082-A501-4682-ABA4-AAC43120736B}" destId="{98652406-70D7-4502-94FC-DFB1E7E07B7B}" srcOrd="4" destOrd="0" presId="urn:microsoft.com/office/officeart/2005/8/layout/cycle3"/>
    <dgm:cxn modelId="{E4A423F4-7BBA-4C91-9819-8173EBD1479B}" type="presParOf" srcId="{F2051082-A501-4682-ABA4-AAC43120736B}" destId="{AD10501C-5BFA-4C74-B81A-38D6D4F90AB1}" srcOrd="5"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B9D3C2-F105-47E4-9FA1-6D88D81228FE}">
      <dsp:nvSpPr>
        <dsp:cNvPr id="0" name=""/>
        <dsp:cNvSpPr/>
      </dsp:nvSpPr>
      <dsp:spPr>
        <a:xfrm>
          <a:off x="1250702" y="-56415"/>
          <a:ext cx="4330681" cy="4330681"/>
        </a:xfrm>
        <a:prstGeom prst="circularArrow">
          <a:avLst>
            <a:gd name="adj1" fmla="val 5544"/>
            <a:gd name="adj2" fmla="val 330680"/>
            <a:gd name="adj3" fmla="val 14158135"/>
            <a:gd name="adj4" fmla="val 17157481"/>
            <a:gd name="adj5" fmla="val 5757"/>
          </a:avLst>
        </a:prstGeom>
        <a:solidFill>
          <a:srgbClr val="9BC348"/>
        </a:solidFill>
        <a:ln>
          <a:noFill/>
        </a:ln>
        <a:effectLst/>
      </dsp:spPr>
      <dsp:style>
        <a:lnRef idx="0">
          <a:scrgbClr r="0" g="0" b="0"/>
        </a:lnRef>
        <a:fillRef idx="1">
          <a:scrgbClr r="0" g="0" b="0"/>
        </a:fillRef>
        <a:effectRef idx="2">
          <a:scrgbClr r="0" g="0" b="0"/>
        </a:effectRef>
        <a:fontRef idx="minor"/>
      </dsp:style>
    </dsp:sp>
    <dsp:sp modelId="{4F22B4B2-C418-44C6-9FE5-A33B0B28498D}">
      <dsp:nvSpPr>
        <dsp:cNvPr id="0" name=""/>
        <dsp:cNvSpPr/>
      </dsp:nvSpPr>
      <dsp:spPr>
        <a:xfrm>
          <a:off x="2573865" y="54872"/>
          <a:ext cx="1684355" cy="655796"/>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Customer</a:t>
          </a:r>
        </a:p>
      </dsp:txBody>
      <dsp:txXfrm>
        <a:off x="2605878" y="86885"/>
        <a:ext cx="1620329" cy="591770"/>
      </dsp:txXfrm>
    </dsp:sp>
    <dsp:sp modelId="{169EC6A5-EA9F-459A-9A01-58A7CAF23285}">
      <dsp:nvSpPr>
        <dsp:cNvPr id="0" name=""/>
        <dsp:cNvSpPr/>
      </dsp:nvSpPr>
      <dsp:spPr>
        <a:xfrm>
          <a:off x="4330249" y="1330960"/>
          <a:ext cx="1684355" cy="655796"/>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ales Support</a:t>
          </a:r>
        </a:p>
        <a:p>
          <a:pPr marL="0" lvl="0" indent="0" algn="ctr" defTabSz="711200">
            <a:lnSpc>
              <a:spcPct val="90000"/>
            </a:lnSpc>
            <a:spcBef>
              <a:spcPct val="0"/>
            </a:spcBef>
            <a:spcAft>
              <a:spcPct val="35000"/>
            </a:spcAft>
            <a:buNone/>
          </a:pPr>
          <a:r>
            <a:rPr lang="en-US" sz="1200" kern="1200" dirty="0"/>
            <a:t>Sales Activity</a:t>
          </a:r>
        </a:p>
      </dsp:txBody>
      <dsp:txXfrm>
        <a:off x="4362262" y="1362973"/>
        <a:ext cx="1620329" cy="591770"/>
      </dsp:txXfrm>
    </dsp:sp>
    <dsp:sp modelId="{A4C1CC10-A8F0-40B9-A627-273B8CDB6716}">
      <dsp:nvSpPr>
        <dsp:cNvPr id="0" name=""/>
        <dsp:cNvSpPr/>
      </dsp:nvSpPr>
      <dsp:spPr>
        <a:xfrm>
          <a:off x="3370689" y="3060269"/>
          <a:ext cx="3077942" cy="1135518"/>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ales</a:t>
          </a:r>
        </a:p>
        <a:p>
          <a:pPr marL="0" lvl="0" indent="0" algn="ctr" defTabSz="711200">
            <a:lnSpc>
              <a:spcPct val="90000"/>
            </a:lnSpc>
            <a:spcBef>
              <a:spcPct val="0"/>
            </a:spcBef>
            <a:spcAft>
              <a:spcPct val="35000"/>
            </a:spcAft>
            <a:buNone/>
          </a:pPr>
          <a:r>
            <a:rPr lang="en-US" sz="1200" kern="1200" dirty="0"/>
            <a:t>Inquiry | Quotation | Sales Order</a:t>
          </a:r>
          <a:br>
            <a:rPr lang="en-US" sz="1200" kern="1200" dirty="0"/>
          </a:br>
          <a:r>
            <a:rPr lang="en-US" sz="1200" kern="1200" dirty="0"/>
            <a:t>| Delivery Free of Charge | Subsequent Delivery Free of Charge | Returns | Scheduling Agreement | Contracts</a:t>
          </a:r>
        </a:p>
      </dsp:txBody>
      <dsp:txXfrm>
        <a:off x="3426120" y="3115700"/>
        <a:ext cx="2967080" cy="1024656"/>
      </dsp:txXfrm>
    </dsp:sp>
    <dsp:sp modelId="{98652406-70D7-4502-94FC-DFB1E7E07B7B}">
      <dsp:nvSpPr>
        <dsp:cNvPr id="0" name=""/>
        <dsp:cNvSpPr/>
      </dsp:nvSpPr>
      <dsp:spPr>
        <a:xfrm>
          <a:off x="1018762" y="2934758"/>
          <a:ext cx="1684355" cy="655796"/>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Shipping</a:t>
          </a:r>
        </a:p>
        <a:p>
          <a:pPr marL="0" lvl="0" indent="0" algn="ctr" defTabSz="711200">
            <a:lnSpc>
              <a:spcPct val="90000"/>
            </a:lnSpc>
            <a:spcBef>
              <a:spcPct val="0"/>
            </a:spcBef>
            <a:spcAft>
              <a:spcPct val="35000"/>
            </a:spcAft>
            <a:buNone/>
          </a:pPr>
          <a:r>
            <a:rPr lang="en-US" sz="1200" kern="1200" dirty="0"/>
            <a:t>Delivery</a:t>
          </a:r>
        </a:p>
      </dsp:txBody>
      <dsp:txXfrm>
        <a:off x="1050775" y="2966771"/>
        <a:ext cx="1620329" cy="591770"/>
      </dsp:txXfrm>
    </dsp:sp>
    <dsp:sp modelId="{AD10501C-5BFA-4C74-B81A-38D6D4F90AB1}">
      <dsp:nvSpPr>
        <dsp:cNvPr id="0" name=""/>
        <dsp:cNvSpPr/>
      </dsp:nvSpPr>
      <dsp:spPr>
        <a:xfrm>
          <a:off x="610656" y="994763"/>
          <a:ext cx="1684355" cy="974130"/>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Billing</a:t>
          </a:r>
        </a:p>
        <a:p>
          <a:pPr marL="0" lvl="0" indent="0" algn="ctr" defTabSz="711200">
            <a:lnSpc>
              <a:spcPct val="90000"/>
            </a:lnSpc>
            <a:spcBef>
              <a:spcPct val="0"/>
            </a:spcBef>
            <a:spcAft>
              <a:spcPct val="35000"/>
            </a:spcAft>
            <a:buNone/>
          </a:pPr>
          <a:r>
            <a:rPr lang="en-US" sz="1200" kern="1200" dirty="0"/>
            <a:t>Invoice | Debit Memo | Credit Memo</a:t>
          </a:r>
        </a:p>
      </dsp:txBody>
      <dsp:txXfrm>
        <a:off x="658209" y="1042316"/>
        <a:ext cx="1589249" cy="879024"/>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2D731E9D-59F7-41CC-9BDF-87E43286629F}" type="datetimeFigureOut">
              <a:rPr lang="en-US" smtClean="0"/>
              <a:pPr/>
              <a:t>27.07.2020</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2F75A7B2-6836-4943-80DF-A986D770592F}" type="slidenum">
              <a:rPr lang="en-US" smtClean="0"/>
              <a:pPr/>
              <a:t>‹#›</a:t>
            </a:fld>
            <a:endParaRPr lang="en-US"/>
          </a:p>
        </p:txBody>
      </p:sp>
    </p:spTree>
    <p:extLst>
      <p:ext uri="{BB962C8B-B14F-4D97-AF65-F5344CB8AC3E}">
        <p14:creationId xmlns:p14="http://schemas.microsoft.com/office/powerpoint/2010/main" val="1899379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xfrm>
            <a:off x="2514600" y="857250"/>
            <a:ext cx="41148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4184349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xfrm>
            <a:off x="2514600" y="857250"/>
            <a:ext cx="41148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val="3386036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xfrm>
            <a:off x="2514600" y="857250"/>
            <a:ext cx="41148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val="1916818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4</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804484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5</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141664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6</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925233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7</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5210642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dirty="0"/>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lnSpc>
                <a:spcPct val="100000"/>
              </a:lnSpc>
              <a:spcBef>
                <a:spcPts val="900"/>
              </a:spcBef>
              <a:defRPr sz="135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3"/>
            <a:ext cx="11700000" cy="4466201"/>
          </a:xfrm>
          <a:prstGeom prst="rect">
            <a:avLst/>
          </a:prstGeom>
        </p:spPr>
        <p:txBody>
          <a:bodyPr/>
          <a:lstStyle>
            <a:lvl1pPr>
              <a:lnSpc>
                <a:spcPct val="100000"/>
              </a:lnSpc>
              <a:spcBef>
                <a:spcPts val="900"/>
              </a:spcBef>
              <a:defRPr/>
            </a:lvl1pPr>
            <a:lvl2pPr>
              <a:lnSpc>
                <a:spcPct val="100000"/>
              </a:lnSpc>
              <a:spcBef>
                <a:spcPts val="900"/>
              </a:spcBef>
              <a:defRPr/>
            </a:lvl2pPr>
            <a:lvl3pPr>
              <a:lnSpc>
                <a:spcPct val="100000"/>
              </a:lnSpc>
              <a:spcBef>
                <a:spcPts val="900"/>
              </a:spcBef>
              <a:defRPr/>
            </a:lvl3pPr>
            <a:lvl4pPr>
              <a:lnSpc>
                <a:spcPct val="100000"/>
              </a:lnSpc>
              <a:spcBef>
                <a:spcPts val="900"/>
              </a:spcBef>
              <a:defRPr/>
            </a:lvl4pPr>
            <a:lvl5pPr>
              <a:lnSpc>
                <a:spcPct val="100000"/>
              </a:lnSpc>
              <a:spcBef>
                <a:spcPts val="9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40268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lvl1pPr>
              <a:spcBef>
                <a:spcPts val="450"/>
              </a:spcBef>
              <a:defRPr sz="1200"/>
            </a:lvl1pPr>
            <a:lvl2pPr marL="332185" indent="-263129">
              <a:spcBef>
                <a:spcPts val="450"/>
              </a:spcBef>
              <a:buClr>
                <a:schemeClr val="accent2"/>
              </a:buClr>
              <a:buFont typeface="Wingdings" panose="05000000000000000000" pitchFamily="2" charset="2"/>
              <a:buChar char="q"/>
              <a:defRPr sz="1200"/>
            </a:lvl2pPr>
            <a:lvl3pPr marL="602456" indent="-270272">
              <a:spcBef>
                <a:spcPts val="450"/>
              </a:spcBef>
              <a:buClr>
                <a:schemeClr val="accent6"/>
              </a:buClr>
              <a:buFont typeface="Wingdings" panose="05000000000000000000" pitchFamily="2" charset="2"/>
              <a:buChar char="m"/>
              <a:defRPr sz="1200"/>
            </a:lvl3pPr>
            <a:lvl4pPr marL="941785" indent="-272654">
              <a:spcBef>
                <a:spcPts val="450"/>
              </a:spcBef>
              <a:buClr>
                <a:schemeClr val="accent1"/>
              </a:buClr>
              <a:buFont typeface="Wingdings" panose="05000000000000000000" pitchFamily="2" charset="2"/>
              <a:buChar char="§"/>
              <a:defRPr sz="1200"/>
            </a:lvl4pPr>
            <a:lvl5pPr marL="1212056" indent="-270272">
              <a:spcBef>
                <a:spcPts val="45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1"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09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685783">
              <a:spcBef>
                <a:spcPts val="750"/>
              </a:spcBef>
            </a:pPr>
            <a:r>
              <a:rPr lang="en-IN"/>
              <a:t>© Capgemini. All rights reserved |</a:t>
            </a:r>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340134546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50"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3"/>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1273581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 1">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848078" y="4157668"/>
            <a:ext cx="6719580" cy="1079500"/>
          </a:xfrm>
        </p:spPr>
        <p:txBody>
          <a:bodyPr anchor="b">
            <a:normAutofit/>
          </a:bodyPr>
          <a:lstStyle>
            <a:lvl1pPr algn="l">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848078" y="5381481"/>
            <a:ext cx="6719580"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16071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Lst>
          </a:blip>
          <a:srcRect b="25000"/>
          <a:stretch>
            <a:fillRect/>
          </a:stretch>
        </p:blipFill>
        <p:spPr>
          <a:xfrm>
            <a:off x="2" y="1485900"/>
            <a:ext cx="642309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864001" y="1989000"/>
            <a:ext cx="5088817" cy="369332"/>
          </a:xfrm>
          <a:prstGeom prst="rect">
            <a:avLst/>
          </a:prstGeom>
        </p:spPr>
        <p:txBody>
          <a:bodyPr wrap="square" anchor="ctr">
            <a:spAutoFit/>
          </a:bodyPr>
          <a:lstStyle>
            <a:lvl1pPr>
              <a:lnSpc>
                <a:spcPct val="100000"/>
              </a:lnSpc>
              <a:defRPr sz="1800">
                <a:solidFill>
                  <a:schemeClr val="accent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20" name="Text Placeholder 13">
            <a:extLst>
              <a:ext uri="{FF2B5EF4-FFF2-40B4-BE49-F238E27FC236}">
                <a16:creationId xmlns:a16="http://schemas.microsoft.com/office/drawing/2014/main" id="{5C674D03-4995-4743-8CE4-61CF32CFBDDE}"/>
              </a:ext>
            </a:extLst>
          </p:cNvPr>
          <p:cNvSpPr>
            <a:spLocks noGrp="1"/>
          </p:cNvSpPr>
          <p:nvPr>
            <p:ph type="body" sz="quarter" idx="19" hasCustomPrompt="1"/>
          </p:nvPr>
        </p:nvSpPr>
        <p:spPr>
          <a:xfrm>
            <a:off x="226485" y="3737985"/>
            <a:ext cx="5970131" cy="867930"/>
          </a:xfrm>
          <a:prstGeom prst="rect">
            <a:avLst/>
          </a:prstGeom>
        </p:spPr>
        <p:txBody>
          <a:bodyPr anchor="ctr">
            <a:noAutofit/>
          </a:bodyPr>
          <a:lstStyle>
            <a:lvl1pPr marL="0" indent="0" algn="l">
              <a:buNone/>
              <a:defRPr sz="2400" b="0">
                <a:solidFill>
                  <a:schemeClr val="tx1"/>
                </a:solidFill>
              </a:defRPr>
            </a:lvl1pPr>
            <a:lvl2pPr marL="457189"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528274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lvl1pPr>
              <a:spcBef>
                <a:spcPts val="600"/>
              </a:spcBef>
              <a:defRPr sz="1600"/>
            </a:lvl1pPr>
            <a:lvl2pPr marL="442913" indent="-350838">
              <a:spcBef>
                <a:spcPts val="600"/>
              </a:spcBef>
              <a:buClr>
                <a:schemeClr val="accent2"/>
              </a:buClr>
              <a:buFont typeface="Wingdings" panose="05000000000000000000" pitchFamily="2" charset="2"/>
              <a:buChar char="q"/>
              <a:defRPr sz="1600"/>
            </a:lvl2pPr>
            <a:lvl3pPr marL="803275" indent="-360363">
              <a:spcBef>
                <a:spcPts val="600"/>
              </a:spcBef>
              <a:buClr>
                <a:schemeClr val="accent6"/>
              </a:buClr>
              <a:buFont typeface="Wingdings" panose="05000000000000000000" pitchFamily="2" charset="2"/>
              <a:buChar char="m"/>
              <a:defRPr sz="1600"/>
            </a:lvl3pPr>
            <a:lvl4pPr marL="1255713" indent="-363538">
              <a:spcBef>
                <a:spcPts val="600"/>
              </a:spcBef>
              <a:buClr>
                <a:schemeClr val="accent1"/>
              </a:buClr>
              <a:buFont typeface="Wingdings" panose="05000000000000000000" pitchFamily="2" charset="2"/>
              <a:buChar char="§"/>
              <a:defRPr sz="1600"/>
            </a:lvl4pPr>
            <a:lvl5pPr marL="1616075" indent="-360363">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1"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1197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77">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614466592"/>
      </p:ext>
    </p:extLst>
  </p:cSld>
  <p:clrMapOvr>
    <a:masterClrMapping/>
  </p:clrMapOvr>
  <p:extLst>
    <p:ext uri="{DCECCB84-F9BA-43D5-87BE-67443E8EF086}">
      <p15:sldGuideLst xmlns:p15="http://schemas.microsoft.com/office/powerpoint/2012/main">
        <p15:guide id="1" orient="horz" pos="7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sz="1350"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sz="1350"/>
            </a:p>
          </p:txBody>
        </p:sp>
      </p:grpSp>
      <p:graphicFrame>
        <p:nvGraphicFramePr>
          <p:cNvPr id="9" name="Object 8"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1" y="549001"/>
            <a:ext cx="5392948" cy="2058654"/>
          </a:xfrm>
          <a:prstGeom prst="rect">
            <a:avLst/>
          </a:prstGeom>
        </p:spPr>
        <p:txBody>
          <a:bodyPr anchor="ctr">
            <a:normAutofit/>
          </a:bodyPr>
          <a:lstStyle>
            <a:lvl1pPr marL="0" indent="0">
              <a:buNone/>
              <a:defRPr sz="2700" b="1">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7"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05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2950940001"/>
      </p:ext>
    </p:extLst>
  </p:cSld>
  <p:clrMapOvr>
    <a:masterClrMapping/>
  </p:clrMapOvr>
  <p:extLst>
    <p:ext uri="{DCECCB84-F9BA-43D5-87BE-67443E8EF086}">
      <p15:sldGuideLst xmlns:p15="http://schemas.microsoft.com/office/powerpoint/2012/main">
        <p15:guide id="2" pos="34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2"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6" y="2404112"/>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4" name="Rectangle 13"/>
          <p:cNvSpPr/>
          <p:nvPr userDrawn="1"/>
        </p:nvSpPr>
        <p:spPr>
          <a:xfrm>
            <a:off x="6536185"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675"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675" kern="1200" dirty="0">
              <a:solidFill>
                <a:schemeClr val="tx1"/>
              </a:solidFill>
              <a:effectLst/>
              <a:latin typeface="+mn-lt"/>
              <a:ea typeface="+mn-ea"/>
              <a:cs typeface="+mn-cs"/>
            </a:endParaRPr>
          </a:p>
        </p:txBody>
      </p:sp>
      <p:sp>
        <p:nvSpPr>
          <p:cNvPr id="15" name="Rectangle 14"/>
          <p:cNvSpPr/>
          <p:nvPr userDrawn="1"/>
        </p:nvSpPr>
        <p:spPr>
          <a:xfrm>
            <a:off x="6536184" y="2507084"/>
            <a:ext cx="2219960" cy="17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05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675" dirty="0">
                <a:solidFill>
                  <a:schemeClr val="tx1"/>
                </a:solidFill>
              </a:rPr>
              <a:t>Learn more about us at</a:t>
            </a:r>
          </a:p>
          <a:p>
            <a:pPr algn="just">
              <a:lnSpc>
                <a:spcPts val="900"/>
              </a:lnSpc>
            </a:pP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5"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2"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1" y="3979258"/>
            <a:ext cx="333195" cy="333195"/>
          </a:xfrm>
          <a:prstGeom prst="rect">
            <a:avLst/>
          </a:prstGeom>
          <a:noFill/>
        </p:spPr>
      </p:pic>
      <p:sp>
        <p:nvSpPr>
          <p:cNvPr id="23" name="Rectangle 22"/>
          <p:cNvSpPr/>
          <p:nvPr userDrawn="1"/>
        </p:nvSpPr>
        <p:spPr>
          <a:xfrm>
            <a:off x="426720" y="5869183"/>
            <a:ext cx="4013280" cy="341119"/>
          </a:xfrm>
          <a:prstGeom prst="rect">
            <a:avLst/>
          </a:prstGeom>
        </p:spPr>
        <p:txBody>
          <a:bodyPr wrap="square" lIns="0" tIns="0" rIns="0" bIns="0" anchor="b" anchorCtr="0">
            <a:spAutoFit/>
          </a:bodyPr>
          <a:lstStyle/>
          <a:p>
            <a:pPr>
              <a:spcAft>
                <a:spcPts val="450"/>
              </a:spcAft>
            </a:pPr>
            <a:r>
              <a:rPr lang="en-US" sz="600" noProof="0" dirty="0">
                <a:solidFill>
                  <a:schemeClr val="bg1"/>
                </a:solidFill>
                <a:latin typeface="+mn-lt"/>
                <a:cs typeface="Arial"/>
              </a:rPr>
              <a:t>This presentation contains information that may be privileged or confidential and is the property of the Capgemini Group.</a:t>
            </a:r>
          </a:p>
          <a:p>
            <a:pPr>
              <a:spcAft>
                <a:spcPts val="450"/>
              </a:spcAft>
            </a:pPr>
            <a:r>
              <a:rPr lang="en-US" sz="6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3"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Rectangle 25">
            <a:hlinkClick r:id="rId13"/>
          </p:cNvPr>
          <p:cNvSpPr/>
          <p:nvPr userDrawn="1"/>
        </p:nvSpPr>
        <p:spPr>
          <a:xfrm>
            <a:off x="10730865" y="3812094"/>
            <a:ext cx="70485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123872857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2"/>
            <a:ext cx="7102051"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sz="1350"/>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sz="1350"/>
            </a:p>
          </p:txBody>
        </p:sp>
      </p:grpSp>
      <p:graphicFrame>
        <p:nvGraphicFramePr>
          <p:cNvPr id="10" name="Object 9"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9" y="1197002"/>
            <a:ext cx="4195292" cy="1902287"/>
          </a:xfrm>
          <a:prstGeom prst="rect">
            <a:avLst/>
          </a:prstGeom>
        </p:spPr>
        <p:txBody>
          <a:bodyPr>
            <a:noAutofit/>
          </a:bodyPr>
          <a:lstStyle>
            <a:lvl1pPr marL="0" indent="0">
              <a:buNone/>
              <a:defRPr sz="270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742690721"/>
      </p:ext>
    </p:extLst>
  </p:cSld>
  <p:clrMapOvr>
    <a:masterClrMapping/>
  </p:clrMapOvr>
  <p:extLst>
    <p:ext uri="{DCECCB84-F9BA-43D5-87BE-67443E8EF086}">
      <p15:sldGuideLst xmlns:p15="http://schemas.microsoft.com/office/powerpoint/2012/main">
        <p15:guide id="1" pos="37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Tree>
    <p:extLst>
      <p:ext uri="{BB962C8B-B14F-4D97-AF65-F5344CB8AC3E}">
        <p14:creationId xmlns:p14="http://schemas.microsoft.com/office/powerpoint/2010/main" val="2088047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9907251" cy="1104900"/>
          </a:xfrm>
        </p:spPr>
        <p:txBody>
          <a:bodyPr/>
          <a:lstStyle/>
          <a:p>
            <a:r>
              <a:rPr lang="en-US" dirty="0"/>
              <a:t>Click to edit Master title style</a:t>
            </a:r>
          </a:p>
        </p:txBody>
      </p:sp>
    </p:spTree>
    <p:extLst>
      <p:ext uri="{BB962C8B-B14F-4D97-AF65-F5344CB8AC3E}">
        <p14:creationId xmlns:p14="http://schemas.microsoft.com/office/powerpoint/2010/main" val="2194595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2" y="0"/>
            <a:ext cx="7651751"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black"/>
              </a:solidFill>
              <a:effectLst/>
              <a:uLnTx/>
              <a:uFillTx/>
              <a:latin typeface="Verdana"/>
              <a:ea typeface="+mn-e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2"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10" y="434517"/>
            <a:ext cx="5419268" cy="1902287"/>
          </a:xfrm>
          <a:prstGeom prst="rect">
            <a:avLst/>
          </a:prstGeom>
        </p:spPr>
        <p:txBody>
          <a:bodyPr>
            <a:noAutofit/>
          </a:bodyPr>
          <a:lstStyle>
            <a:lvl1pPr marL="0" indent="0">
              <a:buNone/>
              <a:defRPr sz="2025">
                <a:solidFill>
                  <a:schemeClr val="bg1"/>
                </a:solidFill>
              </a:defRPr>
            </a:lvl1pPr>
            <a:lvl2pPr marL="257175" indent="0">
              <a:buNone/>
              <a:defRPr sz="3375">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978670281"/>
      </p:ext>
    </p:extLst>
  </p:cSld>
  <p:clrMapOvr>
    <a:masterClrMapping/>
  </p:clrMapOvr>
  <p:extLst>
    <p:ext uri="{DCECCB84-F9BA-43D5-87BE-67443E8EF086}">
      <p15:sldGuideLst xmlns:p15="http://schemas.microsoft.com/office/powerpoint/2012/main">
        <p15:guide id="1" pos="49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8"/>
            <a:ext cx="5543551"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6" y="2010606"/>
            <a:ext cx="5516444"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6" y="1420990"/>
            <a:ext cx="5516444"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sz="1800"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947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5"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1"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30"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sz="1350"/>
            </a:p>
          </p:txBody>
        </p:sp>
      </p:grpSp>
    </p:spTree>
    <p:extLst>
      <p:ext uri="{BB962C8B-B14F-4D97-AF65-F5344CB8AC3E}">
        <p14:creationId xmlns:p14="http://schemas.microsoft.com/office/powerpoint/2010/main" val="2657540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270" imgH="270" progId="TCLayout.ActiveDocument.1">
                  <p:embed/>
                </p:oleObj>
              </mc:Choice>
              <mc:Fallback>
                <p:oleObj name="think-cell Slide" r:id="rId18" imgW="270" imgH="270" progId="TCLayout.ActiveDocument.1">
                  <p:embed/>
                  <p:pic>
                    <p:nvPicPr>
                      <p:cNvPr id="21" name="Object 2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3"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94950" y="6666052"/>
            <a:ext cx="133050" cy="92333"/>
          </a:xfrm>
          <a:prstGeom prst="rect">
            <a:avLst/>
          </a:prstGeom>
        </p:spPr>
        <p:txBody>
          <a:bodyPr wrap="none" lIns="0" tIns="0" rIns="0" bIns="0" anchor="ctr" anchorCtr="0">
            <a:spAutoFit/>
          </a:bodyPr>
          <a:lstStyle/>
          <a:p>
            <a:pPr algn="r"/>
            <a:fld id="{0502E5A9-B53C-401E-A0E0-4A359BB0A9E5}" type="slidenum">
              <a:rPr lang="en-US" sz="600" smtClean="0">
                <a:solidFill>
                  <a:schemeClr val="bg1">
                    <a:lumMod val="65000"/>
                  </a:schemeClr>
                </a:solidFill>
                <a:cs typeface="Arial" panose="020B0604020202020204" pitchFamily="34" charset="0"/>
              </a:rPr>
              <a:pPr algn="r"/>
              <a:t>‹#›</a:t>
            </a:fld>
            <a:endParaRPr lang="en-US" sz="6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5" y="6650663"/>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600" dirty="0">
                <a:solidFill>
                  <a:schemeClr val="bg1">
                    <a:lumMod val="65000"/>
                  </a:schemeClr>
                </a:solidFill>
              </a:rPr>
              <a:t>© Capgemini 2020. All rights reserved  </a:t>
            </a:r>
            <a:r>
              <a:rPr lang="en-US" sz="6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9" y="6650663"/>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00" dirty="0">
                <a:solidFill>
                  <a:schemeClr val="bg1">
                    <a:lumMod val="65000"/>
                  </a:schemeClr>
                </a:solidFill>
              </a:rPr>
              <a:t>Billing Processing</a:t>
            </a:r>
          </a:p>
        </p:txBody>
      </p:sp>
      <p:sp>
        <p:nvSpPr>
          <p:cNvPr id="9" name="Espace réservé du titre 8"/>
          <p:cNvSpPr>
            <a:spLocks noGrp="1"/>
          </p:cNvSpPr>
          <p:nvPr>
            <p:ph type="title"/>
          </p:nvPr>
        </p:nvSpPr>
        <p:spPr>
          <a:xfrm>
            <a:off x="227350" y="0"/>
            <a:ext cx="11125236" cy="720000"/>
          </a:xfrm>
          <a:prstGeom prst="rect">
            <a:avLst/>
          </a:prstGeom>
        </p:spPr>
        <p:txBody>
          <a:bodyPr vert="horz" lIns="0" tIns="180000" rIns="0" bIns="0" rtlCol="0" anchor="t">
            <a:no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85291629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4" r:id="rId12"/>
    <p:sldLayoutId id="2147483705" r:id="rId13"/>
    <p:sldLayoutId id="2147483706" r:id="rId14"/>
  </p:sldLayoutIdLst>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en-US" sz="225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200025" indent="-133350" algn="l" defTabSz="685800" rtl="0" eaLnBrk="1" latinLnBrk="0" hangingPunct="1">
        <a:lnSpc>
          <a:spcPct val="90000"/>
        </a:lnSpc>
        <a:spcBef>
          <a:spcPts val="375"/>
        </a:spcBef>
        <a:buClr>
          <a:schemeClr val="accent1"/>
        </a:buClr>
        <a:buFont typeface="Wingdings" panose="05000000000000000000" pitchFamily="2" charset="2"/>
        <a:buChar char="§"/>
        <a:defRPr sz="1350" kern="1200">
          <a:solidFill>
            <a:schemeClr val="tx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05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10008" userDrawn="1">
          <p15:clr>
            <a:srgbClr val="F26B43"/>
          </p15:clr>
        </p15:guide>
        <p15:guide id="3" orient="horz" pos="4110" userDrawn="1">
          <p15:clr>
            <a:srgbClr val="F26B43"/>
          </p15:clr>
        </p15:guide>
        <p15:guide id="4" pos="191" userDrawn="1">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9.png"/><Relationship Id="rId1" Type="http://schemas.openxmlformats.org/officeDocument/2006/relationships/slideLayout" Target="../slideLayouts/slideLayout1.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FA19E87-79B0-4C63-A67E-1E20CE183392}"/>
              </a:ext>
            </a:extLst>
          </p:cNvPr>
          <p:cNvSpPr>
            <a:spLocks noGrp="1"/>
          </p:cNvSpPr>
          <p:nvPr>
            <p:ph type="body" sz="quarter" idx="11"/>
          </p:nvPr>
        </p:nvSpPr>
        <p:spPr/>
        <p:txBody>
          <a:bodyPr/>
          <a:lstStyle/>
          <a:p>
            <a:r>
              <a:rPr lang="en-US" dirty="0"/>
              <a:t>Billing Processing</a:t>
            </a:r>
          </a:p>
          <a:p>
            <a:endParaRPr lang="en-US" dirty="0"/>
          </a:p>
        </p:txBody>
      </p:sp>
      <p:sp>
        <p:nvSpPr>
          <p:cNvPr id="2" name="Subtitle 1">
            <a:extLst>
              <a:ext uri="{FF2B5EF4-FFF2-40B4-BE49-F238E27FC236}">
                <a16:creationId xmlns:a16="http://schemas.microsoft.com/office/drawing/2014/main" id="{CC2BFC39-161D-4226-AA54-618B9242824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36108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bject 29"/>
          <p:cNvSpPr/>
          <p:nvPr/>
        </p:nvSpPr>
        <p:spPr>
          <a:xfrm>
            <a:off x="7423150" y="4313605"/>
            <a:ext cx="716800" cy="512394"/>
          </a:xfrm>
          <a:custGeom>
            <a:avLst/>
            <a:gdLst/>
            <a:ahLst/>
            <a:cxnLst/>
            <a:rect l="l" t="t" r="r" b="b"/>
            <a:pathLst>
              <a:path w="716800" h="512394">
                <a:moveTo>
                  <a:pt x="0" y="512394"/>
                </a:moveTo>
                <a:lnTo>
                  <a:pt x="716800" y="512394"/>
                </a:lnTo>
                <a:lnTo>
                  <a:pt x="716800" y="0"/>
                </a:lnTo>
                <a:lnTo>
                  <a:pt x="0" y="0"/>
                </a:lnTo>
                <a:lnTo>
                  <a:pt x="0" y="512394"/>
                </a:lnTo>
                <a:close/>
              </a:path>
            </a:pathLst>
          </a:custGeom>
          <a:solidFill>
            <a:srgbClr val="FCE2B9"/>
          </a:solidFill>
        </p:spPr>
        <p:txBody>
          <a:bodyPr wrap="square" lIns="0" tIns="0" rIns="0" bIns="0" rtlCol="0">
            <a:noAutofit/>
          </a:bodyPr>
          <a:lstStyle/>
          <a:p>
            <a:endParaRPr/>
          </a:p>
        </p:txBody>
      </p:sp>
      <p:sp>
        <p:nvSpPr>
          <p:cNvPr id="30" name="object 30"/>
          <p:cNvSpPr/>
          <p:nvPr/>
        </p:nvSpPr>
        <p:spPr>
          <a:xfrm>
            <a:off x="7423150" y="4313605"/>
            <a:ext cx="716800" cy="512394"/>
          </a:xfrm>
          <a:custGeom>
            <a:avLst/>
            <a:gdLst/>
            <a:ahLst/>
            <a:cxnLst/>
            <a:rect l="l" t="t" r="r" b="b"/>
            <a:pathLst>
              <a:path w="716800" h="512394">
                <a:moveTo>
                  <a:pt x="0" y="512394"/>
                </a:moveTo>
                <a:lnTo>
                  <a:pt x="716800" y="512394"/>
                </a:lnTo>
                <a:lnTo>
                  <a:pt x="716800" y="0"/>
                </a:lnTo>
                <a:lnTo>
                  <a:pt x="0" y="0"/>
                </a:lnTo>
                <a:lnTo>
                  <a:pt x="0" y="512394"/>
                </a:lnTo>
                <a:close/>
              </a:path>
            </a:pathLst>
          </a:custGeom>
          <a:ln w="12700">
            <a:solidFill>
              <a:srgbClr val="000000"/>
            </a:solidFill>
          </a:ln>
        </p:spPr>
        <p:txBody>
          <a:bodyPr wrap="square" lIns="0" tIns="0" rIns="0" bIns="0" rtlCol="0">
            <a:noAutofit/>
          </a:bodyPr>
          <a:lstStyle/>
          <a:p>
            <a:endParaRPr/>
          </a:p>
        </p:txBody>
      </p:sp>
      <p:sp>
        <p:nvSpPr>
          <p:cNvPr id="31" name="object 31"/>
          <p:cNvSpPr/>
          <p:nvPr/>
        </p:nvSpPr>
        <p:spPr>
          <a:xfrm>
            <a:off x="7945248" y="4313556"/>
            <a:ext cx="194691" cy="93599"/>
          </a:xfrm>
          <a:custGeom>
            <a:avLst/>
            <a:gdLst/>
            <a:ahLst/>
            <a:cxnLst/>
            <a:rect l="l" t="t" r="r" b="b"/>
            <a:pathLst>
              <a:path w="194691" h="93599">
                <a:moveTo>
                  <a:pt x="0" y="0"/>
                </a:moveTo>
                <a:lnTo>
                  <a:pt x="18574" y="426"/>
                </a:lnTo>
                <a:lnTo>
                  <a:pt x="36657" y="1681"/>
                </a:lnTo>
                <a:lnTo>
                  <a:pt x="54170" y="3725"/>
                </a:lnTo>
                <a:lnTo>
                  <a:pt x="71032" y="6519"/>
                </a:lnTo>
                <a:lnTo>
                  <a:pt x="87164" y="10024"/>
                </a:lnTo>
                <a:lnTo>
                  <a:pt x="102485" y="14203"/>
                </a:lnTo>
                <a:lnTo>
                  <a:pt x="116916" y="19016"/>
                </a:lnTo>
                <a:lnTo>
                  <a:pt x="130377" y="24424"/>
                </a:lnTo>
                <a:lnTo>
                  <a:pt x="142788" y="30389"/>
                </a:lnTo>
                <a:lnTo>
                  <a:pt x="154069" y="36872"/>
                </a:lnTo>
                <a:lnTo>
                  <a:pt x="164141" y="43835"/>
                </a:lnTo>
                <a:lnTo>
                  <a:pt x="172922" y="51239"/>
                </a:lnTo>
                <a:lnTo>
                  <a:pt x="180334" y="59044"/>
                </a:lnTo>
                <a:lnTo>
                  <a:pt x="186297" y="67213"/>
                </a:lnTo>
                <a:lnTo>
                  <a:pt x="190730" y="75706"/>
                </a:lnTo>
                <a:lnTo>
                  <a:pt x="193553" y="84485"/>
                </a:lnTo>
                <a:lnTo>
                  <a:pt x="194691" y="93599"/>
                </a:lnTo>
              </a:path>
            </a:pathLst>
          </a:custGeom>
          <a:ln w="12700">
            <a:solidFill>
              <a:srgbClr val="000000"/>
            </a:solidFill>
          </a:ln>
        </p:spPr>
        <p:txBody>
          <a:bodyPr wrap="square" lIns="0" tIns="0" rIns="0" bIns="0" rtlCol="0">
            <a:noAutofit/>
          </a:bodyPr>
          <a:lstStyle/>
          <a:p>
            <a:endParaRPr/>
          </a:p>
        </p:txBody>
      </p:sp>
      <p:sp>
        <p:nvSpPr>
          <p:cNvPr id="32" name="object 32"/>
          <p:cNvSpPr/>
          <p:nvPr/>
        </p:nvSpPr>
        <p:spPr>
          <a:xfrm>
            <a:off x="7988572" y="4323208"/>
            <a:ext cx="24493" cy="89535"/>
          </a:xfrm>
          <a:custGeom>
            <a:avLst/>
            <a:gdLst/>
            <a:ahLst/>
            <a:cxnLst/>
            <a:rect l="l" t="t" r="r" b="b"/>
            <a:pathLst>
              <a:path w="24493" h="89535">
                <a:moveTo>
                  <a:pt x="3030" y="89535"/>
                </a:moveTo>
                <a:lnTo>
                  <a:pt x="648" y="72418"/>
                </a:lnTo>
                <a:lnTo>
                  <a:pt x="0" y="56214"/>
                </a:lnTo>
                <a:lnTo>
                  <a:pt x="990" y="41303"/>
                </a:lnTo>
                <a:lnTo>
                  <a:pt x="3525" y="28066"/>
                </a:lnTo>
                <a:lnTo>
                  <a:pt x="7510" y="16883"/>
                </a:lnTo>
                <a:lnTo>
                  <a:pt x="12849" y="8134"/>
                </a:lnTo>
                <a:lnTo>
                  <a:pt x="19448" y="2201"/>
                </a:lnTo>
                <a:lnTo>
                  <a:pt x="24493" y="0"/>
                </a:lnTo>
              </a:path>
            </a:pathLst>
          </a:custGeom>
          <a:ln w="12700">
            <a:solidFill>
              <a:srgbClr val="000000"/>
            </a:solidFill>
          </a:ln>
        </p:spPr>
        <p:txBody>
          <a:bodyPr wrap="square" lIns="0" tIns="0" rIns="0" bIns="0" rtlCol="0">
            <a:noAutofit/>
          </a:bodyPr>
          <a:lstStyle/>
          <a:p>
            <a:endParaRPr/>
          </a:p>
        </p:txBody>
      </p:sp>
      <p:sp>
        <p:nvSpPr>
          <p:cNvPr id="33" name="object 33"/>
          <p:cNvSpPr/>
          <p:nvPr/>
        </p:nvSpPr>
        <p:spPr>
          <a:xfrm>
            <a:off x="8004683" y="4380153"/>
            <a:ext cx="128142" cy="28525"/>
          </a:xfrm>
          <a:custGeom>
            <a:avLst/>
            <a:gdLst/>
            <a:ahLst/>
            <a:cxnLst/>
            <a:rect l="l" t="t" r="r" b="b"/>
            <a:pathLst>
              <a:path w="128142" h="28525">
                <a:moveTo>
                  <a:pt x="0" y="28525"/>
                </a:moveTo>
                <a:lnTo>
                  <a:pt x="11763" y="19965"/>
                </a:lnTo>
                <a:lnTo>
                  <a:pt x="23950" y="12917"/>
                </a:lnTo>
                <a:lnTo>
                  <a:pt x="36388" y="7390"/>
                </a:lnTo>
                <a:lnTo>
                  <a:pt x="48904" y="3391"/>
                </a:lnTo>
                <a:lnTo>
                  <a:pt x="61327" y="925"/>
                </a:lnTo>
                <a:lnTo>
                  <a:pt x="73485" y="0"/>
                </a:lnTo>
                <a:lnTo>
                  <a:pt x="85204" y="622"/>
                </a:lnTo>
                <a:lnTo>
                  <a:pt x="96313" y="2800"/>
                </a:lnTo>
                <a:lnTo>
                  <a:pt x="106639" y="6539"/>
                </a:lnTo>
                <a:lnTo>
                  <a:pt x="116010" y="11848"/>
                </a:lnTo>
                <a:lnTo>
                  <a:pt x="124255" y="18731"/>
                </a:lnTo>
                <a:lnTo>
                  <a:pt x="128142" y="23064"/>
                </a:lnTo>
              </a:path>
            </a:pathLst>
          </a:custGeom>
          <a:ln w="12700">
            <a:solidFill>
              <a:srgbClr val="000000"/>
            </a:solidFill>
          </a:ln>
        </p:spPr>
        <p:txBody>
          <a:bodyPr wrap="square" lIns="0" tIns="0" rIns="0" bIns="0" rtlCol="0">
            <a:noAutofit/>
          </a:bodyPr>
          <a:lstStyle/>
          <a:p>
            <a:endParaRPr/>
          </a:p>
        </p:txBody>
      </p:sp>
      <p:sp>
        <p:nvSpPr>
          <p:cNvPr id="34" name="object 34"/>
          <p:cNvSpPr/>
          <p:nvPr/>
        </p:nvSpPr>
        <p:spPr>
          <a:xfrm>
            <a:off x="7423150" y="3743375"/>
            <a:ext cx="716800" cy="512394"/>
          </a:xfrm>
          <a:custGeom>
            <a:avLst/>
            <a:gdLst/>
            <a:ahLst/>
            <a:cxnLst/>
            <a:rect l="l" t="t" r="r" b="b"/>
            <a:pathLst>
              <a:path w="716800" h="512394">
                <a:moveTo>
                  <a:pt x="0" y="512394"/>
                </a:moveTo>
                <a:lnTo>
                  <a:pt x="716800" y="512394"/>
                </a:lnTo>
                <a:lnTo>
                  <a:pt x="716800" y="0"/>
                </a:lnTo>
                <a:lnTo>
                  <a:pt x="0" y="0"/>
                </a:lnTo>
                <a:lnTo>
                  <a:pt x="0" y="512394"/>
                </a:lnTo>
                <a:close/>
              </a:path>
            </a:pathLst>
          </a:custGeom>
          <a:solidFill>
            <a:srgbClr val="FCE2B9"/>
          </a:solidFill>
        </p:spPr>
        <p:txBody>
          <a:bodyPr wrap="square" lIns="0" tIns="0" rIns="0" bIns="0" rtlCol="0">
            <a:noAutofit/>
          </a:bodyPr>
          <a:lstStyle/>
          <a:p>
            <a:endParaRPr/>
          </a:p>
        </p:txBody>
      </p:sp>
      <p:sp>
        <p:nvSpPr>
          <p:cNvPr id="35" name="object 35"/>
          <p:cNvSpPr/>
          <p:nvPr/>
        </p:nvSpPr>
        <p:spPr>
          <a:xfrm>
            <a:off x="7423150" y="3743375"/>
            <a:ext cx="716800" cy="512394"/>
          </a:xfrm>
          <a:custGeom>
            <a:avLst/>
            <a:gdLst/>
            <a:ahLst/>
            <a:cxnLst/>
            <a:rect l="l" t="t" r="r" b="b"/>
            <a:pathLst>
              <a:path w="716800" h="512394">
                <a:moveTo>
                  <a:pt x="0" y="512394"/>
                </a:moveTo>
                <a:lnTo>
                  <a:pt x="716800" y="512394"/>
                </a:lnTo>
                <a:lnTo>
                  <a:pt x="716800" y="0"/>
                </a:lnTo>
                <a:lnTo>
                  <a:pt x="0" y="0"/>
                </a:lnTo>
                <a:lnTo>
                  <a:pt x="0" y="512394"/>
                </a:lnTo>
                <a:close/>
              </a:path>
            </a:pathLst>
          </a:custGeom>
          <a:ln w="12700">
            <a:solidFill>
              <a:srgbClr val="000000"/>
            </a:solidFill>
          </a:ln>
        </p:spPr>
        <p:txBody>
          <a:bodyPr wrap="square" lIns="0" tIns="0" rIns="0" bIns="0" rtlCol="0">
            <a:noAutofit/>
          </a:bodyPr>
          <a:lstStyle/>
          <a:p>
            <a:endParaRPr/>
          </a:p>
        </p:txBody>
      </p:sp>
      <p:sp>
        <p:nvSpPr>
          <p:cNvPr id="36" name="object 36"/>
          <p:cNvSpPr/>
          <p:nvPr/>
        </p:nvSpPr>
        <p:spPr>
          <a:xfrm>
            <a:off x="7945248" y="3743326"/>
            <a:ext cx="194691" cy="93599"/>
          </a:xfrm>
          <a:custGeom>
            <a:avLst/>
            <a:gdLst/>
            <a:ahLst/>
            <a:cxnLst/>
            <a:rect l="l" t="t" r="r" b="b"/>
            <a:pathLst>
              <a:path w="194691" h="93599">
                <a:moveTo>
                  <a:pt x="0" y="0"/>
                </a:moveTo>
                <a:lnTo>
                  <a:pt x="18574" y="425"/>
                </a:lnTo>
                <a:lnTo>
                  <a:pt x="36657" y="1676"/>
                </a:lnTo>
                <a:lnTo>
                  <a:pt x="54170" y="3715"/>
                </a:lnTo>
                <a:lnTo>
                  <a:pt x="71032" y="6502"/>
                </a:lnTo>
                <a:lnTo>
                  <a:pt x="87164" y="10001"/>
                </a:lnTo>
                <a:lnTo>
                  <a:pt x="102485" y="14172"/>
                </a:lnTo>
                <a:lnTo>
                  <a:pt x="116916" y="18978"/>
                </a:lnTo>
                <a:lnTo>
                  <a:pt x="130377" y="24379"/>
                </a:lnTo>
                <a:lnTo>
                  <a:pt x="142788" y="30339"/>
                </a:lnTo>
                <a:lnTo>
                  <a:pt x="154069" y="36818"/>
                </a:lnTo>
                <a:lnTo>
                  <a:pt x="164141" y="43779"/>
                </a:lnTo>
                <a:lnTo>
                  <a:pt x="172922" y="51183"/>
                </a:lnTo>
                <a:lnTo>
                  <a:pt x="180334" y="58991"/>
                </a:lnTo>
                <a:lnTo>
                  <a:pt x="186297" y="67167"/>
                </a:lnTo>
                <a:lnTo>
                  <a:pt x="190730" y="75671"/>
                </a:lnTo>
                <a:lnTo>
                  <a:pt x="193553" y="84465"/>
                </a:lnTo>
                <a:lnTo>
                  <a:pt x="194691" y="93599"/>
                </a:lnTo>
              </a:path>
            </a:pathLst>
          </a:custGeom>
          <a:ln w="12700">
            <a:solidFill>
              <a:srgbClr val="000000"/>
            </a:solidFill>
          </a:ln>
        </p:spPr>
        <p:txBody>
          <a:bodyPr wrap="square" lIns="0" tIns="0" rIns="0" bIns="0" rtlCol="0">
            <a:noAutofit/>
          </a:bodyPr>
          <a:lstStyle/>
          <a:p>
            <a:endParaRPr/>
          </a:p>
        </p:txBody>
      </p:sp>
      <p:sp>
        <p:nvSpPr>
          <p:cNvPr id="37" name="object 37"/>
          <p:cNvSpPr/>
          <p:nvPr/>
        </p:nvSpPr>
        <p:spPr>
          <a:xfrm>
            <a:off x="7988572" y="3752977"/>
            <a:ext cx="24492" cy="89408"/>
          </a:xfrm>
          <a:custGeom>
            <a:avLst/>
            <a:gdLst/>
            <a:ahLst/>
            <a:cxnLst/>
            <a:rect l="l" t="t" r="r" b="b"/>
            <a:pathLst>
              <a:path w="24492" h="89408">
                <a:moveTo>
                  <a:pt x="3029" y="89408"/>
                </a:moveTo>
                <a:lnTo>
                  <a:pt x="645" y="72277"/>
                </a:lnTo>
                <a:lnTo>
                  <a:pt x="0" y="56071"/>
                </a:lnTo>
                <a:lnTo>
                  <a:pt x="996" y="41169"/>
                </a:lnTo>
                <a:lnTo>
                  <a:pt x="3540" y="27948"/>
                </a:lnTo>
                <a:lnTo>
                  <a:pt x="7537" y="16787"/>
                </a:lnTo>
                <a:lnTo>
                  <a:pt x="12891" y="8066"/>
                </a:lnTo>
                <a:lnTo>
                  <a:pt x="19508" y="2161"/>
                </a:lnTo>
                <a:lnTo>
                  <a:pt x="24492" y="0"/>
                </a:lnTo>
              </a:path>
            </a:pathLst>
          </a:custGeom>
          <a:ln w="12700">
            <a:solidFill>
              <a:srgbClr val="000000"/>
            </a:solidFill>
          </a:ln>
        </p:spPr>
        <p:txBody>
          <a:bodyPr wrap="square" lIns="0" tIns="0" rIns="0" bIns="0" rtlCol="0">
            <a:noAutofit/>
          </a:bodyPr>
          <a:lstStyle/>
          <a:p>
            <a:endParaRPr/>
          </a:p>
        </p:txBody>
      </p:sp>
      <p:sp>
        <p:nvSpPr>
          <p:cNvPr id="38" name="object 38"/>
          <p:cNvSpPr/>
          <p:nvPr/>
        </p:nvSpPr>
        <p:spPr>
          <a:xfrm>
            <a:off x="8004684" y="3809907"/>
            <a:ext cx="127381" cy="28541"/>
          </a:xfrm>
          <a:custGeom>
            <a:avLst/>
            <a:gdLst/>
            <a:ahLst/>
            <a:cxnLst/>
            <a:rect l="l" t="t" r="r" b="b"/>
            <a:pathLst>
              <a:path w="127381" h="28541">
                <a:moveTo>
                  <a:pt x="0" y="28541"/>
                </a:moveTo>
                <a:lnTo>
                  <a:pt x="11721" y="20001"/>
                </a:lnTo>
                <a:lnTo>
                  <a:pt x="23865" y="12964"/>
                </a:lnTo>
                <a:lnTo>
                  <a:pt x="36262" y="7438"/>
                </a:lnTo>
                <a:lnTo>
                  <a:pt x="48742" y="3430"/>
                </a:lnTo>
                <a:lnTo>
                  <a:pt x="61134" y="948"/>
                </a:lnTo>
                <a:lnTo>
                  <a:pt x="73267" y="0"/>
                </a:lnTo>
                <a:lnTo>
                  <a:pt x="84973" y="592"/>
                </a:lnTo>
                <a:lnTo>
                  <a:pt x="96079" y="2733"/>
                </a:lnTo>
                <a:lnTo>
                  <a:pt x="106416" y="6431"/>
                </a:lnTo>
                <a:lnTo>
                  <a:pt x="115814" y="11693"/>
                </a:lnTo>
                <a:lnTo>
                  <a:pt x="124102" y="18526"/>
                </a:lnTo>
                <a:lnTo>
                  <a:pt x="127381" y="22064"/>
                </a:lnTo>
              </a:path>
            </a:pathLst>
          </a:custGeom>
          <a:ln w="12700">
            <a:solidFill>
              <a:srgbClr val="000000"/>
            </a:solidFill>
          </a:ln>
        </p:spPr>
        <p:txBody>
          <a:bodyPr wrap="square" lIns="0" tIns="0" rIns="0" bIns="0" rtlCol="0">
            <a:noAutofit/>
          </a:bodyPr>
          <a:lstStyle/>
          <a:p>
            <a:endParaRPr/>
          </a:p>
        </p:txBody>
      </p:sp>
      <p:sp>
        <p:nvSpPr>
          <p:cNvPr id="39" name="object 39"/>
          <p:cNvSpPr/>
          <p:nvPr/>
        </p:nvSpPr>
        <p:spPr>
          <a:xfrm>
            <a:off x="6862700" y="4210940"/>
            <a:ext cx="540765" cy="392175"/>
          </a:xfrm>
          <a:custGeom>
            <a:avLst/>
            <a:gdLst/>
            <a:ahLst/>
            <a:cxnLst/>
            <a:rect l="l" t="t" r="r" b="b"/>
            <a:pathLst>
              <a:path w="540765" h="392175">
                <a:moveTo>
                  <a:pt x="471424" y="358140"/>
                </a:moveTo>
                <a:lnTo>
                  <a:pt x="540765" y="392175"/>
                </a:lnTo>
                <a:lnTo>
                  <a:pt x="486155" y="337438"/>
                </a:lnTo>
                <a:lnTo>
                  <a:pt x="478789" y="347725"/>
                </a:lnTo>
                <a:lnTo>
                  <a:pt x="471424" y="358140"/>
                </a:lnTo>
                <a:close/>
              </a:path>
              <a:path w="540765" h="392175">
                <a:moveTo>
                  <a:pt x="540765" y="392175"/>
                </a:moveTo>
                <a:lnTo>
                  <a:pt x="459613" y="287274"/>
                </a:lnTo>
                <a:lnTo>
                  <a:pt x="472404" y="327595"/>
                </a:lnTo>
                <a:lnTo>
                  <a:pt x="14731" y="0"/>
                </a:lnTo>
                <a:lnTo>
                  <a:pt x="0" y="20574"/>
                </a:lnTo>
                <a:lnTo>
                  <a:pt x="457533" y="348193"/>
                </a:lnTo>
                <a:lnTo>
                  <a:pt x="415289" y="349123"/>
                </a:lnTo>
                <a:lnTo>
                  <a:pt x="540765" y="392175"/>
                </a:lnTo>
                <a:lnTo>
                  <a:pt x="471424" y="358140"/>
                </a:lnTo>
                <a:lnTo>
                  <a:pt x="478789" y="347725"/>
                </a:lnTo>
                <a:lnTo>
                  <a:pt x="486155" y="337438"/>
                </a:lnTo>
                <a:lnTo>
                  <a:pt x="540765" y="392175"/>
                </a:lnTo>
                <a:close/>
              </a:path>
            </a:pathLst>
          </a:custGeom>
          <a:solidFill>
            <a:srgbClr val="000000"/>
          </a:solidFill>
        </p:spPr>
        <p:txBody>
          <a:bodyPr wrap="square" lIns="0" tIns="0" rIns="0" bIns="0" rtlCol="0">
            <a:noAutofit/>
          </a:bodyPr>
          <a:lstStyle/>
          <a:p>
            <a:endParaRPr/>
          </a:p>
        </p:txBody>
      </p:sp>
      <p:sp>
        <p:nvSpPr>
          <p:cNvPr id="40" name="object 40"/>
          <p:cNvSpPr/>
          <p:nvPr/>
        </p:nvSpPr>
        <p:spPr>
          <a:xfrm>
            <a:off x="6885179" y="3974847"/>
            <a:ext cx="518287" cy="385953"/>
          </a:xfrm>
          <a:custGeom>
            <a:avLst/>
            <a:gdLst/>
            <a:ahLst/>
            <a:cxnLst/>
            <a:rect l="l" t="t" r="r" b="b"/>
            <a:pathLst>
              <a:path w="518287" h="385952">
                <a:moveTo>
                  <a:pt x="0" y="365505"/>
                </a:moveTo>
                <a:lnTo>
                  <a:pt x="14986" y="385952"/>
                </a:lnTo>
                <a:lnTo>
                  <a:pt x="450718" y="65464"/>
                </a:lnTo>
                <a:lnTo>
                  <a:pt x="464438" y="55371"/>
                </a:lnTo>
                <a:lnTo>
                  <a:pt x="518287" y="0"/>
                </a:lnTo>
                <a:lnTo>
                  <a:pt x="393319" y="44576"/>
                </a:lnTo>
                <a:lnTo>
                  <a:pt x="449325" y="34924"/>
                </a:lnTo>
                <a:lnTo>
                  <a:pt x="456819" y="45211"/>
                </a:lnTo>
                <a:lnTo>
                  <a:pt x="435631" y="45000"/>
                </a:lnTo>
                <a:lnTo>
                  <a:pt x="0" y="365505"/>
                </a:lnTo>
                <a:close/>
              </a:path>
              <a:path w="518287" h="385952">
                <a:moveTo>
                  <a:pt x="449325" y="34924"/>
                </a:moveTo>
                <a:lnTo>
                  <a:pt x="393319" y="44576"/>
                </a:lnTo>
                <a:lnTo>
                  <a:pt x="435631" y="45000"/>
                </a:lnTo>
                <a:lnTo>
                  <a:pt x="456819" y="45211"/>
                </a:lnTo>
                <a:lnTo>
                  <a:pt x="449325" y="34924"/>
                </a:lnTo>
                <a:close/>
              </a:path>
              <a:path w="518287" h="385952">
                <a:moveTo>
                  <a:pt x="464438" y="55371"/>
                </a:moveTo>
                <a:lnTo>
                  <a:pt x="450718" y="65464"/>
                </a:lnTo>
                <a:lnTo>
                  <a:pt x="438531" y="105917"/>
                </a:lnTo>
                <a:lnTo>
                  <a:pt x="518287" y="0"/>
                </a:lnTo>
                <a:lnTo>
                  <a:pt x="464438" y="55371"/>
                </a:lnTo>
                <a:close/>
              </a:path>
            </a:pathLst>
          </a:custGeom>
          <a:solidFill>
            <a:srgbClr val="000000"/>
          </a:solidFill>
        </p:spPr>
        <p:txBody>
          <a:bodyPr wrap="square" lIns="0" tIns="0" rIns="0" bIns="0" rtlCol="0">
            <a:noAutofit/>
          </a:bodyPr>
          <a:lstStyle/>
          <a:p>
            <a:endParaRPr/>
          </a:p>
        </p:txBody>
      </p:sp>
      <p:sp>
        <p:nvSpPr>
          <p:cNvPr id="41" name="object 41"/>
          <p:cNvSpPr/>
          <p:nvPr/>
        </p:nvSpPr>
        <p:spPr>
          <a:xfrm>
            <a:off x="5729987" y="4341495"/>
            <a:ext cx="586993" cy="50800"/>
          </a:xfrm>
          <a:custGeom>
            <a:avLst/>
            <a:gdLst/>
            <a:ahLst/>
            <a:cxnLst/>
            <a:rect l="l" t="t" r="r" b="b"/>
            <a:pathLst>
              <a:path w="586993" h="50800">
                <a:moveTo>
                  <a:pt x="510793" y="12699"/>
                </a:moveTo>
                <a:lnTo>
                  <a:pt x="510793" y="25399"/>
                </a:lnTo>
                <a:lnTo>
                  <a:pt x="586993" y="12699"/>
                </a:lnTo>
                <a:lnTo>
                  <a:pt x="510793" y="0"/>
                </a:lnTo>
                <a:lnTo>
                  <a:pt x="510793" y="12699"/>
                </a:lnTo>
                <a:close/>
              </a:path>
              <a:path w="586993" h="50800">
                <a:moveTo>
                  <a:pt x="586993" y="12699"/>
                </a:moveTo>
                <a:lnTo>
                  <a:pt x="459993" y="-25400"/>
                </a:lnTo>
                <a:lnTo>
                  <a:pt x="493860" y="0"/>
                </a:lnTo>
                <a:lnTo>
                  <a:pt x="0" y="0"/>
                </a:lnTo>
                <a:lnTo>
                  <a:pt x="0" y="25399"/>
                </a:lnTo>
                <a:lnTo>
                  <a:pt x="493860" y="25399"/>
                </a:lnTo>
                <a:lnTo>
                  <a:pt x="459993" y="50799"/>
                </a:lnTo>
                <a:lnTo>
                  <a:pt x="586993" y="12699"/>
                </a:lnTo>
                <a:lnTo>
                  <a:pt x="510793" y="25399"/>
                </a:lnTo>
                <a:lnTo>
                  <a:pt x="510793" y="0"/>
                </a:lnTo>
                <a:lnTo>
                  <a:pt x="586993" y="12699"/>
                </a:lnTo>
                <a:close/>
              </a:path>
            </a:pathLst>
          </a:custGeom>
          <a:solidFill>
            <a:srgbClr val="000000"/>
          </a:solidFill>
        </p:spPr>
        <p:txBody>
          <a:bodyPr wrap="square" lIns="0" tIns="0" rIns="0" bIns="0" rtlCol="0">
            <a:noAutofit/>
          </a:bodyPr>
          <a:lstStyle/>
          <a:p>
            <a:endParaRPr/>
          </a:p>
        </p:txBody>
      </p:sp>
      <p:sp>
        <p:nvSpPr>
          <p:cNvPr id="42" name="object 42"/>
          <p:cNvSpPr/>
          <p:nvPr/>
        </p:nvSpPr>
        <p:spPr>
          <a:xfrm>
            <a:off x="5171186" y="4034040"/>
            <a:ext cx="716800" cy="511162"/>
          </a:xfrm>
          <a:custGeom>
            <a:avLst/>
            <a:gdLst/>
            <a:ahLst/>
            <a:cxnLst/>
            <a:rect l="l" t="t" r="r" b="b"/>
            <a:pathLst>
              <a:path w="716800" h="511162">
                <a:moveTo>
                  <a:pt x="0" y="511162"/>
                </a:moveTo>
                <a:lnTo>
                  <a:pt x="716800" y="511162"/>
                </a:lnTo>
                <a:lnTo>
                  <a:pt x="716800" y="0"/>
                </a:lnTo>
                <a:lnTo>
                  <a:pt x="0" y="0"/>
                </a:lnTo>
                <a:lnTo>
                  <a:pt x="0" y="511162"/>
                </a:lnTo>
                <a:close/>
              </a:path>
            </a:pathLst>
          </a:custGeom>
          <a:solidFill>
            <a:srgbClr val="FCE2B9"/>
          </a:solidFill>
        </p:spPr>
        <p:txBody>
          <a:bodyPr wrap="square" lIns="0" tIns="0" rIns="0" bIns="0" rtlCol="0">
            <a:noAutofit/>
          </a:bodyPr>
          <a:lstStyle/>
          <a:p>
            <a:endParaRPr/>
          </a:p>
        </p:txBody>
      </p:sp>
      <p:sp>
        <p:nvSpPr>
          <p:cNvPr id="43" name="object 43"/>
          <p:cNvSpPr/>
          <p:nvPr/>
        </p:nvSpPr>
        <p:spPr>
          <a:xfrm>
            <a:off x="5171186" y="4034040"/>
            <a:ext cx="716800" cy="511162"/>
          </a:xfrm>
          <a:custGeom>
            <a:avLst/>
            <a:gdLst/>
            <a:ahLst/>
            <a:cxnLst/>
            <a:rect l="l" t="t" r="r" b="b"/>
            <a:pathLst>
              <a:path w="716800" h="511162">
                <a:moveTo>
                  <a:pt x="0" y="511162"/>
                </a:moveTo>
                <a:lnTo>
                  <a:pt x="716800" y="511162"/>
                </a:lnTo>
                <a:lnTo>
                  <a:pt x="716800" y="0"/>
                </a:lnTo>
                <a:lnTo>
                  <a:pt x="0" y="0"/>
                </a:lnTo>
                <a:lnTo>
                  <a:pt x="0" y="511162"/>
                </a:lnTo>
                <a:close/>
              </a:path>
            </a:pathLst>
          </a:custGeom>
          <a:ln w="12700">
            <a:solidFill>
              <a:srgbClr val="000000"/>
            </a:solidFill>
          </a:ln>
        </p:spPr>
        <p:txBody>
          <a:bodyPr wrap="square" lIns="0" tIns="0" rIns="0" bIns="0" rtlCol="0">
            <a:noAutofit/>
          </a:bodyPr>
          <a:lstStyle/>
          <a:p>
            <a:endParaRPr/>
          </a:p>
        </p:txBody>
      </p:sp>
      <p:sp>
        <p:nvSpPr>
          <p:cNvPr id="44" name="object 44"/>
          <p:cNvSpPr/>
          <p:nvPr/>
        </p:nvSpPr>
        <p:spPr>
          <a:xfrm>
            <a:off x="5693283" y="4034029"/>
            <a:ext cx="194690" cy="93599"/>
          </a:xfrm>
          <a:custGeom>
            <a:avLst/>
            <a:gdLst/>
            <a:ahLst/>
            <a:cxnLst/>
            <a:rect l="l" t="t" r="r" b="b"/>
            <a:pathLst>
              <a:path w="194690"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0" y="93599"/>
                </a:lnTo>
              </a:path>
            </a:pathLst>
          </a:custGeom>
          <a:ln w="12700">
            <a:solidFill>
              <a:srgbClr val="000000"/>
            </a:solidFill>
          </a:ln>
        </p:spPr>
        <p:txBody>
          <a:bodyPr wrap="square" lIns="0" tIns="0" rIns="0" bIns="0" rtlCol="0">
            <a:noAutofit/>
          </a:bodyPr>
          <a:lstStyle/>
          <a:p>
            <a:endParaRPr/>
          </a:p>
        </p:txBody>
      </p:sp>
      <p:sp>
        <p:nvSpPr>
          <p:cNvPr id="45" name="object 45"/>
          <p:cNvSpPr/>
          <p:nvPr/>
        </p:nvSpPr>
        <p:spPr>
          <a:xfrm>
            <a:off x="5736646" y="4041140"/>
            <a:ext cx="24201" cy="91948"/>
          </a:xfrm>
          <a:custGeom>
            <a:avLst/>
            <a:gdLst/>
            <a:ahLst/>
            <a:cxnLst/>
            <a:rect l="l" t="t" r="r" b="b"/>
            <a:pathLst>
              <a:path w="24201" h="91948">
                <a:moveTo>
                  <a:pt x="3373" y="91948"/>
                </a:moveTo>
                <a:lnTo>
                  <a:pt x="846" y="74831"/>
                </a:lnTo>
                <a:lnTo>
                  <a:pt x="0" y="58569"/>
                </a:lnTo>
                <a:lnTo>
                  <a:pt x="747" y="43531"/>
                </a:lnTo>
                <a:lnTo>
                  <a:pt x="3002" y="30090"/>
                </a:lnTo>
                <a:lnTo>
                  <a:pt x="6678" y="18616"/>
                </a:lnTo>
                <a:lnTo>
                  <a:pt x="11689" y="9481"/>
                </a:lnTo>
                <a:lnTo>
                  <a:pt x="17947" y="3057"/>
                </a:lnTo>
                <a:lnTo>
                  <a:pt x="24201" y="0"/>
                </a:lnTo>
              </a:path>
            </a:pathLst>
          </a:custGeom>
          <a:ln w="12699">
            <a:solidFill>
              <a:srgbClr val="000000"/>
            </a:solidFill>
          </a:ln>
        </p:spPr>
        <p:txBody>
          <a:bodyPr wrap="square" lIns="0" tIns="0" rIns="0" bIns="0" rtlCol="0">
            <a:noAutofit/>
          </a:bodyPr>
          <a:lstStyle/>
          <a:p>
            <a:endParaRPr/>
          </a:p>
        </p:txBody>
      </p:sp>
      <p:sp>
        <p:nvSpPr>
          <p:cNvPr id="46" name="object 46"/>
          <p:cNvSpPr/>
          <p:nvPr/>
        </p:nvSpPr>
        <p:spPr>
          <a:xfrm>
            <a:off x="5752720" y="4099356"/>
            <a:ext cx="128015" cy="28525"/>
          </a:xfrm>
          <a:custGeom>
            <a:avLst/>
            <a:gdLst/>
            <a:ahLst/>
            <a:cxnLst/>
            <a:rect l="l" t="t" r="r" b="b"/>
            <a:pathLst>
              <a:path w="128015" h="28525">
                <a:moveTo>
                  <a:pt x="0" y="28525"/>
                </a:moveTo>
                <a:lnTo>
                  <a:pt x="11769" y="19959"/>
                </a:lnTo>
                <a:lnTo>
                  <a:pt x="23958" y="12909"/>
                </a:lnTo>
                <a:lnTo>
                  <a:pt x="36395" y="7380"/>
                </a:lnTo>
                <a:lnTo>
                  <a:pt x="48907" y="3381"/>
                </a:lnTo>
                <a:lnTo>
                  <a:pt x="61323" y="919"/>
                </a:lnTo>
                <a:lnTo>
                  <a:pt x="73472" y="0"/>
                </a:lnTo>
                <a:lnTo>
                  <a:pt x="85181" y="630"/>
                </a:lnTo>
                <a:lnTo>
                  <a:pt x="96279" y="2819"/>
                </a:lnTo>
                <a:lnTo>
                  <a:pt x="106595" y="6571"/>
                </a:lnTo>
                <a:lnTo>
                  <a:pt x="115956" y="11895"/>
                </a:lnTo>
                <a:lnTo>
                  <a:pt x="124192" y="18796"/>
                </a:lnTo>
                <a:lnTo>
                  <a:pt x="128015" y="23064"/>
                </a:lnTo>
              </a:path>
            </a:pathLst>
          </a:custGeom>
          <a:ln w="12700">
            <a:solidFill>
              <a:srgbClr val="000000"/>
            </a:solidFill>
          </a:ln>
        </p:spPr>
        <p:txBody>
          <a:bodyPr wrap="square" lIns="0" tIns="0" rIns="0" bIns="0" rtlCol="0">
            <a:noAutofit/>
          </a:bodyPr>
          <a:lstStyle/>
          <a:p>
            <a:endParaRPr/>
          </a:p>
        </p:txBody>
      </p:sp>
      <p:sp>
        <p:nvSpPr>
          <p:cNvPr id="47" name="object 47"/>
          <p:cNvSpPr/>
          <p:nvPr/>
        </p:nvSpPr>
        <p:spPr>
          <a:xfrm>
            <a:off x="6319774" y="4032770"/>
            <a:ext cx="716800" cy="511162"/>
          </a:xfrm>
          <a:custGeom>
            <a:avLst/>
            <a:gdLst/>
            <a:ahLst/>
            <a:cxnLst/>
            <a:rect l="l" t="t" r="r" b="b"/>
            <a:pathLst>
              <a:path w="716800" h="511162">
                <a:moveTo>
                  <a:pt x="0" y="511162"/>
                </a:moveTo>
                <a:lnTo>
                  <a:pt x="716800" y="511162"/>
                </a:lnTo>
                <a:lnTo>
                  <a:pt x="716800" y="0"/>
                </a:lnTo>
                <a:lnTo>
                  <a:pt x="0" y="0"/>
                </a:lnTo>
                <a:lnTo>
                  <a:pt x="0" y="511162"/>
                </a:lnTo>
                <a:close/>
              </a:path>
            </a:pathLst>
          </a:custGeom>
          <a:solidFill>
            <a:srgbClr val="FCE2B9"/>
          </a:solidFill>
        </p:spPr>
        <p:txBody>
          <a:bodyPr wrap="square" lIns="0" tIns="0" rIns="0" bIns="0" rtlCol="0">
            <a:noAutofit/>
          </a:bodyPr>
          <a:lstStyle/>
          <a:p>
            <a:endParaRPr/>
          </a:p>
        </p:txBody>
      </p:sp>
      <p:sp>
        <p:nvSpPr>
          <p:cNvPr id="48" name="object 48"/>
          <p:cNvSpPr/>
          <p:nvPr/>
        </p:nvSpPr>
        <p:spPr>
          <a:xfrm>
            <a:off x="6319774" y="4032770"/>
            <a:ext cx="716800" cy="511162"/>
          </a:xfrm>
          <a:custGeom>
            <a:avLst/>
            <a:gdLst/>
            <a:ahLst/>
            <a:cxnLst/>
            <a:rect l="l" t="t" r="r" b="b"/>
            <a:pathLst>
              <a:path w="716800" h="511162">
                <a:moveTo>
                  <a:pt x="0" y="511162"/>
                </a:moveTo>
                <a:lnTo>
                  <a:pt x="716800" y="511162"/>
                </a:lnTo>
                <a:lnTo>
                  <a:pt x="716800" y="0"/>
                </a:lnTo>
                <a:lnTo>
                  <a:pt x="0" y="0"/>
                </a:lnTo>
                <a:lnTo>
                  <a:pt x="0" y="511162"/>
                </a:lnTo>
                <a:close/>
              </a:path>
            </a:pathLst>
          </a:custGeom>
          <a:ln w="12700">
            <a:solidFill>
              <a:srgbClr val="000000"/>
            </a:solidFill>
          </a:ln>
        </p:spPr>
        <p:txBody>
          <a:bodyPr wrap="square" lIns="0" tIns="0" rIns="0" bIns="0" rtlCol="0">
            <a:noAutofit/>
          </a:bodyPr>
          <a:lstStyle/>
          <a:p>
            <a:endParaRPr/>
          </a:p>
        </p:txBody>
      </p:sp>
      <p:sp>
        <p:nvSpPr>
          <p:cNvPr id="49" name="object 49"/>
          <p:cNvSpPr/>
          <p:nvPr/>
        </p:nvSpPr>
        <p:spPr>
          <a:xfrm>
            <a:off x="6364859" y="4270502"/>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50" name="object 50"/>
          <p:cNvSpPr/>
          <p:nvPr/>
        </p:nvSpPr>
        <p:spPr>
          <a:xfrm>
            <a:off x="6841871" y="4032758"/>
            <a:ext cx="194690" cy="93599"/>
          </a:xfrm>
          <a:custGeom>
            <a:avLst/>
            <a:gdLst/>
            <a:ahLst/>
            <a:cxnLst/>
            <a:rect l="l" t="t" r="r" b="b"/>
            <a:pathLst>
              <a:path w="194690"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0" y="93599"/>
                </a:lnTo>
              </a:path>
            </a:pathLst>
          </a:custGeom>
          <a:ln w="12700">
            <a:solidFill>
              <a:srgbClr val="000000"/>
            </a:solidFill>
          </a:ln>
        </p:spPr>
        <p:txBody>
          <a:bodyPr wrap="square" lIns="0" tIns="0" rIns="0" bIns="0" rtlCol="0">
            <a:noAutofit/>
          </a:bodyPr>
          <a:lstStyle/>
          <a:p>
            <a:endParaRPr/>
          </a:p>
        </p:txBody>
      </p:sp>
      <p:sp>
        <p:nvSpPr>
          <p:cNvPr id="51" name="object 51"/>
          <p:cNvSpPr/>
          <p:nvPr/>
        </p:nvSpPr>
        <p:spPr>
          <a:xfrm>
            <a:off x="6885180" y="4039870"/>
            <a:ext cx="24254" cy="91948"/>
          </a:xfrm>
          <a:custGeom>
            <a:avLst/>
            <a:gdLst/>
            <a:ahLst/>
            <a:cxnLst/>
            <a:rect l="l" t="t" r="r" b="b"/>
            <a:pathLst>
              <a:path w="24254" h="91948">
                <a:moveTo>
                  <a:pt x="3299" y="91947"/>
                </a:moveTo>
                <a:lnTo>
                  <a:pt x="813" y="74823"/>
                </a:lnTo>
                <a:lnTo>
                  <a:pt x="0" y="58553"/>
                </a:lnTo>
                <a:lnTo>
                  <a:pt x="772" y="43510"/>
                </a:lnTo>
                <a:lnTo>
                  <a:pt x="3046" y="30065"/>
                </a:lnTo>
                <a:lnTo>
                  <a:pt x="6735" y="18590"/>
                </a:lnTo>
                <a:lnTo>
                  <a:pt x="11756" y="9458"/>
                </a:lnTo>
                <a:lnTo>
                  <a:pt x="18023" y="3040"/>
                </a:lnTo>
                <a:lnTo>
                  <a:pt x="24254" y="0"/>
                </a:lnTo>
              </a:path>
            </a:pathLst>
          </a:custGeom>
          <a:ln w="12700">
            <a:solidFill>
              <a:srgbClr val="000000"/>
            </a:solidFill>
          </a:ln>
        </p:spPr>
        <p:txBody>
          <a:bodyPr wrap="square" lIns="0" tIns="0" rIns="0" bIns="0" rtlCol="0">
            <a:noAutofit/>
          </a:bodyPr>
          <a:lstStyle/>
          <a:p>
            <a:endParaRPr/>
          </a:p>
        </p:txBody>
      </p:sp>
      <p:sp>
        <p:nvSpPr>
          <p:cNvPr id="52" name="object 52"/>
          <p:cNvSpPr/>
          <p:nvPr/>
        </p:nvSpPr>
        <p:spPr>
          <a:xfrm>
            <a:off x="6901308" y="4098130"/>
            <a:ext cx="128015" cy="28480"/>
          </a:xfrm>
          <a:custGeom>
            <a:avLst/>
            <a:gdLst/>
            <a:ahLst/>
            <a:cxnLst/>
            <a:rect l="l" t="t" r="r" b="b"/>
            <a:pathLst>
              <a:path w="128015" h="28480">
                <a:moveTo>
                  <a:pt x="0" y="28480"/>
                </a:moveTo>
                <a:lnTo>
                  <a:pt x="11769" y="19941"/>
                </a:lnTo>
                <a:lnTo>
                  <a:pt x="23958" y="12908"/>
                </a:lnTo>
                <a:lnTo>
                  <a:pt x="36395" y="7389"/>
                </a:lnTo>
                <a:lnTo>
                  <a:pt x="48907" y="3392"/>
                </a:lnTo>
                <a:lnTo>
                  <a:pt x="61323" y="926"/>
                </a:lnTo>
                <a:lnTo>
                  <a:pt x="73472" y="0"/>
                </a:lnTo>
                <a:lnTo>
                  <a:pt x="85181" y="621"/>
                </a:lnTo>
                <a:lnTo>
                  <a:pt x="96279" y="2798"/>
                </a:lnTo>
                <a:lnTo>
                  <a:pt x="106595" y="6540"/>
                </a:lnTo>
                <a:lnTo>
                  <a:pt x="115956" y="11855"/>
                </a:lnTo>
                <a:lnTo>
                  <a:pt x="124192" y="18751"/>
                </a:lnTo>
                <a:lnTo>
                  <a:pt x="128015" y="23019"/>
                </a:lnTo>
              </a:path>
            </a:pathLst>
          </a:custGeom>
          <a:ln w="12700">
            <a:solidFill>
              <a:srgbClr val="000000"/>
            </a:solidFill>
          </a:ln>
        </p:spPr>
        <p:txBody>
          <a:bodyPr wrap="square" lIns="0" tIns="0" rIns="0" bIns="0" rtlCol="0">
            <a:noAutofit/>
          </a:bodyPr>
          <a:lstStyle/>
          <a:p>
            <a:endParaRPr/>
          </a:p>
        </p:txBody>
      </p:sp>
      <p:sp>
        <p:nvSpPr>
          <p:cNvPr id="53" name="object 53"/>
          <p:cNvSpPr/>
          <p:nvPr/>
        </p:nvSpPr>
        <p:spPr>
          <a:xfrm>
            <a:off x="6802375" y="3400679"/>
            <a:ext cx="586993" cy="50800"/>
          </a:xfrm>
          <a:custGeom>
            <a:avLst/>
            <a:gdLst/>
            <a:ahLst/>
            <a:cxnLst/>
            <a:rect l="l" t="t" r="r" b="b"/>
            <a:pathLst>
              <a:path w="586993" h="50800">
                <a:moveTo>
                  <a:pt x="510793" y="12700"/>
                </a:moveTo>
                <a:lnTo>
                  <a:pt x="510793" y="25400"/>
                </a:lnTo>
                <a:lnTo>
                  <a:pt x="586993" y="12700"/>
                </a:lnTo>
                <a:lnTo>
                  <a:pt x="510793" y="0"/>
                </a:lnTo>
                <a:lnTo>
                  <a:pt x="510793" y="12700"/>
                </a:lnTo>
                <a:close/>
              </a:path>
              <a:path w="586993" h="50800">
                <a:moveTo>
                  <a:pt x="586993" y="12700"/>
                </a:moveTo>
                <a:lnTo>
                  <a:pt x="459993" y="-25400"/>
                </a:lnTo>
                <a:lnTo>
                  <a:pt x="493860" y="0"/>
                </a:lnTo>
                <a:lnTo>
                  <a:pt x="0" y="0"/>
                </a:lnTo>
                <a:lnTo>
                  <a:pt x="0" y="25400"/>
                </a:lnTo>
                <a:lnTo>
                  <a:pt x="493860" y="25399"/>
                </a:lnTo>
                <a:lnTo>
                  <a:pt x="459993" y="50800"/>
                </a:lnTo>
                <a:lnTo>
                  <a:pt x="586993" y="12700"/>
                </a:lnTo>
                <a:lnTo>
                  <a:pt x="510793" y="25400"/>
                </a:lnTo>
                <a:lnTo>
                  <a:pt x="510793" y="0"/>
                </a:lnTo>
                <a:lnTo>
                  <a:pt x="586993" y="12700"/>
                </a:lnTo>
                <a:close/>
              </a:path>
            </a:pathLst>
          </a:custGeom>
          <a:solidFill>
            <a:srgbClr val="000000"/>
          </a:solidFill>
        </p:spPr>
        <p:txBody>
          <a:bodyPr wrap="square" lIns="0" tIns="0" rIns="0" bIns="0" rtlCol="0">
            <a:noAutofit/>
          </a:bodyPr>
          <a:lstStyle/>
          <a:p>
            <a:endParaRPr/>
          </a:p>
        </p:txBody>
      </p:sp>
      <p:sp>
        <p:nvSpPr>
          <p:cNvPr id="54" name="object 54"/>
          <p:cNvSpPr/>
          <p:nvPr/>
        </p:nvSpPr>
        <p:spPr>
          <a:xfrm>
            <a:off x="7423150" y="315851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solidFill>
            <a:srgbClr val="FCE2B9"/>
          </a:solidFill>
        </p:spPr>
        <p:txBody>
          <a:bodyPr wrap="square" lIns="0" tIns="0" rIns="0" bIns="0" rtlCol="0">
            <a:noAutofit/>
          </a:bodyPr>
          <a:lstStyle/>
          <a:p>
            <a:endParaRPr/>
          </a:p>
        </p:txBody>
      </p:sp>
      <p:sp>
        <p:nvSpPr>
          <p:cNvPr id="55" name="object 55"/>
          <p:cNvSpPr/>
          <p:nvPr/>
        </p:nvSpPr>
        <p:spPr>
          <a:xfrm>
            <a:off x="7423150" y="315851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ln w="12700">
            <a:solidFill>
              <a:srgbClr val="000000"/>
            </a:solidFill>
          </a:ln>
        </p:spPr>
        <p:txBody>
          <a:bodyPr wrap="square" lIns="0" tIns="0" rIns="0" bIns="0" rtlCol="0">
            <a:noAutofit/>
          </a:bodyPr>
          <a:lstStyle/>
          <a:p>
            <a:endParaRPr/>
          </a:p>
        </p:txBody>
      </p:sp>
      <p:sp>
        <p:nvSpPr>
          <p:cNvPr id="56" name="object 56"/>
          <p:cNvSpPr/>
          <p:nvPr/>
        </p:nvSpPr>
        <p:spPr>
          <a:xfrm>
            <a:off x="7945248" y="3158491"/>
            <a:ext cx="194691" cy="93599"/>
          </a:xfrm>
          <a:custGeom>
            <a:avLst/>
            <a:gdLst/>
            <a:ahLst/>
            <a:cxnLst/>
            <a:rect l="l" t="t" r="r" b="b"/>
            <a:pathLst>
              <a:path w="194691" h="93599">
                <a:moveTo>
                  <a:pt x="0" y="0"/>
                </a:moveTo>
                <a:lnTo>
                  <a:pt x="0" y="93599"/>
                </a:lnTo>
                <a:lnTo>
                  <a:pt x="194691" y="93599"/>
                </a:lnTo>
                <a:lnTo>
                  <a:pt x="193784" y="84505"/>
                </a:lnTo>
                <a:lnTo>
                  <a:pt x="191152" y="75741"/>
                </a:lnTo>
                <a:lnTo>
                  <a:pt x="186878" y="67258"/>
                </a:lnTo>
                <a:lnTo>
                  <a:pt x="181041" y="59096"/>
                </a:lnTo>
                <a:lnTo>
                  <a:pt x="173723" y="51294"/>
                </a:lnTo>
                <a:lnTo>
                  <a:pt x="165006" y="43891"/>
                </a:lnTo>
                <a:lnTo>
                  <a:pt x="154971" y="36927"/>
                </a:lnTo>
                <a:lnTo>
                  <a:pt x="143698" y="30439"/>
                </a:lnTo>
                <a:lnTo>
                  <a:pt x="131271" y="24469"/>
                </a:lnTo>
                <a:lnTo>
                  <a:pt x="117768" y="19054"/>
                </a:lnTo>
                <a:lnTo>
                  <a:pt x="103273" y="14233"/>
                </a:lnTo>
                <a:lnTo>
                  <a:pt x="87866" y="10047"/>
                </a:lnTo>
                <a:lnTo>
                  <a:pt x="71628" y="6535"/>
                </a:lnTo>
                <a:lnTo>
                  <a:pt x="54642" y="3734"/>
                </a:lnTo>
                <a:lnTo>
                  <a:pt x="36987" y="1686"/>
                </a:lnTo>
                <a:lnTo>
                  <a:pt x="18746" y="428"/>
                </a:lnTo>
                <a:lnTo>
                  <a:pt x="0" y="0"/>
                </a:lnTo>
                <a:close/>
              </a:path>
            </a:pathLst>
          </a:custGeom>
          <a:solidFill>
            <a:srgbClr val="FCE2B9"/>
          </a:solidFill>
        </p:spPr>
        <p:txBody>
          <a:bodyPr wrap="square" lIns="0" tIns="0" rIns="0" bIns="0" rtlCol="0">
            <a:noAutofit/>
          </a:bodyPr>
          <a:lstStyle/>
          <a:p>
            <a:endParaRPr/>
          </a:p>
        </p:txBody>
      </p:sp>
      <p:sp>
        <p:nvSpPr>
          <p:cNvPr id="57" name="object 57"/>
          <p:cNvSpPr/>
          <p:nvPr/>
        </p:nvSpPr>
        <p:spPr>
          <a:xfrm>
            <a:off x="7945248" y="3158491"/>
            <a:ext cx="194691" cy="93599"/>
          </a:xfrm>
          <a:custGeom>
            <a:avLst/>
            <a:gdLst/>
            <a:ahLst/>
            <a:cxnLst/>
            <a:rect l="l" t="t" r="r" b="b"/>
            <a:pathLst>
              <a:path w="194691"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1" y="93599"/>
                </a:lnTo>
              </a:path>
            </a:pathLst>
          </a:custGeom>
          <a:ln w="12700">
            <a:solidFill>
              <a:srgbClr val="000000"/>
            </a:solidFill>
          </a:ln>
        </p:spPr>
        <p:txBody>
          <a:bodyPr wrap="square" lIns="0" tIns="0" rIns="0" bIns="0" rtlCol="0">
            <a:noAutofit/>
          </a:bodyPr>
          <a:lstStyle/>
          <a:p>
            <a:endParaRPr/>
          </a:p>
        </p:txBody>
      </p:sp>
      <p:sp>
        <p:nvSpPr>
          <p:cNvPr id="58" name="object 58"/>
          <p:cNvSpPr/>
          <p:nvPr/>
        </p:nvSpPr>
        <p:spPr>
          <a:xfrm>
            <a:off x="7988580" y="3166873"/>
            <a:ext cx="42011" cy="90677"/>
          </a:xfrm>
          <a:custGeom>
            <a:avLst/>
            <a:gdLst/>
            <a:ahLst/>
            <a:cxnLst/>
            <a:rect l="l" t="t" r="r" b="b"/>
            <a:pathLst>
              <a:path w="42011" h="90677">
                <a:moveTo>
                  <a:pt x="3276" y="90677"/>
                </a:moveTo>
                <a:lnTo>
                  <a:pt x="42011" y="83185"/>
                </a:lnTo>
                <a:lnTo>
                  <a:pt x="24485" y="0"/>
                </a:lnTo>
                <a:lnTo>
                  <a:pt x="18741" y="2655"/>
                </a:lnTo>
                <a:lnTo>
                  <a:pt x="12273" y="8862"/>
                </a:lnTo>
                <a:lnTo>
                  <a:pt x="7075" y="17818"/>
                </a:lnTo>
                <a:lnTo>
                  <a:pt x="3237" y="29147"/>
                </a:lnTo>
                <a:lnTo>
                  <a:pt x="849" y="42474"/>
                </a:lnTo>
                <a:lnTo>
                  <a:pt x="0" y="57422"/>
                </a:lnTo>
                <a:lnTo>
                  <a:pt x="779" y="73615"/>
                </a:lnTo>
                <a:lnTo>
                  <a:pt x="3276" y="90677"/>
                </a:lnTo>
                <a:close/>
              </a:path>
            </a:pathLst>
          </a:custGeom>
          <a:solidFill>
            <a:srgbClr val="FCE2B9"/>
          </a:solidFill>
        </p:spPr>
        <p:txBody>
          <a:bodyPr wrap="square" lIns="0" tIns="0" rIns="0" bIns="0" rtlCol="0">
            <a:noAutofit/>
          </a:bodyPr>
          <a:lstStyle/>
          <a:p>
            <a:endParaRPr/>
          </a:p>
        </p:txBody>
      </p:sp>
      <p:sp>
        <p:nvSpPr>
          <p:cNvPr id="59" name="object 59"/>
          <p:cNvSpPr/>
          <p:nvPr/>
        </p:nvSpPr>
        <p:spPr>
          <a:xfrm>
            <a:off x="7988580" y="3166873"/>
            <a:ext cx="24485" cy="90677"/>
          </a:xfrm>
          <a:custGeom>
            <a:avLst/>
            <a:gdLst/>
            <a:ahLst/>
            <a:cxnLst/>
            <a:rect l="l" t="t" r="r" b="b"/>
            <a:pathLst>
              <a:path w="24485" h="90677">
                <a:moveTo>
                  <a:pt x="3276" y="90677"/>
                </a:moveTo>
                <a:lnTo>
                  <a:pt x="779" y="73615"/>
                </a:lnTo>
                <a:lnTo>
                  <a:pt x="0" y="57422"/>
                </a:lnTo>
                <a:lnTo>
                  <a:pt x="849" y="42474"/>
                </a:lnTo>
                <a:lnTo>
                  <a:pt x="3237" y="29147"/>
                </a:lnTo>
                <a:lnTo>
                  <a:pt x="7075" y="17818"/>
                </a:lnTo>
                <a:lnTo>
                  <a:pt x="12273" y="8862"/>
                </a:lnTo>
                <a:lnTo>
                  <a:pt x="18741" y="2655"/>
                </a:lnTo>
                <a:lnTo>
                  <a:pt x="24485" y="0"/>
                </a:lnTo>
              </a:path>
            </a:pathLst>
          </a:custGeom>
          <a:ln w="12700">
            <a:solidFill>
              <a:srgbClr val="000000"/>
            </a:solidFill>
          </a:ln>
        </p:spPr>
        <p:txBody>
          <a:bodyPr wrap="square" lIns="0" tIns="0" rIns="0" bIns="0" rtlCol="0">
            <a:noAutofit/>
          </a:bodyPr>
          <a:lstStyle/>
          <a:p>
            <a:endParaRPr/>
          </a:p>
        </p:txBody>
      </p:sp>
      <p:sp>
        <p:nvSpPr>
          <p:cNvPr id="60" name="object 60"/>
          <p:cNvSpPr/>
          <p:nvPr/>
        </p:nvSpPr>
        <p:spPr>
          <a:xfrm>
            <a:off x="8004684" y="3223866"/>
            <a:ext cx="127381" cy="87913"/>
          </a:xfrm>
          <a:custGeom>
            <a:avLst/>
            <a:gdLst/>
            <a:ahLst/>
            <a:cxnLst/>
            <a:rect l="l" t="t" r="r" b="b"/>
            <a:pathLst>
              <a:path w="127381" h="87913">
                <a:moveTo>
                  <a:pt x="0" y="28477"/>
                </a:moveTo>
                <a:lnTo>
                  <a:pt x="48006" y="87913"/>
                </a:lnTo>
                <a:lnTo>
                  <a:pt x="127381" y="22127"/>
                </a:lnTo>
                <a:lnTo>
                  <a:pt x="124067" y="18540"/>
                </a:lnTo>
                <a:lnTo>
                  <a:pt x="115777" y="11693"/>
                </a:lnTo>
                <a:lnTo>
                  <a:pt x="106379" y="6425"/>
                </a:lnTo>
                <a:lnTo>
                  <a:pt x="96043" y="2727"/>
                </a:lnTo>
                <a:lnTo>
                  <a:pt x="84939" y="588"/>
                </a:lnTo>
                <a:lnTo>
                  <a:pt x="73237" y="0"/>
                </a:lnTo>
                <a:lnTo>
                  <a:pt x="61108" y="951"/>
                </a:lnTo>
                <a:lnTo>
                  <a:pt x="48721" y="3433"/>
                </a:lnTo>
                <a:lnTo>
                  <a:pt x="36246" y="7437"/>
                </a:lnTo>
                <a:lnTo>
                  <a:pt x="23855" y="12952"/>
                </a:lnTo>
                <a:lnTo>
                  <a:pt x="11716" y="19968"/>
                </a:lnTo>
                <a:lnTo>
                  <a:pt x="0" y="28477"/>
                </a:lnTo>
                <a:close/>
              </a:path>
            </a:pathLst>
          </a:custGeom>
          <a:solidFill>
            <a:srgbClr val="FCE2B9"/>
          </a:solidFill>
        </p:spPr>
        <p:txBody>
          <a:bodyPr wrap="square" lIns="0" tIns="0" rIns="0" bIns="0" rtlCol="0">
            <a:noAutofit/>
          </a:bodyPr>
          <a:lstStyle/>
          <a:p>
            <a:endParaRPr/>
          </a:p>
        </p:txBody>
      </p:sp>
      <p:sp>
        <p:nvSpPr>
          <p:cNvPr id="61" name="object 61"/>
          <p:cNvSpPr/>
          <p:nvPr/>
        </p:nvSpPr>
        <p:spPr>
          <a:xfrm>
            <a:off x="8004684" y="3223866"/>
            <a:ext cx="127381" cy="28477"/>
          </a:xfrm>
          <a:custGeom>
            <a:avLst/>
            <a:gdLst/>
            <a:ahLst/>
            <a:cxnLst/>
            <a:rect l="l" t="t" r="r" b="b"/>
            <a:pathLst>
              <a:path w="127381" h="28477">
                <a:moveTo>
                  <a:pt x="0" y="28477"/>
                </a:moveTo>
                <a:lnTo>
                  <a:pt x="11716" y="19968"/>
                </a:lnTo>
                <a:lnTo>
                  <a:pt x="23855" y="12952"/>
                </a:lnTo>
                <a:lnTo>
                  <a:pt x="36246" y="7437"/>
                </a:lnTo>
                <a:lnTo>
                  <a:pt x="48721" y="3433"/>
                </a:lnTo>
                <a:lnTo>
                  <a:pt x="61108" y="951"/>
                </a:lnTo>
                <a:lnTo>
                  <a:pt x="73237" y="0"/>
                </a:lnTo>
                <a:lnTo>
                  <a:pt x="84939" y="588"/>
                </a:lnTo>
                <a:lnTo>
                  <a:pt x="96043" y="2727"/>
                </a:lnTo>
                <a:lnTo>
                  <a:pt x="106379" y="6425"/>
                </a:lnTo>
                <a:lnTo>
                  <a:pt x="115777" y="11693"/>
                </a:lnTo>
                <a:lnTo>
                  <a:pt x="124067" y="18540"/>
                </a:lnTo>
                <a:lnTo>
                  <a:pt x="127381" y="22127"/>
                </a:lnTo>
              </a:path>
            </a:pathLst>
          </a:custGeom>
          <a:ln w="12700">
            <a:solidFill>
              <a:srgbClr val="000000"/>
            </a:solidFill>
          </a:ln>
        </p:spPr>
        <p:txBody>
          <a:bodyPr wrap="square" lIns="0" tIns="0" rIns="0" bIns="0" rtlCol="0">
            <a:noAutofit/>
          </a:bodyPr>
          <a:lstStyle/>
          <a:p>
            <a:endParaRPr/>
          </a:p>
        </p:txBody>
      </p:sp>
      <p:sp>
        <p:nvSpPr>
          <p:cNvPr id="62" name="object 62"/>
          <p:cNvSpPr/>
          <p:nvPr/>
        </p:nvSpPr>
        <p:spPr>
          <a:xfrm>
            <a:off x="6229477" y="315851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solidFill>
            <a:srgbClr val="FCE2B9"/>
          </a:solidFill>
        </p:spPr>
        <p:txBody>
          <a:bodyPr wrap="square" lIns="0" tIns="0" rIns="0" bIns="0" rtlCol="0">
            <a:noAutofit/>
          </a:bodyPr>
          <a:lstStyle/>
          <a:p>
            <a:endParaRPr/>
          </a:p>
        </p:txBody>
      </p:sp>
      <p:sp>
        <p:nvSpPr>
          <p:cNvPr id="63" name="object 63"/>
          <p:cNvSpPr/>
          <p:nvPr/>
        </p:nvSpPr>
        <p:spPr>
          <a:xfrm>
            <a:off x="6229477" y="315851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ln w="12700">
            <a:solidFill>
              <a:srgbClr val="000000"/>
            </a:solidFill>
          </a:ln>
        </p:spPr>
        <p:txBody>
          <a:bodyPr wrap="square" lIns="0" tIns="0" rIns="0" bIns="0" rtlCol="0">
            <a:noAutofit/>
          </a:bodyPr>
          <a:lstStyle/>
          <a:p>
            <a:endParaRPr/>
          </a:p>
        </p:txBody>
      </p:sp>
      <p:sp>
        <p:nvSpPr>
          <p:cNvPr id="64" name="object 64"/>
          <p:cNvSpPr/>
          <p:nvPr/>
        </p:nvSpPr>
        <p:spPr>
          <a:xfrm>
            <a:off x="6274562" y="3394964"/>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65" name="object 65"/>
          <p:cNvSpPr/>
          <p:nvPr/>
        </p:nvSpPr>
        <p:spPr>
          <a:xfrm>
            <a:off x="6751574" y="3158491"/>
            <a:ext cx="194690" cy="93599"/>
          </a:xfrm>
          <a:custGeom>
            <a:avLst/>
            <a:gdLst/>
            <a:ahLst/>
            <a:cxnLst/>
            <a:rect l="l" t="t" r="r" b="b"/>
            <a:pathLst>
              <a:path w="194690" h="93599">
                <a:moveTo>
                  <a:pt x="0" y="0"/>
                </a:moveTo>
                <a:lnTo>
                  <a:pt x="0" y="93599"/>
                </a:lnTo>
                <a:lnTo>
                  <a:pt x="194690" y="93599"/>
                </a:lnTo>
                <a:lnTo>
                  <a:pt x="193784" y="84505"/>
                </a:lnTo>
                <a:lnTo>
                  <a:pt x="191152" y="75741"/>
                </a:lnTo>
                <a:lnTo>
                  <a:pt x="186878" y="67258"/>
                </a:lnTo>
                <a:lnTo>
                  <a:pt x="181041" y="59096"/>
                </a:lnTo>
                <a:lnTo>
                  <a:pt x="173723" y="51294"/>
                </a:lnTo>
                <a:lnTo>
                  <a:pt x="165006" y="43891"/>
                </a:lnTo>
                <a:lnTo>
                  <a:pt x="154971" y="36927"/>
                </a:lnTo>
                <a:lnTo>
                  <a:pt x="143698" y="30439"/>
                </a:lnTo>
                <a:lnTo>
                  <a:pt x="131271" y="24469"/>
                </a:lnTo>
                <a:lnTo>
                  <a:pt x="117768" y="19054"/>
                </a:lnTo>
                <a:lnTo>
                  <a:pt x="103273" y="14233"/>
                </a:lnTo>
                <a:lnTo>
                  <a:pt x="87866" y="10047"/>
                </a:lnTo>
                <a:lnTo>
                  <a:pt x="71628" y="6535"/>
                </a:lnTo>
                <a:lnTo>
                  <a:pt x="54642" y="3734"/>
                </a:lnTo>
                <a:lnTo>
                  <a:pt x="36987" y="1686"/>
                </a:lnTo>
                <a:lnTo>
                  <a:pt x="18746" y="428"/>
                </a:lnTo>
                <a:lnTo>
                  <a:pt x="0" y="0"/>
                </a:lnTo>
                <a:close/>
              </a:path>
            </a:pathLst>
          </a:custGeom>
          <a:solidFill>
            <a:srgbClr val="FCE2B9"/>
          </a:solidFill>
        </p:spPr>
        <p:txBody>
          <a:bodyPr wrap="square" lIns="0" tIns="0" rIns="0" bIns="0" rtlCol="0">
            <a:noAutofit/>
          </a:bodyPr>
          <a:lstStyle/>
          <a:p>
            <a:endParaRPr/>
          </a:p>
        </p:txBody>
      </p:sp>
      <p:sp>
        <p:nvSpPr>
          <p:cNvPr id="66" name="object 66"/>
          <p:cNvSpPr/>
          <p:nvPr/>
        </p:nvSpPr>
        <p:spPr>
          <a:xfrm>
            <a:off x="6751574" y="3158491"/>
            <a:ext cx="194690" cy="93599"/>
          </a:xfrm>
          <a:custGeom>
            <a:avLst/>
            <a:gdLst/>
            <a:ahLst/>
            <a:cxnLst/>
            <a:rect l="l" t="t" r="r" b="b"/>
            <a:pathLst>
              <a:path w="194690"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0" y="93599"/>
                </a:lnTo>
              </a:path>
            </a:pathLst>
          </a:custGeom>
          <a:ln w="12700">
            <a:solidFill>
              <a:srgbClr val="000000"/>
            </a:solidFill>
          </a:ln>
        </p:spPr>
        <p:txBody>
          <a:bodyPr wrap="square" lIns="0" tIns="0" rIns="0" bIns="0" rtlCol="0">
            <a:noAutofit/>
          </a:bodyPr>
          <a:lstStyle/>
          <a:p>
            <a:endParaRPr/>
          </a:p>
        </p:txBody>
      </p:sp>
      <p:sp>
        <p:nvSpPr>
          <p:cNvPr id="67" name="object 67"/>
          <p:cNvSpPr/>
          <p:nvPr/>
        </p:nvSpPr>
        <p:spPr>
          <a:xfrm>
            <a:off x="6794835" y="3166873"/>
            <a:ext cx="42083" cy="90677"/>
          </a:xfrm>
          <a:custGeom>
            <a:avLst/>
            <a:gdLst/>
            <a:ahLst/>
            <a:cxnLst/>
            <a:rect l="l" t="t" r="r" b="b"/>
            <a:pathLst>
              <a:path w="42083" h="90677">
                <a:moveTo>
                  <a:pt x="3221" y="90677"/>
                </a:moveTo>
                <a:lnTo>
                  <a:pt x="42083" y="83185"/>
                </a:lnTo>
                <a:lnTo>
                  <a:pt x="24430" y="0"/>
                </a:lnTo>
                <a:lnTo>
                  <a:pt x="18740" y="2622"/>
                </a:lnTo>
                <a:lnTo>
                  <a:pt x="12270" y="8816"/>
                </a:lnTo>
                <a:lnTo>
                  <a:pt x="7075" y="17766"/>
                </a:lnTo>
                <a:lnTo>
                  <a:pt x="3242" y="29097"/>
                </a:lnTo>
                <a:lnTo>
                  <a:pt x="855" y="42431"/>
                </a:lnTo>
                <a:lnTo>
                  <a:pt x="0" y="57391"/>
                </a:lnTo>
                <a:lnTo>
                  <a:pt x="760" y="73598"/>
                </a:lnTo>
                <a:lnTo>
                  <a:pt x="3221" y="90677"/>
                </a:lnTo>
                <a:close/>
              </a:path>
            </a:pathLst>
          </a:custGeom>
          <a:solidFill>
            <a:srgbClr val="FCE2B9"/>
          </a:solidFill>
        </p:spPr>
        <p:txBody>
          <a:bodyPr wrap="square" lIns="0" tIns="0" rIns="0" bIns="0" rtlCol="0">
            <a:noAutofit/>
          </a:bodyPr>
          <a:lstStyle/>
          <a:p>
            <a:endParaRPr/>
          </a:p>
        </p:txBody>
      </p:sp>
      <p:sp>
        <p:nvSpPr>
          <p:cNvPr id="68" name="object 68"/>
          <p:cNvSpPr/>
          <p:nvPr/>
        </p:nvSpPr>
        <p:spPr>
          <a:xfrm>
            <a:off x="6794834" y="3166873"/>
            <a:ext cx="24430" cy="90677"/>
          </a:xfrm>
          <a:custGeom>
            <a:avLst/>
            <a:gdLst/>
            <a:ahLst/>
            <a:cxnLst/>
            <a:rect l="l" t="t" r="r" b="b"/>
            <a:pathLst>
              <a:path w="24430" h="90677">
                <a:moveTo>
                  <a:pt x="3221" y="90677"/>
                </a:moveTo>
                <a:lnTo>
                  <a:pt x="760" y="73598"/>
                </a:lnTo>
                <a:lnTo>
                  <a:pt x="0" y="57391"/>
                </a:lnTo>
                <a:lnTo>
                  <a:pt x="855" y="42431"/>
                </a:lnTo>
                <a:lnTo>
                  <a:pt x="3242" y="29097"/>
                </a:lnTo>
                <a:lnTo>
                  <a:pt x="7075" y="17766"/>
                </a:lnTo>
                <a:lnTo>
                  <a:pt x="12270" y="8816"/>
                </a:lnTo>
                <a:lnTo>
                  <a:pt x="18740" y="2622"/>
                </a:lnTo>
                <a:lnTo>
                  <a:pt x="24430" y="0"/>
                </a:lnTo>
              </a:path>
            </a:pathLst>
          </a:custGeom>
          <a:ln w="12700">
            <a:solidFill>
              <a:srgbClr val="000000"/>
            </a:solidFill>
          </a:ln>
        </p:spPr>
        <p:txBody>
          <a:bodyPr wrap="square" lIns="0" tIns="0" rIns="0" bIns="0" rtlCol="0">
            <a:noAutofit/>
          </a:bodyPr>
          <a:lstStyle/>
          <a:p>
            <a:endParaRPr/>
          </a:p>
        </p:txBody>
      </p:sp>
      <p:sp>
        <p:nvSpPr>
          <p:cNvPr id="69" name="object 69"/>
          <p:cNvSpPr/>
          <p:nvPr/>
        </p:nvSpPr>
        <p:spPr>
          <a:xfrm>
            <a:off x="6811011" y="3223864"/>
            <a:ext cx="127253" cy="87914"/>
          </a:xfrm>
          <a:custGeom>
            <a:avLst/>
            <a:gdLst/>
            <a:ahLst/>
            <a:cxnLst/>
            <a:rect l="l" t="t" r="r" b="b"/>
            <a:pathLst>
              <a:path w="127253" h="87914">
                <a:moveTo>
                  <a:pt x="0" y="28478"/>
                </a:moveTo>
                <a:lnTo>
                  <a:pt x="48005" y="87914"/>
                </a:lnTo>
                <a:lnTo>
                  <a:pt x="127253" y="22128"/>
                </a:lnTo>
                <a:lnTo>
                  <a:pt x="124018" y="18605"/>
                </a:lnTo>
                <a:lnTo>
                  <a:pt x="115760" y="11740"/>
                </a:lnTo>
                <a:lnTo>
                  <a:pt x="106385" y="6457"/>
                </a:lnTo>
                <a:lnTo>
                  <a:pt x="96065" y="2746"/>
                </a:lnTo>
                <a:lnTo>
                  <a:pt x="84971" y="596"/>
                </a:lnTo>
                <a:lnTo>
                  <a:pt x="73274" y="0"/>
                </a:lnTo>
                <a:lnTo>
                  <a:pt x="61144" y="945"/>
                </a:lnTo>
                <a:lnTo>
                  <a:pt x="48754" y="3424"/>
                </a:lnTo>
                <a:lnTo>
                  <a:pt x="36273" y="7427"/>
                </a:lnTo>
                <a:lnTo>
                  <a:pt x="23873" y="12943"/>
                </a:lnTo>
                <a:lnTo>
                  <a:pt x="11725" y="19963"/>
                </a:lnTo>
                <a:lnTo>
                  <a:pt x="0" y="28478"/>
                </a:lnTo>
                <a:close/>
              </a:path>
            </a:pathLst>
          </a:custGeom>
          <a:solidFill>
            <a:srgbClr val="FCE2B9"/>
          </a:solidFill>
        </p:spPr>
        <p:txBody>
          <a:bodyPr wrap="square" lIns="0" tIns="0" rIns="0" bIns="0" rtlCol="0">
            <a:noAutofit/>
          </a:bodyPr>
          <a:lstStyle/>
          <a:p>
            <a:endParaRPr/>
          </a:p>
        </p:txBody>
      </p:sp>
      <p:sp>
        <p:nvSpPr>
          <p:cNvPr id="70" name="object 70"/>
          <p:cNvSpPr/>
          <p:nvPr/>
        </p:nvSpPr>
        <p:spPr>
          <a:xfrm>
            <a:off x="6811011" y="3223864"/>
            <a:ext cx="127253" cy="28478"/>
          </a:xfrm>
          <a:custGeom>
            <a:avLst/>
            <a:gdLst/>
            <a:ahLst/>
            <a:cxnLst/>
            <a:rect l="l" t="t" r="r" b="b"/>
            <a:pathLst>
              <a:path w="127253" h="28478">
                <a:moveTo>
                  <a:pt x="0" y="28478"/>
                </a:moveTo>
                <a:lnTo>
                  <a:pt x="11725" y="19963"/>
                </a:lnTo>
                <a:lnTo>
                  <a:pt x="23873" y="12943"/>
                </a:lnTo>
                <a:lnTo>
                  <a:pt x="36273" y="7427"/>
                </a:lnTo>
                <a:lnTo>
                  <a:pt x="48754" y="3424"/>
                </a:lnTo>
                <a:lnTo>
                  <a:pt x="61144" y="945"/>
                </a:lnTo>
                <a:lnTo>
                  <a:pt x="73274" y="0"/>
                </a:lnTo>
                <a:lnTo>
                  <a:pt x="84971" y="596"/>
                </a:lnTo>
                <a:lnTo>
                  <a:pt x="96065" y="2746"/>
                </a:lnTo>
                <a:lnTo>
                  <a:pt x="106385" y="6457"/>
                </a:lnTo>
                <a:lnTo>
                  <a:pt x="115760" y="11740"/>
                </a:lnTo>
                <a:lnTo>
                  <a:pt x="124018" y="18605"/>
                </a:lnTo>
                <a:lnTo>
                  <a:pt x="127253" y="22128"/>
                </a:lnTo>
              </a:path>
            </a:pathLst>
          </a:custGeom>
          <a:ln w="12700">
            <a:solidFill>
              <a:srgbClr val="000000"/>
            </a:solidFill>
          </a:ln>
        </p:spPr>
        <p:txBody>
          <a:bodyPr wrap="square" lIns="0" tIns="0" rIns="0" bIns="0" rtlCol="0">
            <a:noAutofit/>
          </a:bodyPr>
          <a:lstStyle/>
          <a:p>
            <a:endParaRPr/>
          </a:p>
        </p:txBody>
      </p:sp>
      <p:sp>
        <p:nvSpPr>
          <p:cNvPr id="71" name="object 71"/>
          <p:cNvSpPr/>
          <p:nvPr/>
        </p:nvSpPr>
        <p:spPr>
          <a:xfrm>
            <a:off x="6802375" y="2831846"/>
            <a:ext cx="586993" cy="50800"/>
          </a:xfrm>
          <a:custGeom>
            <a:avLst/>
            <a:gdLst/>
            <a:ahLst/>
            <a:cxnLst/>
            <a:rect l="l" t="t" r="r" b="b"/>
            <a:pathLst>
              <a:path w="586993" h="50800">
                <a:moveTo>
                  <a:pt x="510793" y="12700"/>
                </a:moveTo>
                <a:lnTo>
                  <a:pt x="510793" y="25400"/>
                </a:lnTo>
                <a:lnTo>
                  <a:pt x="586993" y="12700"/>
                </a:lnTo>
                <a:lnTo>
                  <a:pt x="510793" y="0"/>
                </a:lnTo>
                <a:lnTo>
                  <a:pt x="510793" y="12700"/>
                </a:lnTo>
                <a:close/>
              </a:path>
              <a:path w="586993" h="50800">
                <a:moveTo>
                  <a:pt x="586993" y="12700"/>
                </a:moveTo>
                <a:lnTo>
                  <a:pt x="459993" y="-25400"/>
                </a:lnTo>
                <a:lnTo>
                  <a:pt x="493860" y="0"/>
                </a:lnTo>
                <a:lnTo>
                  <a:pt x="0" y="0"/>
                </a:lnTo>
                <a:lnTo>
                  <a:pt x="0" y="25400"/>
                </a:lnTo>
                <a:lnTo>
                  <a:pt x="493860" y="25399"/>
                </a:lnTo>
                <a:lnTo>
                  <a:pt x="459993" y="50800"/>
                </a:lnTo>
                <a:lnTo>
                  <a:pt x="586993" y="12700"/>
                </a:lnTo>
                <a:lnTo>
                  <a:pt x="510793" y="25400"/>
                </a:lnTo>
                <a:lnTo>
                  <a:pt x="510793" y="0"/>
                </a:lnTo>
                <a:lnTo>
                  <a:pt x="586993" y="12700"/>
                </a:lnTo>
                <a:close/>
              </a:path>
            </a:pathLst>
          </a:custGeom>
          <a:solidFill>
            <a:srgbClr val="000000"/>
          </a:solidFill>
        </p:spPr>
        <p:txBody>
          <a:bodyPr wrap="square" lIns="0" tIns="0" rIns="0" bIns="0" rtlCol="0">
            <a:noAutofit/>
          </a:bodyPr>
          <a:lstStyle/>
          <a:p>
            <a:endParaRPr/>
          </a:p>
        </p:txBody>
      </p:sp>
      <p:sp>
        <p:nvSpPr>
          <p:cNvPr id="72" name="object 72"/>
          <p:cNvSpPr/>
          <p:nvPr/>
        </p:nvSpPr>
        <p:spPr>
          <a:xfrm>
            <a:off x="7423150" y="259082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solidFill>
            <a:srgbClr val="FCE2B9"/>
          </a:solidFill>
        </p:spPr>
        <p:txBody>
          <a:bodyPr wrap="square" lIns="0" tIns="0" rIns="0" bIns="0" rtlCol="0">
            <a:noAutofit/>
          </a:bodyPr>
          <a:lstStyle/>
          <a:p>
            <a:endParaRPr/>
          </a:p>
        </p:txBody>
      </p:sp>
      <p:sp>
        <p:nvSpPr>
          <p:cNvPr id="73" name="object 73"/>
          <p:cNvSpPr/>
          <p:nvPr/>
        </p:nvSpPr>
        <p:spPr>
          <a:xfrm>
            <a:off x="7423150" y="259082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ln w="12700">
            <a:solidFill>
              <a:srgbClr val="000000"/>
            </a:solidFill>
          </a:ln>
        </p:spPr>
        <p:txBody>
          <a:bodyPr wrap="square" lIns="0" tIns="0" rIns="0" bIns="0" rtlCol="0">
            <a:noAutofit/>
          </a:bodyPr>
          <a:lstStyle/>
          <a:p>
            <a:endParaRPr/>
          </a:p>
        </p:txBody>
      </p:sp>
      <p:sp>
        <p:nvSpPr>
          <p:cNvPr id="74" name="object 74"/>
          <p:cNvSpPr/>
          <p:nvPr/>
        </p:nvSpPr>
        <p:spPr>
          <a:xfrm>
            <a:off x="7945248" y="2590801"/>
            <a:ext cx="194691" cy="93599"/>
          </a:xfrm>
          <a:custGeom>
            <a:avLst/>
            <a:gdLst/>
            <a:ahLst/>
            <a:cxnLst/>
            <a:rect l="l" t="t" r="r" b="b"/>
            <a:pathLst>
              <a:path w="194691" h="93599">
                <a:moveTo>
                  <a:pt x="0" y="0"/>
                </a:moveTo>
                <a:lnTo>
                  <a:pt x="0" y="93599"/>
                </a:lnTo>
                <a:lnTo>
                  <a:pt x="194691" y="93599"/>
                </a:lnTo>
                <a:lnTo>
                  <a:pt x="193784" y="84505"/>
                </a:lnTo>
                <a:lnTo>
                  <a:pt x="191152" y="75741"/>
                </a:lnTo>
                <a:lnTo>
                  <a:pt x="186878" y="67258"/>
                </a:lnTo>
                <a:lnTo>
                  <a:pt x="181041" y="59096"/>
                </a:lnTo>
                <a:lnTo>
                  <a:pt x="173723" y="51294"/>
                </a:lnTo>
                <a:lnTo>
                  <a:pt x="165006" y="43891"/>
                </a:lnTo>
                <a:lnTo>
                  <a:pt x="154971" y="36927"/>
                </a:lnTo>
                <a:lnTo>
                  <a:pt x="143698" y="30439"/>
                </a:lnTo>
                <a:lnTo>
                  <a:pt x="131271" y="24469"/>
                </a:lnTo>
                <a:lnTo>
                  <a:pt x="117768" y="19054"/>
                </a:lnTo>
                <a:lnTo>
                  <a:pt x="103273" y="14233"/>
                </a:lnTo>
                <a:lnTo>
                  <a:pt x="87866" y="10047"/>
                </a:lnTo>
                <a:lnTo>
                  <a:pt x="71628" y="6535"/>
                </a:lnTo>
                <a:lnTo>
                  <a:pt x="54642" y="3734"/>
                </a:lnTo>
                <a:lnTo>
                  <a:pt x="36987" y="1686"/>
                </a:lnTo>
                <a:lnTo>
                  <a:pt x="18746" y="428"/>
                </a:lnTo>
                <a:lnTo>
                  <a:pt x="0" y="0"/>
                </a:lnTo>
                <a:close/>
              </a:path>
            </a:pathLst>
          </a:custGeom>
          <a:solidFill>
            <a:srgbClr val="FCE2B9"/>
          </a:solidFill>
        </p:spPr>
        <p:txBody>
          <a:bodyPr wrap="square" lIns="0" tIns="0" rIns="0" bIns="0" rtlCol="0">
            <a:noAutofit/>
          </a:bodyPr>
          <a:lstStyle/>
          <a:p>
            <a:endParaRPr/>
          </a:p>
        </p:txBody>
      </p:sp>
      <p:sp>
        <p:nvSpPr>
          <p:cNvPr id="75" name="object 75"/>
          <p:cNvSpPr/>
          <p:nvPr/>
        </p:nvSpPr>
        <p:spPr>
          <a:xfrm>
            <a:off x="7945248" y="2590801"/>
            <a:ext cx="194691" cy="93599"/>
          </a:xfrm>
          <a:custGeom>
            <a:avLst/>
            <a:gdLst/>
            <a:ahLst/>
            <a:cxnLst/>
            <a:rect l="l" t="t" r="r" b="b"/>
            <a:pathLst>
              <a:path w="194691"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1" y="93599"/>
                </a:lnTo>
              </a:path>
            </a:pathLst>
          </a:custGeom>
          <a:ln w="12700">
            <a:solidFill>
              <a:srgbClr val="000000"/>
            </a:solidFill>
          </a:ln>
        </p:spPr>
        <p:txBody>
          <a:bodyPr wrap="square" lIns="0" tIns="0" rIns="0" bIns="0" rtlCol="0">
            <a:noAutofit/>
          </a:bodyPr>
          <a:lstStyle/>
          <a:p>
            <a:endParaRPr/>
          </a:p>
        </p:txBody>
      </p:sp>
      <p:sp>
        <p:nvSpPr>
          <p:cNvPr id="76" name="object 76"/>
          <p:cNvSpPr/>
          <p:nvPr/>
        </p:nvSpPr>
        <p:spPr>
          <a:xfrm>
            <a:off x="7988580" y="2599183"/>
            <a:ext cx="42011" cy="90677"/>
          </a:xfrm>
          <a:custGeom>
            <a:avLst/>
            <a:gdLst/>
            <a:ahLst/>
            <a:cxnLst/>
            <a:rect l="l" t="t" r="r" b="b"/>
            <a:pathLst>
              <a:path w="42011" h="90677">
                <a:moveTo>
                  <a:pt x="3276" y="90677"/>
                </a:moveTo>
                <a:lnTo>
                  <a:pt x="42011" y="83184"/>
                </a:lnTo>
                <a:lnTo>
                  <a:pt x="24485" y="0"/>
                </a:lnTo>
                <a:lnTo>
                  <a:pt x="18741" y="2625"/>
                </a:lnTo>
                <a:lnTo>
                  <a:pt x="12273" y="8810"/>
                </a:lnTo>
                <a:lnTo>
                  <a:pt x="7075" y="17762"/>
                </a:lnTo>
                <a:lnTo>
                  <a:pt x="3237" y="29098"/>
                </a:lnTo>
                <a:lnTo>
                  <a:pt x="849" y="42439"/>
                </a:lnTo>
                <a:lnTo>
                  <a:pt x="0" y="57403"/>
                </a:lnTo>
                <a:lnTo>
                  <a:pt x="779" y="73610"/>
                </a:lnTo>
                <a:lnTo>
                  <a:pt x="3276" y="90677"/>
                </a:lnTo>
                <a:close/>
              </a:path>
            </a:pathLst>
          </a:custGeom>
          <a:solidFill>
            <a:srgbClr val="FCE2B9"/>
          </a:solidFill>
        </p:spPr>
        <p:txBody>
          <a:bodyPr wrap="square" lIns="0" tIns="0" rIns="0" bIns="0" rtlCol="0">
            <a:noAutofit/>
          </a:bodyPr>
          <a:lstStyle/>
          <a:p>
            <a:endParaRPr/>
          </a:p>
        </p:txBody>
      </p:sp>
      <p:sp>
        <p:nvSpPr>
          <p:cNvPr id="77" name="object 77"/>
          <p:cNvSpPr/>
          <p:nvPr/>
        </p:nvSpPr>
        <p:spPr>
          <a:xfrm>
            <a:off x="7988580" y="2599183"/>
            <a:ext cx="24485" cy="90677"/>
          </a:xfrm>
          <a:custGeom>
            <a:avLst/>
            <a:gdLst/>
            <a:ahLst/>
            <a:cxnLst/>
            <a:rect l="l" t="t" r="r" b="b"/>
            <a:pathLst>
              <a:path w="24485" h="90677">
                <a:moveTo>
                  <a:pt x="3276" y="90677"/>
                </a:moveTo>
                <a:lnTo>
                  <a:pt x="779" y="73610"/>
                </a:lnTo>
                <a:lnTo>
                  <a:pt x="0" y="57403"/>
                </a:lnTo>
                <a:lnTo>
                  <a:pt x="849" y="42439"/>
                </a:lnTo>
                <a:lnTo>
                  <a:pt x="3237" y="29098"/>
                </a:lnTo>
                <a:lnTo>
                  <a:pt x="7075" y="17762"/>
                </a:lnTo>
                <a:lnTo>
                  <a:pt x="12273" y="8810"/>
                </a:lnTo>
                <a:lnTo>
                  <a:pt x="18741" y="2625"/>
                </a:lnTo>
                <a:lnTo>
                  <a:pt x="24485" y="0"/>
                </a:lnTo>
              </a:path>
            </a:pathLst>
          </a:custGeom>
          <a:ln w="12700">
            <a:solidFill>
              <a:srgbClr val="000000"/>
            </a:solidFill>
          </a:ln>
        </p:spPr>
        <p:txBody>
          <a:bodyPr wrap="square" lIns="0" tIns="0" rIns="0" bIns="0" rtlCol="0">
            <a:noAutofit/>
          </a:bodyPr>
          <a:lstStyle/>
          <a:p>
            <a:endParaRPr/>
          </a:p>
        </p:txBody>
      </p:sp>
      <p:sp>
        <p:nvSpPr>
          <p:cNvPr id="78" name="object 78"/>
          <p:cNvSpPr/>
          <p:nvPr/>
        </p:nvSpPr>
        <p:spPr>
          <a:xfrm>
            <a:off x="8004684" y="2656111"/>
            <a:ext cx="127381" cy="87850"/>
          </a:xfrm>
          <a:custGeom>
            <a:avLst/>
            <a:gdLst/>
            <a:ahLst/>
            <a:cxnLst/>
            <a:rect l="l" t="t" r="r" b="b"/>
            <a:pathLst>
              <a:path w="127381" h="87850">
                <a:moveTo>
                  <a:pt x="0" y="28541"/>
                </a:moveTo>
                <a:lnTo>
                  <a:pt x="48006" y="87850"/>
                </a:lnTo>
                <a:lnTo>
                  <a:pt x="127381" y="22064"/>
                </a:lnTo>
                <a:lnTo>
                  <a:pt x="124102" y="18526"/>
                </a:lnTo>
                <a:lnTo>
                  <a:pt x="115814" y="11693"/>
                </a:lnTo>
                <a:lnTo>
                  <a:pt x="106416" y="6431"/>
                </a:lnTo>
                <a:lnTo>
                  <a:pt x="96079" y="2733"/>
                </a:lnTo>
                <a:lnTo>
                  <a:pt x="84973" y="592"/>
                </a:lnTo>
                <a:lnTo>
                  <a:pt x="73267" y="0"/>
                </a:lnTo>
                <a:lnTo>
                  <a:pt x="61134" y="948"/>
                </a:lnTo>
                <a:lnTo>
                  <a:pt x="48742" y="3430"/>
                </a:lnTo>
                <a:lnTo>
                  <a:pt x="36262" y="7438"/>
                </a:lnTo>
                <a:lnTo>
                  <a:pt x="23865" y="12964"/>
                </a:lnTo>
                <a:lnTo>
                  <a:pt x="11721" y="20001"/>
                </a:lnTo>
                <a:lnTo>
                  <a:pt x="0" y="28541"/>
                </a:lnTo>
                <a:close/>
              </a:path>
            </a:pathLst>
          </a:custGeom>
          <a:solidFill>
            <a:srgbClr val="FCE2B9"/>
          </a:solidFill>
        </p:spPr>
        <p:txBody>
          <a:bodyPr wrap="square" lIns="0" tIns="0" rIns="0" bIns="0" rtlCol="0">
            <a:noAutofit/>
          </a:bodyPr>
          <a:lstStyle/>
          <a:p>
            <a:endParaRPr/>
          </a:p>
        </p:txBody>
      </p:sp>
      <p:sp>
        <p:nvSpPr>
          <p:cNvPr id="79" name="object 79"/>
          <p:cNvSpPr/>
          <p:nvPr/>
        </p:nvSpPr>
        <p:spPr>
          <a:xfrm>
            <a:off x="8004684" y="2656112"/>
            <a:ext cx="127381" cy="28541"/>
          </a:xfrm>
          <a:custGeom>
            <a:avLst/>
            <a:gdLst/>
            <a:ahLst/>
            <a:cxnLst/>
            <a:rect l="l" t="t" r="r" b="b"/>
            <a:pathLst>
              <a:path w="127381" h="28541">
                <a:moveTo>
                  <a:pt x="0" y="28541"/>
                </a:moveTo>
                <a:lnTo>
                  <a:pt x="11721" y="20001"/>
                </a:lnTo>
                <a:lnTo>
                  <a:pt x="23865" y="12964"/>
                </a:lnTo>
                <a:lnTo>
                  <a:pt x="36262" y="7438"/>
                </a:lnTo>
                <a:lnTo>
                  <a:pt x="48742" y="3430"/>
                </a:lnTo>
                <a:lnTo>
                  <a:pt x="61134" y="948"/>
                </a:lnTo>
                <a:lnTo>
                  <a:pt x="73267" y="0"/>
                </a:lnTo>
                <a:lnTo>
                  <a:pt x="84973" y="592"/>
                </a:lnTo>
                <a:lnTo>
                  <a:pt x="96079" y="2733"/>
                </a:lnTo>
                <a:lnTo>
                  <a:pt x="106416" y="6431"/>
                </a:lnTo>
                <a:lnTo>
                  <a:pt x="115814" y="11693"/>
                </a:lnTo>
                <a:lnTo>
                  <a:pt x="124102" y="18526"/>
                </a:lnTo>
                <a:lnTo>
                  <a:pt x="127381" y="22064"/>
                </a:lnTo>
              </a:path>
            </a:pathLst>
          </a:custGeom>
          <a:ln w="12700">
            <a:solidFill>
              <a:srgbClr val="000000"/>
            </a:solidFill>
          </a:ln>
        </p:spPr>
        <p:txBody>
          <a:bodyPr wrap="square" lIns="0" tIns="0" rIns="0" bIns="0" rtlCol="0">
            <a:noAutofit/>
          </a:bodyPr>
          <a:lstStyle/>
          <a:p>
            <a:endParaRPr/>
          </a:p>
        </p:txBody>
      </p:sp>
      <p:sp>
        <p:nvSpPr>
          <p:cNvPr id="80" name="object 80"/>
          <p:cNvSpPr/>
          <p:nvPr/>
        </p:nvSpPr>
        <p:spPr>
          <a:xfrm>
            <a:off x="6229477" y="259082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solidFill>
            <a:srgbClr val="FCE2B9"/>
          </a:solidFill>
        </p:spPr>
        <p:txBody>
          <a:bodyPr wrap="square" lIns="0" tIns="0" rIns="0" bIns="0" rtlCol="0">
            <a:noAutofit/>
          </a:bodyPr>
          <a:lstStyle/>
          <a:p>
            <a:endParaRPr/>
          </a:p>
        </p:txBody>
      </p:sp>
      <p:sp>
        <p:nvSpPr>
          <p:cNvPr id="81" name="object 81"/>
          <p:cNvSpPr/>
          <p:nvPr/>
        </p:nvSpPr>
        <p:spPr>
          <a:xfrm>
            <a:off x="6229477" y="2590826"/>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ln w="12700">
            <a:solidFill>
              <a:srgbClr val="000000"/>
            </a:solidFill>
          </a:ln>
        </p:spPr>
        <p:txBody>
          <a:bodyPr wrap="square" lIns="0" tIns="0" rIns="0" bIns="0" rtlCol="0">
            <a:noAutofit/>
          </a:bodyPr>
          <a:lstStyle/>
          <a:p>
            <a:endParaRPr/>
          </a:p>
        </p:txBody>
      </p:sp>
      <p:sp>
        <p:nvSpPr>
          <p:cNvPr id="82" name="object 82"/>
          <p:cNvSpPr/>
          <p:nvPr/>
        </p:nvSpPr>
        <p:spPr>
          <a:xfrm>
            <a:off x="6274562" y="2827274"/>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83" name="object 83"/>
          <p:cNvSpPr/>
          <p:nvPr/>
        </p:nvSpPr>
        <p:spPr>
          <a:xfrm>
            <a:off x="6751574" y="2590801"/>
            <a:ext cx="194690" cy="93599"/>
          </a:xfrm>
          <a:custGeom>
            <a:avLst/>
            <a:gdLst/>
            <a:ahLst/>
            <a:cxnLst/>
            <a:rect l="l" t="t" r="r" b="b"/>
            <a:pathLst>
              <a:path w="194690" h="93599">
                <a:moveTo>
                  <a:pt x="0" y="0"/>
                </a:moveTo>
                <a:lnTo>
                  <a:pt x="0" y="93599"/>
                </a:lnTo>
                <a:lnTo>
                  <a:pt x="194690" y="93599"/>
                </a:lnTo>
                <a:lnTo>
                  <a:pt x="193784" y="84505"/>
                </a:lnTo>
                <a:lnTo>
                  <a:pt x="191152" y="75741"/>
                </a:lnTo>
                <a:lnTo>
                  <a:pt x="186878" y="67258"/>
                </a:lnTo>
                <a:lnTo>
                  <a:pt x="181041" y="59096"/>
                </a:lnTo>
                <a:lnTo>
                  <a:pt x="173723" y="51294"/>
                </a:lnTo>
                <a:lnTo>
                  <a:pt x="165006" y="43891"/>
                </a:lnTo>
                <a:lnTo>
                  <a:pt x="154971" y="36927"/>
                </a:lnTo>
                <a:lnTo>
                  <a:pt x="143698" y="30439"/>
                </a:lnTo>
                <a:lnTo>
                  <a:pt x="131271" y="24469"/>
                </a:lnTo>
                <a:lnTo>
                  <a:pt x="117768" y="19054"/>
                </a:lnTo>
                <a:lnTo>
                  <a:pt x="103273" y="14233"/>
                </a:lnTo>
                <a:lnTo>
                  <a:pt x="87866" y="10047"/>
                </a:lnTo>
                <a:lnTo>
                  <a:pt x="71628" y="6535"/>
                </a:lnTo>
                <a:lnTo>
                  <a:pt x="54642" y="3734"/>
                </a:lnTo>
                <a:lnTo>
                  <a:pt x="36987" y="1686"/>
                </a:lnTo>
                <a:lnTo>
                  <a:pt x="18746" y="428"/>
                </a:lnTo>
                <a:lnTo>
                  <a:pt x="0" y="0"/>
                </a:lnTo>
                <a:close/>
              </a:path>
            </a:pathLst>
          </a:custGeom>
          <a:solidFill>
            <a:srgbClr val="FCE2B9"/>
          </a:solidFill>
        </p:spPr>
        <p:txBody>
          <a:bodyPr wrap="square" lIns="0" tIns="0" rIns="0" bIns="0" rtlCol="0">
            <a:noAutofit/>
          </a:bodyPr>
          <a:lstStyle/>
          <a:p>
            <a:endParaRPr/>
          </a:p>
        </p:txBody>
      </p:sp>
      <p:sp>
        <p:nvSpPr>
          <p:cNvPr id="84" name="object 84"/>
          <p:cNvSpPr/>
          <p:nvPr/>
        </p:nvSpPr>
        <p:spPr>
          <a:xfrm>
            <a:off x="6751574" y="2590801"/>
            <a:ext cx="194690" cy="93599"/>
          </a:xfrm>
          <a:custGeom>
            <a:avLst/>
            <a:gdLst/>
            <a:ahLst/>
            <a:cxnLst/>
            <a:rect l="l" t="t" r="r" b="b"/>
            <a:pathLst>
              <a:path w="194690"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0" y="93599"/>
                </a:lnTo>
              </a:path>
            </a:pathLst>
          </a:custGeom>
          <a:ln w="12700">
            <a:solidFill>
              <a:srgbClr val="000000"/>
            </a:solidFill>
          </a:ln>
        </p:spPr>
        <p:txBody>
          <a:bodyPr wrap="square" lIns="0" tIns="0" rIns="0" bIns="0" rtlCol="0">
            <a:noAutofit/>
          </a:bodyPr>
          <a:lstStyle/>
          <a:p>
            <a:endParaRPr/>
          </a:p>
        </p:txBody>
      </p:sp>
      <p:sp>
        <p:nvSpPr>
          <p:cNvPr id="85" name="object 85"/>
          <p:cNvSpPr/>
          <p:nvPr/>
        </p:nvSpPr>
        <p:spPr>
          <a:xfrm>
            <a:off x="6794835" y="2599183"/>
            <a:ext cx="42083" cy="90677"/>
          </a:xfrm>
          <a:custGeom>
            <a:avLst/>
            <a:gdLst/>
            <a:ahLst/>
            <a:cxnLst/>
            <a:rect l="l" t="t" r="r" b="b"/>
            <a:pathLst>
              <a:path w="42083" h="90677">
                <a:moveTo>
                  <a:pt x="3221" y="90677"/>
                </a:moveTo>
                <a:lnTo>
                  <a:pt x="42083" y="83184"/>
                </a:lnTo>
                <a:lnTo>
                  <a:pt x="24430" y="0"/>
                </a:lnTo>
                <a:lnTo>
                  <a:pt x="18740" y="2592"/>
                </a:lnTo>
                <a:lnTo>
                  <a:pt x="12270" y="8764"/>
                </a:lnTo>
                <a:lnTo>
                  <a:pt x="7075" y="17710"/>
                </a:lnTo>
                <a:lnTo>
                  <a:pt x="3242" y="29048"/>
                </a:lnTo>
                <a:lnTo>
                  <a:pt x="855" y="42396"/>
                </a:lnTo>
                <a:lnTo>
                  <a:pt x="0" y="57372"/>
                </a:lnTo>
                <a:lnTo>
                  <a:pt x="760" y="73593"/>
                </a:lnTo>
                <a:lnTo>
                  <a:pt x="3221" y="90677"/>
                </a:lnTo>
                <a:close/>
              </a:path>
            </a:pathLst>
          </a:custGeom>
          <a:solidFill>
            <a:srgbClr val="FCE2B9"/>
          </a:solidFill>
        </p:spPr>
        <p:txBody>
          <a:bodyPr wrap="square" lIns="0" tIns="0" rIns="0" bIns="0" rtlCol="0">
            <a:noAutofit/>
          </a:bodyPr>
          <a:lstStyle/>
          <a:p>
            <a:endParaRPr/>
          </a:p>
        </p:txBody>
      </p:sp>
      <p:sp>
        <p:nvSpPr>
          <p:cNvPr id="86" name="object 86"/>
          <p:cNvSpPr/>
          <p:nvPr/>
        </p:nvSpPr>
        <p:spPr>
          <a:xfrm>
            <a:off x="6794834" y="2599183"/>
            <a:ext cx="24430" cy="90677"/>
          </a:xfrm>
          <a:custGeom>
            <a:avLst/>
            <a:gdLst/>
            <a:ahLst/>
            <a:cxnLst/>
            <a:rect l="l" t="t" r="r" b="b"/>
            <a:pathLst>
              <a:path w="24430" h="90677">
                <a:moveTo>
                  <a:pt x="3221" y="90677"/>
                </a:moveTo>
                <a:lnTo>
                  <a:pt x="760" y="73593"/>
                </a:lnTo>
                <a:lnTo>
                  <a:pt x="0" y="57372"/>
                </a:lnTo>
                <a:lnTo>
                  <a:pt x="855" y="42396"/>
                </a:lnTo>
                <a:lnTo>
                  <a:pt x="3242" y="29048"/>
                </a:lnTo>
                <a:lnTo>
                  <a:pt x="7075" y="17710"/>
                </a:lnTo>
                <a:lnTo>
                  <a:pt x="12270" y="8764"/>
                </a:lnTo>
                <a:lnTo>
                  <a:pt x="18740" y="2592"/>
                </a:lnTo>
                <a:lnTo>
                  <a:pt x="24430" y="0"/>
                </a:lnTo>
              </a:path>
            </a:pathLst>
          </a:custGeom>
          <a:ln w="12700">
            <a:solidFill>
              <a:srgbClr val="000000"/>
            </a:solidFill>
          </a:ln>
        </p:spPr>
        <p:txBody>
          <a:bodyPr wrap="square" lIns="0" tIns="0" rIns="0" bIns="0" rtlCol="0">
            <a:noAutofit/>
          </a:bodyPr>
          <a:lstStyle/>
          <a:p>
            <a:endParaRPr/>
          </a:p>
        </p:txBody>
      </p:sp>
      <p:sp>
        <p:nvSpPr>
          <p:cNvPr id="87" name="object 87"/>
          <p:cNvSpPr/>
          <p:nvPr/>
        </p:nvSpPr>
        <p:spPr>
          <a:xfrm>
            <a:off x="6811011" y="2656111"/>
            <a:ext cx="127253" cy="87851"/>
          </a:xfrm>
          <a:custGeom>
            <a:avLst/>
            <a:gdLst/>
            <a:ahLst/>
            <a:cxnLst/>
            <a:rect l="l" t="t" r="r" b="b"/>
            <a:pathLst>
              <a:path w="127253" h="87851">
                <a:moveTo>
                  <a:pt x="0" y="28542"/>
                </a:moveTo>
                <a:lnTo>
                  <a:pt x="48005" y="87851"/>
                </a:lnTo>
                <a:lnTo>
                  <a:pt x="127253" y="22065"/>
                </a:lnTo>
                <a:lnTo>
                  <a:pt x="124054" y="18591"/>
                </a:lnTo>
                <a:lnTo>
                  <a:pt x="115797" y="11740"/>
                </a:lnTo>
                <a:lnTo>
                  <a:pt x="106423" y="6463"/>
                </a:lnTo>
                <a:lnTo>
                  <a:pt x="96101" y="2752"/>
                </a:lnTo>
                <a:lnTo>
                  <a:pt x="85005" y="600"/>
                </a:lnTo>
                <a:lnTo>
                  <a:pt x="73304" y="0"/>
                </a:lnTo>
                <a:lnTo>
                  <a:pt x="61170" y="942"/>
                </a:lnTo>
                <a:lnTo>
                  <a:pt x="48775" y="3421"/>
                </a:lnTo>
                <a:lnTo>
                  <a:pt x="36289" y="7428"/>
                </a:lnTo>
                <a:lnTo>
                  <a:pt x="23883" y="12956"/>
                </a:lnTo>
                <a:lnTo>
                  <a:pt x="11730" y="19996"/>
                </a:lnTo>
                <a:lnTo>
                  <a:pt x="0" y="28542"/>
                </a:lnTo>
                <a:close/>
              </a:path>
            </a:pathLst>
          </a:custGeom>
          <a:solidFill>
            <a:srgbClr val="FCE2B9"/>
          </a:solidFill>
        </p:spPr>
        <p:txBody>
          <a:bodyPr wrap="square" lIns="0" tIns="0" rIns="0" bIns="0" rtlCol="0">
            <a:noAutofit/>
          </a:bodyPr>
          <a:lstStyle/>
          <a:p>
            <a:endParaRPr/>
          </a:p>
        </p:txBody>
      </p:sp>
      <p:sp>
        <p:nvSpPr>
          <p:cNvPr id="88" name="object 88"/>
          <p:cNvSpPr/>
          <p:nvPr/>
        </p:nvSpPr>
        <p:spPr>
          <a:xfrm>
            <a:off x="6811011" y="2656110"/>
            <a:ext cx="127253" cy="28542"/>
          </a:xfrm>
          <a:custGeom>
            <a:avLst/>
            <a:gdLst/>
            <a:ahLst/>
            <a:cxnLst/>
            <a:rect l="l" t="t" r="r" b="b"/>
            <a:pathLst>
              <a:path w="127253" h="28542">
                <a:moveTo>
                  <a:pt x="0" y="28542"/>
                </a:moveTo>
                <a:lnTo>
                  <a:pt x="11730" y="19996"/>
                </a:lnTo>
                <a:lnTo>
                  <a:pt x="23883" y="12956"/>
                </a:lnTo>
                <a:lnTo>
                  <a:pt x="36289" y="7428"/>
                </a:lnTo>
                <a:lnTo>
                  <a:pt x="48775" y="3421"/>
                </a:lnTo>
                <a:lnTo>
                  <a:pt x="61170" y="942"/>
                </a:lnTo>
                <a:lnTo>
                  <a:pt x="73304" y="0"/>
                </a:lnTo>
                <a:lnTo>
                  <a:pt x="85005" y="600"/>
                </a:lnTo>
                <a:lnTo>
                  <a:pt x="96101" y="2752"/>
                </a:lnTo>
                <a:lnTo>
                  <a:pt x="106423" y="6463"/>
                </a:lnTo>
                <a:lnTo>
                  <a:pt x="115797" y="11740"/>
                </a:lnTo>
                <a:lnTo>
                  <a:pt x="124054" y="18591"/>
                </a:lnTo>
                <a:lnTo>
                  <a:pt x="127253" y="22065"/>
                </a:lnTo>
              </a:path>
            </a:pathLst>
          </a:custGeom>
          <a:ln w="12700">
            <a:solidFill>
              <a:srgbClr val="000000"/>
            </a:solidFill>
          </a:ln>
        </p:spPr>
        <p:txBody>
          <a:bodyPr wrap="square" lIns="0" tIns="0" rIns="0" bIns="0" rtlCol="0">
            <a:noAutofit/>
          </a:bodyPr>
          <a:lstStyle/>
          <a:p>
            <a:endParaRPr/>
          </a:p>
        </p:txBody>
      </p:sp>
      <p:sp>
        <p:nvSpPr>
          <p:cNvPr id="89" name="object 89"/>
          <p:cNvSpPr/>
          <p:nvPr/>
        </p:nvSpPr>
        <p:spPr>
          <a:xfrm>
            <a:off x="5757546" y="3141346"/>
            <a:ext cx="426719" cy="251205"/>
          </a:xfrm>
          <a:custGeom>
            <a:avLst/>
            <a:gdLst/>
            <a:ahLst/>
            <a:cxnLst/>
            <a:rect l="l" t="t" r="r" b="b"/>
            <a:pathLst>
              <a:path w="426719" h="251205">
                <a:moveTo>
                  <a:pt x="354329" y="224408"/>
                </a:moveTo>
                <a:lnTo>
                  <a:pt x="426719" y="251205"/>
                </a:lnTo>
                <a:lnTo>
                  <a:pt x="366902" y="202310"/>
                </a:lnTo>
                <a:lnTo>
                  <a:pt x="360552" y="213359"/>
                </a:lnTo>
                <a:lnTo>
                  <a:pt x="354329" y="224408"/>
                </a:lnTo>
                <a:close/>
              </a:path>
              <a:path w="426719" h="251205">
                <a:moveTo>
                  <a:pt x="426719" y="251205"/>
                </a:moveTo>
                <a:lnTo>
                  <a:pt x="335406" y="155066"/>
                </a:lnTo>
                <a:lnTo>
                  <a:pt x="352154" y="193889"/>
                </a:lnTo>
                <a:lnTo>
                  <a:pt x="12572" y="0"/>
                </a:lnTo>
                <a:lnTo>
                  <a:pt x="0" y="22097"/>
                </a:lnTo>
                <a:lnTo>
                  <a:pt x="339571" y="215982"/>
                </a:lnTo>
                <a:lnTo>
                  <a:pt x="297560" y="221233"/>
                </a:lnTo>
                <a:lnTo>
                  <a:pt x="426719" y="251205"/>
                </a:lnTo>
                <a:lnTo>
                  <a:pt x="354329" y="224408"/>
                </a:lnTo>
                <a:lnTo>
                  <a:pt x="360552" y="213359"/>
                </a:lnTo>
                <a:lnTo>
                  <a:pt x="366902" y="202310"/>
                </a:lnTo>
                <a:lnTo>
                  <a:pt x="426719" y="251205"/>
                </a:lnTo>
                <a:close/>
              </a:path>
            </a:pathLst>
          </a:custGeom>
          <a:solidFill>
            <a:srgbClr val="000000"/>
          </a:solidFill>
        </p:spPr>
        <p:txBody>
          <a:bodyPr wrap="square" lIns="0" tIns="0" rIns="0" bIns="0" rtlCol="0">
            <a:noAutofit/>
          </a:bodyPr>
          <a:lstStyle/>
          <a:p>
            <a:endParaRPr/>
          </a:p>
        </p:txBody>
      </p:sp>
      <p:sp>
        <p:nvSpPr>
          <p:cNvPr id="90" name="object 90"/>
          <p:cNvSpPr/>
          <p:nvPr/>
        </p:nvSpPr>
        <p:spPr>
          <a:xfrm>
            <a:off x="5757291" y="2881376"/>
            <a:ext cx="426974" cy="263398"/>
          </a:xfrm>
          <a:custGeom>
            <a:avLst/>
            <a:gdLst/>
            <a:ahLst/>
            <a:cxnLst/>
            <a:rect l="l" t="t" r="r" b="b"/>
            <a:pathLst>
              <a:path w="426974" h="263398">
                <a:moveTo>
                  <a:pt x="368173" y="50164"/>
                </a:moveTo>
                <a:lnTo>
                  <a:pt x="353686" y="58864"/>
                </a:lnTo>
                <a:lnTo>
                  <a:pt x="337693" y="98044"/>
                </a:lnTo>
                <a:lnTo>
                  <a:pt x="426974" y="0"/>
                </a:lnTo>
                <a:lnTo>
                  <a:pt x="368173" y="50164"/>
                </a:lnTo>
                <a:close/>
              </a:path>
              <a:path w="426974" h="263398">
                <a:moveTo>
                  <a:pt x="355092" y="28448"/>
                </a:moveTo>
                <a:lnTo>
                  <a:pt x="361587" y="39231"/>
                </a:lnTo>
                <a:lnTo>
                  <a:pt x="355092" y="28448"/>
                </a:lnTo>
                <a:lnTo>
                  <a:pt x="426974" y="0"/>
                </a:lnTo>
                <a:lnTo>
                  <a:pt x="298576" y="32765"/>
                </a:lnTo>
                <a:lnTo>
                  <a:pt x="340702" y="37088"/>
                </a:lnTo>
                <a:lnTo>
                  <a:pt x="0" y="241681"/>
                </a:lnTo>
                <a:lnTo>
                  <a:pt x="13081" y="263398"/>
                </a:lnTo>
                <a:lnTo>
                  <a:pt x="353686" y="58864"/>
                </a:lnTo>
                <a:lnTo>
                  <a:pt x="368173" y="50164"/>
                </a:lnTo>
                <a:lnTo>
                  <a:pt x="426974" y="0"/>
                </a:lnTo>
                <a:lnTo>
                  <a:pt x="355092" y="28448"/>
                </a:lnTo>
                <a:close/>
              </a:path>
            </a:pathLst>
          </a:custGeom>
          <a:solidFill>
            <a:srgbClr val="000000"/>
          </a:solidFill>
        </p:spPr>
        <p:txBody>
          <a:bodyPr wrap="square" lIns="0" tIns="0" rIns="0" bIns="0" rtlCol="0">
            <a:noAutofit/>
          </a:bodyPr>
          <a:lstStyle/>
          <a:p>
            <a:endParaRPr/>
          </a:p>
        </p:txBody>
      </p:sp>
      <p:sp>
        <p:nvSpPr>
          <p:cNvPr id="91" name="object 91"/>
          <p:cNvSpPr/>
          <p:nvPr/>
        </p:nvSpPr>
        <p:spPr>
          <a:xfrm>
            <a:off x="5171186" y="2878989"/>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solidFill>
            <a:srgbClr val="FCE2B9"/>
          </a:solidFill>
        </p:spPr>
        <p:txBody>
          <a:bodyPr wrap="square" lIns="0" tIns="0" rIns="0" bIns="0" rtlCol="0">
            <a:noAutofit/>
          </a:bodyPr>
          <a:lstStyle/>
          <a:p>
            <a:endParaRPr/>
          </a:p>
        </p:txBody>
      </p:sp>
      <p:sp>
        <p:nvSpPr>
          <p:cNvPr id="92" name="object 92"/>
          <p:cNvSpPr/>
          <p:nvPr/>
        </p:nvSpPr>
        <p:spPr>
          <a:xfrm>
            <a:off x="5171186" y="2878989"/>
            <a:ext cx="716800" cy="508609"/>
          </a:xfrm>
          <a:custGeom>
            <a:avLst/>
            <a:gdLst/>
            <a:ahLst/>
            <a:cxnLst/>
            <a:rect l="l" t="t" r="r" b="b"/>
            <a:pathLst>
              <a:path w="716800" h="508609">
                <a:moveTo>
                  <a:pt x="0" y="508609"/>
                </a:moveTo>
                <a:lnTo>
                  <a:pt x="716800" y="508609"/>
                </a:lnTo>
                <a:lnTo>
                  <a:pt x="716800" y="0"/>
                </a:lnTo>
                <a:lnTo>
                  <a:pt x="0" y="0"/>
                </a:lnTo>
                <a:lnTo>
                  <a:pt x="0" y="508609"/>
                </a:lnTo>
                <a:close/>
              </a:path>
            </a:pathLst>
          </a:custGeom>
          <a:ln w="12700">
            <a:solidFill>
              <a:srgbClr val="000000"/>
            </a:solidFill>
          </a:ln>
        </p:spPr>
        <p:txBody>
          <a:bodyPr wrap="square" lIns="0" tIns="0" rIns="0" bIns="0" rtlCol="0">
            <a:noAutofit/>
          </a:bodyPr>
          <a:lstStyle/>
          <a:p>
            <a:endParaRPr/>
          </a:p>
        </p:txBody>
      </p:sp>
      <p:sp>
        <p:nvSpPr>
          <p:cNvPr id="93" name="object 93"/>
          <p:cNvSpPr/>
          <p:nvPr/>
        </p:nvSpPr>
        <p:spPr>
          <a:xfrm>
            <a:off x="5216399" y="3151124"/>
            <a:ext cx="584073" cy="0"/>
          </a:xfrm>
          <a:custGeom>
            <a:avLst/>
            <a:gdLst/>
            <a:ahLst/>
            <a:cxnLst/>
            <a:rect l="l" t="t" r="r" b="b"/>
            <a:pathLst>
              <a:path w="584073">
                <a:moveTo>
                  <a:pt x="0" y="0"/>
                </a:moveTo>
                <a:lnTo>
                  <a:pt x="584073" y="0"/>
                </a:lnTo>
              </a:path>
            </a:pathLst>
          </a:custGeom>
          <a:ln w="12700">
            <a:solidFill>
              <a:srgbClr val="000000"/>
            </a:solidFill>
          </a:ln>
        </p:spPr>
        <p:txBody>
          <a:bodyPr wrap="square" lIns="0" tIns="0" rIns="0" bIns="0" rtlCol="0">
            <a:noAutofit/>
          </a:bodyPr>
          <a:lstStyle/>
          <a:p>
            <a:endParaRPr/>
          </a:p>
        </p:txBody>
      </p:sp>
      <p:sp>
        <p:nvSpPr>
          <p:cNvPr id="94" name="object 94"/>
          <p:cNvSpPr/>
          <p:nvPr/>
        </p:nvSpPr>
        <p:spPr>
          <a:xfrm>
            <a:off x="5693283" y="2878964"/>
            <a:ext cx="194690" cy="93599"/>
          </a:xfrm>
          <a:custGeom>
            <a:avLst/>
            <a:gdLst/>
            <a:ahLst/>
            <a:cxnLst/>
            <a:rect l="l" t="t" r="r" b="b"/>
            <a:pathLst>
              <a:path w="194690" h="93599">
                <a:moveTo>
                  <a:pt x="0" y="0"/>
                </a:moveTo>
                <a:lnTo>
                  <a:pt x="0" y="93599"/>
                </a:lnTo>
                <a:lnTo>
                  <a:pt x="194690" y="93599"/>
                </a:lnTo>
                <a:lnTo>
                  <a:pt x="193784" y="84505"/>
                </a:lnTo>
                <a:lnTo>
                  <a:pt x="191152" y="75741"/>
                </a:lnTo>
                <a:lnTo>
                  <a:pt x="186878" y="67258"/>
                </a:lnTo>
                <a:lnTo>
                  <a:pt x="181041" y="59096"/>
                </a:lnTo>
                <a:lnTo>
                  <a:pt x="173723" y="51294"/>
                </a:lnTo>
                <a:lnTo>
                  <a:pt x="165006" y="43891"/>
                </a:lnTo>
                <a:lnTo>
                  <a:pt x="154971" y="36927"/>
                </a:lnTo>
                <a:lnTo>
                  <a:pt x="143698" y="30439"/>
                </a:lnTo>
                <a:lnTo>
                  <a:pt x="131271" y="24469"/>
                </a:lnTo>
                <a:lnTo>
                  <a:pt x="117768" y="19054"/>
                </a:lnTo>
                <a:lnTo>
                  <a:pt x="103273" y="14233"/>
                </a:lnTo>
                <a:lnTo>
                  <a:pt x="87866" y="10047"/>
                </a:lnTo>
                <a:lnTo>
                  <a:pt x="71628" y="6535"/>
                </a:lnTo>
                <a:lnTo>
                  <a:pt x="54642" y="3734"/>
                </a:lnTo>
                <a:lnTo>
                  <a:pt x="36987" y="1686"/>
                </a:lnTo>
                <a:lnTo>
                  <a:pt x="18746" y="428"/>
                </a:lnTo>
                <a:lnTo>
                  <a:pt x="0" y="0"/>
                </a:lnTo>
                <a:close/>
              </a:path>
            </a:pathLst>
          </a:custGeom>
          <a:solidFill>
            <a:srgbClr val="FCE2B9"/>
          </a:solidFill>
        </p:spPr>
        <p:txBody>
          <a:bodyPr wrap="square" lIns="0" tIns="0" rIns="0" bIns="0" rtlCol="0">
            <a:noAutofit/>
          </a:bodyPr>
          <a:lstStyle/>
          <a:p>
            <a:endParaRPr/>
          </a:p>
        </p:txBody>
      </p:sp>
      <p:sp>
        <p:nvSpPr>
          <p:cNvPr id="95" name="object 95"/>
          <p:cNvSpPr/>
          <p:nvPr/>
        </p:nvSpPr>
        <p:spPr>
          <a:xfrm>
            <a:off x="5693283" y="2878964"/>
            <a:ext cx="194690" cy="93599"/>
          </a:xfrm>
          <a:custGeom>
            <a:avLst/>
            <a:gdLst/>
            <a:ahLst/>
            <a:cxnLst/>
            <a:rect l="l" t="t" r="r" b="b"/>
            <a:pathLst>
              <a:path w="194690" h="93599">
                <a:moveTo>
                  <a:pt x="0" y="0"/>
                </a:moveTo>
                <a:lnTo>
                  <a:pt x="18746" y="428"/>
                </a:lnTo>
                <a:lnTo>
                  <a:pt x="36987" y="1686"/>
                </a:lnTo>
                <a:lnTo>
                  <a:pt x="54642" y="3734"/>
                </a:lnTo>
                <a:lnTo>
                  <a:pt x="71628" y="6535"/>
                </a:lnTo>
                <a:lnTo>
                  <a:pt x="87866" y="10047"/>
                </a:lnTo>
                <a:lnTo>
                  <a:pt x="103273" y="14233"/>
                </a:lnTo>
                <a:lnTo>
                  <a:pt x="117768" y="19054"/>
                </a:lnTo>
                <a:lnTo>
                  <a:pt x="131271" y="24469"/>
                </a:lnTo>
                <a:lnTo>
                  <a:pt x="143698" y="30439"/>
                </a:lnTo>
                <a:lnTo>
                  <a:pt x="154971" y="36927"/>
                </a:lnTo>
                <a:lnTo>
                  <a:pt x="165006" y="43891"/>
                </a:lnTo>
                <a:lnTo>
                  <a:pt x="173723" y="51294"/>
                </a:lnTo>
                <a:lnTo>
                  <a:pt x="181041" y="59096"/>
                </a:lnTo>
                <a:lnTo>
                  <a:pt x="186878" y="67258"/>
                </a:lnTo>
                <a:lnTo>
                  <a:pt x="191152" y="75741"/>
                </a:lnTo>
                <a:lnTo>
                  <a:pt x="193784" y="84505"/>
                </a:lnTo>
                <a:lnTo>
                  <a:pt x="194690" y="93599"/>
                </a:lnTo>
              </a:path>
            </a:pathLst>
          </a:custGeom>
          <a:ln w="12700">
            <a:solidFill>
              <a:srgbClr val="000000"/>
            </a:solidFill>
          </a:ln>
        </p:spPr>
        <p:txBody>
          <a:bodyPr wrap="square" lIns="0" tIns="0" rIns="0" bIns="0" rtlCol="0">
            <a:noAutofit/>
          </a:bodyPr>
          <a:lstStyle/>
          <a:p>
            <a:endParaRPr/>
          </a:p>
        </p:txBody>
      </p:sp>
      <p:sp>
        <p:nvSpPr>
          <p:cNvPr id="96" name="object 96"/>
          <p:cNvSpPr/>
          <p:nvPr/>
        </p:nvSpPr>
        <p:spPr>
          <a:xfrm>
            <a:off x="5736614" y="2887346"/>
            <a:ext cx="42013" cy="90677"/>
          </a:xfrm>
          <a:custGeom>
            <a:avLst/>
            <a:gdLst/>
            <a:ahLst/>
            <a:cxnLst/>
            <a:rect l="l" t="t" r="r" b="b"/>
            <a:pathLst>
              <a:path w="42013" h="90677">
                <a:moveTo>
                  <a:pt x="3278" y="90677"/>
                </a:moveTo>
                <a:lnTo>
                  <a:pt x="42013" y="83184"/>
                </a:lnTo>
                <a:lnTo>
                  <a:pt x="24360" y="0"/>
                </a:lnTo>
                <a:lnTo>
                  <a:pt x="18675" y="2608"/>
                </a:lnTo>
                <a:lnTo>
                  <a:pt x="12234" y="8787"/>
                </a:lnTo>
                <a:lnTo>
                  <a:pt x="7055" y="17736"/>
                </a:lnTo>
                <a:lnTo>
                  <a:pt x="3229" y="29073"/>
                </a:lnTo>
                <a:lnTo>
                  <a:pt x="846" y="42418"/>
                </a:lnTo>
                <a:lnTo>
                  <a:pt x="0" y="57388"/>
                </a:lnTo>
                <a:lnTo>
                  <a:pt x="780" y="73601"/>
                </a:lnTo>
                <a:lnTo>
                  <a:pt x="3278" y="90677"/>
                </a:lnTo>
                <a:close/>
              </a:path>
            </a:pathLst>
          </a:custGeom>
          <a:solidFill>
            <a:srgbClr val="FCE2B9"/>
          </a:solidFill>
        </p:spPr>
        <p:txBody>
          <a:bodyPr wrap="square" lIns="0" tIns="0" rIns="0" bIns="0" rtlCol="0">
            <a:noAutofit/>
          </a:bodyPr>
          <a:lstStyle/>
          <a:p>
            <a:endParaRPr/>
          </a:p>
        </p:txBody>
      </p:sp>
      <p:sp>
        <p:nvSpPr>
          <p:cNvPr id="97" name="object 97"/>
          <p:cNvSpPr/>
          <p:nvPr/>
        </p:nvSpPr>
        <p:spPr>
          <a:xfrm>
            <a:off x="5736613" y="2887346"/>
            <a:ext cx="24360" cy="90677"/>
          </a:xfrm>
          <a:custGeom>
            <a:avLst/>
            <a:gdLst/>
            <a:ahLst/>
            <a:cxnLst/>
            <a:rect l="l" t="t" r="r" b="b"/>
            <a:pathLst>
              <a:path w="24360" h="90677">
                <a:moveTo>
                  <a:pt x="3278" y="90677"/>
                </a:moveTo>
                <a:lnTo>
                  <a:pt x="780" y="73601"/>
                </a:lnTo>
                <a:lnTo>
                  <a:pt x="0" y="57388"/>
                </a:lnTo>
                <a:lnTo>
                  <a:pt x="846" y="42418"/>
                </a:lnTo>
                <a:lnTo>
                  <a:pt x="3229" y="29073"/>
                </a:lnTo>
                <a:lnTo>
                  <a:pt x="7055" y="17736"/>
                </a:lnTo>
                <a:lnTo>
                  <a:pt x="12234" y="8787"/>
                </a:lnTo>
                <a:lnTo>
                  <a:pt x="18675" y="2608"/>
                </a:lnTo>
                <a:lnTo>
                  <a:pt x="24360" y="0"/>
                </a:lnTo>
              </a:path>
            </a:pathLst>
          </a:custGeom>
          <a:ln w="12699">
            <a:solidFill>
              <a:srgbClr val="000000"/>
            </a:solidFill>
          </a:ln>
        </p:spPr>
        <p:txBody>
          <a:bodyPr wrap="square" lIns="0" tIns="0" rIns="0" bIns="0" rtlCol="0">
            <a:noAutofit/>
          </a:bodyPr>
          <a:lstStyle/>
          <a:p>
            <a:endParaRPr/>
          </a:p>
        </p:txBody>
      </p:sp>
      <p:sp>
        <p:nvSpPr>
          <p:cNvPr id="98" name="object 98"/>
          <p:cNvSpPr/>
          <p:nvPr/>
        </p:nvSpPr>
        <p:spPr>
          <a:xfrm>
            <a:off x="5752720" y="2945544"/>
            <a:ext cx="127253" cy="87851"/>
          </a:xfrm>
          <a:custGeom>
            <a:avLst/>
            <a:gdLst/>
            <a:ahLst/>
            <a:cxnLst/>
            <a:rect l="l" t="t" r="r" b="b"/>
            <a:pathLst>
              <a:path w="127253" h="87851">
                <a:moveTo>
                  <a:pt x="0" y="28542"/>
                </a:moveTo>
                <a:lnTo>
                  <a:pt x="48005" y="87851"/>
                </a:lnTo>
                <a:lnTo>
                  <a:pt x="127253" y="22065"/>
                </a:lnTo>
                <a:lnTo>
                  <a:pt x="124054" y="18591"/>
                </a:lnTo>
                <a:lnTo>
                  <a:pt x="115797" y="11740"/>
                </a:lnTo>
                <a:lnTo>
                  <a:pt x="106423" y="6463"/>
                </a:lnTo>
                <a:lnTo>
                  <a:pt x="96101" y="2752"/>
                </a:lnTo>
                <a:lnTo>
                  <a:pt x="85005" y="600"/>
                </a:lnTo>
                <a:lnTo>
                  <a:pt x="73304" y="0"/>
                </a:lnTo>
                <a:lnTo>
                  <a:pt x="61170" y="942"/>
                </a:lnTo>
                <a:lnTo>
                  <a:pt x="48775" y="3421"/>
                </a:lnTo>
                <a:lnTo>
                  <a:pt x="36289" y="7428"/>
                </a:lnTo>
                <a:lnTo>
                  <a:pt x="23883" y="12956"/>
                </a:lnTo>
                <a:lnTo>
                  <a:pt x="11730" y="19996"/>
                </a:lnTo>
                <a:lnTo>
                  <a:pt x="0" y="28542"/>
                </a:lnTo>
                <a:close/>
              </a:path>
            </a:pathLst>
          </a:custGeom>
          <a:solidFill>
            <a:srgbClr val="FCE2B9"/>
          </a:solidFill>
        </p:spPr>
        <p:txBody>
          <a:bodyPr wrap="square" lIns="0" tIns="0" rIns="0" bIns="0" rtlCol="0">
            <a:noAutofit/>
          </a:bodyPr>
          <a:lstStyle/>
          <a:p>
            <a:endParaRPr/>
          </a:p>
        </p:txBody>
      </p:sp>
      <p:sp>
        <p:nvSpPr>
          <p:cNvPr id="99" name="object 99"/>
          <p:cNvSpPr/>
          <p:nvPr/>
        </p:nvSpPr>
        <p:spPr>
          <a:xfrm>
            <a:off x="5752720" y="2945543"/>
            <a:ext cx="127253" cy="28542"/>
          </a:xfrm>
          <a:custGeom>
            <a:avLst/>
            <a:gdLst/>
            <a:ahLst/>
            <a:cxnLst/>
            <a:rect l="l" t="t" r="r" b="b"/>
            <a:pathLst>
              <a:path w="127253" h="28542">
                <a:moveTo>
                  <a:pt x="0" y="28542"/>
                </a:moveTo>
                <a:lnTo>
                  <a:pt x="11730" y="19996"/>
                </a:lnTo>
                <a:lnTo>
                  <a:pt x="23883" y="12956"/>
                </a:lnTo>
                <a:lnTo>
                  <a:pt x="36289" y="7428"/>
                </a:lnTo>
                <a:lnTo>
                  <a:pt x="48775" y="3421"/>
                </a:lnTo>
                <a:lnTo>
                  <a:pt x="61170" y="942"/>
                </a:lnTo>
                <a:lnTo>
                  <a:pt x="73304" y="0"/>
                </a:lnTo>
                <a:lnTo>
                  <a:pt x="85005" y="600"/>
                </a:lnTo>
                <a:lnTo>
                  <a:pt x="96101" y="2752"/>
                </a:lnTo>
                <a:lnTo>
                  <a:pt x="106423" y="6463"/>
                </a:lnTo>
                <a:lnTo>
                  <a:pt x="115797" y="11740"/>
                </a:lnTo>
                <a:lnTo>
                  <a:pt x="124054" y="18591"/>
                </a:lnTo>
                <a:lnTo>
                  <a:pt x="127253" y="22065"/>
                </a:lnTo>
              </a:path>
            </a:pathLst>
          </a:custGeom>
          <a:ln w="12700">
            <a:solidFill>
              <a:srgbClr val="000000"/>
            </a:solidFill>
          </a:ln>
        </p:spPr>
        <p:txBody>
          <a:bodyPr wrap="square" lIns="0" tIns="0" rIns="0" bIns="0" rtlCol="0">
            <a:noAutofit/>
          </a:bodyPr>
          <a:lstStyle/>
          <a:p>
            <a:endParaRPr/>
          </a:p>
        </p:txBody>
      </p:sp>
      <p:sp>
        <p:nvSpPr>
          <p:cNvPr id="100" name="object 100"/>
          <p:cNvSpPr/>
          <p:nvPr/>
        </p:nvSpPr>
        <p:spPr>
          <a:xfrm>
            <a:off x="1905000" y="2536825"/>
            <a:ext cx="6705600" cy="1162050"/>
          </a:xfrm>
          <a:custGeom>
            <a:avLst/>
            <a:gdLst/>
            <a:ahLst/>
            <a:cxnLst/>
            <a:rect l="l" t="t" r="r" b="b"/>
            <a:pathLst>
              <a:path w="6705600" h="1162050">
                <a:moveTo>
                  <a:pt x="0" y="1162050"/>
                </a:moveTo>
                <a:lnTo>
                  <a:pt x="6705600" y="1162050"/>
                </a:lnTo>
                <a:lnTo>
                  <a:pt x="6705600" y="0"/>
                </a:lnTo>
                <a:lnTo>
                  <a:pt x="0" y="0"/>
                </a:lnTo>
                <a:lnTo>
                  <a:pt x="0" y="1162050"/>
                </a:lnTo>
                <a:close/>
              </a:path>
            </a:pathLst>
          </a:custGeom>
          <a:ln w="25400">
            <a:solidFill>
              <a:srgbClr val="000000"/>
            </a:solidFill>
          </a:ln>
        </p:spPr>
        <p:txBody>
          <a:bodyPr wrap="square" lIns="0" tIns="0" rIns="0" bIns="0" rtlCol="0">
            <a:noAutofit/>
          </a:bodyPr>
          <a:lstStyle/>
          <a:p>
            <a:endParaRPr/>
          </a:p>
        </p:txBody>
      </p:sp>
      <p:sp>
        <p:nvSpPr>
          <p:cNvPr id="101" name="object 101"/>
          <p:cNvSpPr/>
          <p:nvPr/>
        </p:nvSpPr>
        <p:spPr>
          <a:xfrm>
            <a:off x="1905000" y="3719449"/>
            <a:ext cx="6705600" cy="1162050"/>
          </a:xfrm>
          <a:custGeom>
            <a:avLst/>
            <a:gdLst/>
            <a:ahLst/>
            <a:cxnLst/>
            <a:rect l="l" t="t" r="r" b="b"/>
            <a:pathLst>
              <a:path w="6705600" h="1162050">
                <a:moveTo>
                  <a:pt x="0" y="1162050"/>
                </a:moveTo>
                <a:lnTo>
                  <a:pt x="6705600" y="1162050"/>
                </a:lnTo>
                <a:lnTo>
                  <a:pt x="6705600" y="0"/>
                </a:lnTo>
                <a:lnTo>
                  <a:pt x="0" y="0"/>
                </a:lnTo>
                <a:lnTo>
                  <a:pt x="0" y="1162050"/>
                </a:lnTo>
                <a:close/>
              </a:path>
            </a:pathLst>
          </a:custGeom>
          <a:ln w="25400">
            <a:solidFill>
              <a:srgbClr val="000000"/>
            </a:solidFill>
          </a:ln>
        </p:spPr>
        <p:txBody>
          <a:bodyPr wrap="square" lIns="0" tIns="0" rIns="0" bIns="0" rtlCol="0">
            <a:noAutofit/>
          </a:bodyPr>
          <a:lstStyle/>
          <a:p>
            <a:endParaRPr/>
          </a:p>
        </p:txBody>
      </p:sp>
      <p:sp>
        <p:nvSpPr>
          <p:cNvPr id="102" name="object 102"/>
          <p:cNvSpPr/>
          <p:nvPr/>
        </p:nvSpPr>
        <p:spPr>
          <a:xfrm>
            <a:off x="4354068" y="5501640"/>
            <a:ext cx="381000" cy="381000"/>
          </a:xfrm>
          <a:prstGeom prst="rect">
            <a:avLst/>
          </a:prstGeom>
          <a:blipFill>
            <a:blip r:embed="rId2" cstate="print"/>
            <a:stretch>
              <a:fillRect/>
            </a:stretch>
          </a:blipFill>
        </p:spPr>
        <p:txBody>
          <a:bodyPr wrap="square" lIns="0" tIns="0" rIns="0" bIns="0" rtlCol="0">
            <a:noAutofit/>
          </a:bodyPr>
          <a:lstStyle/>
          <a:p>
            <a:endParaRPr/>
          </a:p>
        </p:txBody>
      </p:sp>
      <p:sp>
        <p:nvSpPr>
          <p:cNvPr id="103" name="object 103"/>
          <p:cNvSpPr/>
          <p:nvPr/>
        </p:nvSpPr>
        <p:spPr>
          <a:xfrm>
            <a:off x="4421125" y="5501640"/>
            <a:ext cx="377951" cy="381000"/>
          </a:xfrm>
          <a:prstGeom prst="rect">
            <a:avLst/>
          </a:prstGeom>
          <a:blipFill>
            <a:blip r:embed="rId2" cstate="print"/>
            <a:stretch>
              <a:fillRect/>
            </a:stretch>
          </a:blipFill>
        </p:spPr>
        <p:txBody>
          <a:bodyPr wrap="square" lIns="0" tIns="0" rIns="0" bIns="0" rtlCol="0">
            <a:noAutofit/>
          </a:bodyPr>
          <a:lstStyle/>
          <a:p>
            <a:endParaRPr/>
          </a:p>
        </p:txBody>
      </p:sp>
      <p:sp>
        <p:nvSpPr>
          <p:cNvPr id="104" name="object 104"/>
          <p:cNvSpPr/>
          <p:nvPr/>
        </p:nvSpPr>
        <p:spPr>
          <a:xfrm>
            <a:off x="5729987" y="6185852"/>
            <a:ext cx="586993" cy="50800"/>
          </a:xfrm>
          <a:custGeom>
            <a:avLst/>
            <a:gdLst/>
            <a:ahLst/>
            <a:cxnLst/>
            <a:rect l="l" t="t" r="r" b="b"/>
            <a:pathLst>
              <a:path w="586993" h="50800">
                <a:moveTo>
                  <a:pt x="510793" y="12700"/>
                </a:moveTo>
                <a:lnTo>
                  <a:pt x="510793" y="25400"/>
                </a:lnTo>
                <a:lnTo>
                  <a:pt x="586993" y="12700"/>
                </a:lnTo>
                <a:lnTo>
                  <a:pt x="510793" y="0"/>
                </a:lnTo>
                <a:lnTo>
                  <a:pt x="510793" y="12700"/>
                </a:lnTo>
                <a:close/>
              </a:path>
              <a:path w="586993" h="50800">
                <a:moveTo>
                  <a:pt x="586993" y="12700"/>
                </a:moveTo>
                <a:lnTo>
                  <a:pt x="459993" y="-25399"/>
                </a:lnTo>
                <a:lnTo>
                  <a:pt x="493860" y="0"/>
                </a:lnTo>
                <a:lnTo>
                  <a:pt x="0" y="0"/>
                </a:lnTo>
                <a:lnTo>
                  <a:pt x="0" y="25400"/>
                </a:lnTo>
                <a:lnTo>
                  <a:pt x="493860" y="25399"/>
                </a:lnTo>
                <a:lnTo>
                  <a:pt x="459993" y="50800"/>
                </a:lnTo>
                <a:lnTo>
                  <a:pt x="586993" y="12700"/>
                </a:lnTo>
                <a:lnTo>
                  <a:pt x="510793" y="25400"/>
                </a:lnTo>
                <a:lnTo>
                  <a:pt x="510793" y="0"/>
                </a:lnTo>
                <a:lnTo>
                  <a:pt x="586993" y="12700"/>
                </a:lnTo>
                <a:close/>
              </a:path>
            </a:pathLst>
          </a:custGeom>
          <a:solidFill>
            <a:srgbClr val="000000"/>
          </a:solidFill>
        </p:spPr>
        <p:txBody>
          <a:bodyPr wrap="square" lIns="0" tIns="0" rIns="0" bIns="0" rtlCol="0">
            <a:noAutofit/>
          </a:bodyPr>
          <a:lstStyle/>
          <a:p>
            <a:endParaRPr/>
          </a:p>
        </p:txBody>
      </p:sp>
      <p:sp>
        <p:nvSpPr>
          <p:cNvPr id="105" name="object 105"/>
          <p:cNvSpPr/>
          <p:nvPr/>
        </p:nvSpPr>
        <p:spPr>
          <a:xfrm>
            <a:off x="6961251" y="5735815"/>
            <a:ext cx="433704" cy="617664"/>
          </a:xfrm>
          <a:custGeom>
            <a:avLst/>
            <a:gdLst/>
            <a:ahLst/>
            <a:cxnLst/>
            <a:rect l="l" t="t" r="r" b="b"/>
            <a:pathLst>
              <a:path w="433704" h="617664">
                <a:moveTo>
                  <a:pt x="0" y="603186"/>
                </a:moveTo>
                <a:lnTo>
                  <a:pt x="20827" y="617664"/>
                </a:lnTo>
                <a:lnTo>
                  <a:pt x="391073" y="83711"/>
                </a:lnTo>
                <a:lnTo>
                  <a:pt x="400685" y="69849"/>
                </a:lnTo>
                <a:lnTo>
                  <a:pt x="433704" y="0"/>
                </a:lnTo>
                <a:lnTo>
                  <a:pt x="330073" y="82651"/>
                </a:lnTo>
                <a:lnTo>
                  <a:pt x="379857" y="55371"/>
                </a:lnTo>
                <a:lnTo>
                  <a:pt x="390271" y="62610"/>
                </a:lnTo>
                <a:lnTo>
                  <a:pt x="370205" y="69291"/>
                </a:lnTo>
                <a:lnTo>
                  <a:pt x="0" y="603186"/>
                </a:lnTo>
                <a:close/>
              </a:path>
              <a:path w="433704" h="617664">
                <a:moveTo>
                  <a:pt x="379857" y="55371"/>
                </a:moveTo>
                <a:lnTo>
                  <a:pt x="330073" y="82651"/>
                </a:lnTo>
                <a:lnTo>
                  <a:pt x="370205" y="69291"/>
                </a:lnTo>
                <a:lnTo>
                  <a:pt x="390271" y="62610"/>
                </a:lnTo>
                <a:lnTo>
                  <a:pt x="379857" y="55371"/>
                </a:lnTo>
                <a:close/>
              </a:path>
              <a:path w="433704" h="617664">
                <a:moveTo>
                  <a:pt x="400685" y="69849"/>
                </a:moveTo>
                <a:lnTo>
                  <a:pt x="391073" y="83711"/>
                </a:lnTo>
                <a:lnTo>
                  <a:pt x="392684" y="126072"/>
                </a:lnTo>
                <a:lnTo>
                  <a:pt x="433704" y="0"/>
                </a:lnTo>
                <a:lnTo>
                  <a:pt x="400685" y="69849"/>
                </a:lnTo>
                <a:close/>
              </a:path>
            </a:pathLst>
          </a:custGeom>
          <a:solidFill>
            <a:srgbClr val="000000"/>
          </a:solidFill>
        </p:spPr>
        <p:txBody>
          <a:bodyPr wrap="square" lIns="0" tIns="0" rIns="0" bIns="0" rtlCol="0">
            <a:noAutofit/>
          </a:bodyPr>
          <a:lstStyle/>
          <a:p>
            <a:endParaRPr/>
          </a:p>
        </p:txBody>
      </p:sp>
      <p:sp>
        <p:nvSpPr>
          <p:cNvPr id="106" name="object 106"/>
          <p:cNvSpPr/>
          <p:nvPr/>
        </p:nvSpPr>
        <p:spPr>
          <a:xfrm>
            <a:off x="6822060" y="5659120"/>
            <a:ext cx="586993" cy="50800"/>
          </a:xfrm>
          <a:custGeom>
            <a:avLst/>
            <a:gdLst/>
            <a:ahLst/>
            <a:cxnLst/>
            <a:rect l="l" t="t" r="r" b="b"/>
            <a:pathLst>
              <a:path w="586993" h="50800">
                <a:moveTo>
                  <a:pt x="510793" y="12699"/>
                </a:moveTo>
                <a:lnTo>
                  <a:pt x="510793" y="25399"/>
                </a:lnTo>
                <a:lnTo>
                  <a:pt x="586993" y="12699"/>
                </a:lnTo>
                <a:lnTo>
                  <a:pt x="510793" y="0"/>
                </a:lnTo>
                <a:lnTo>
                  <a:pt x="510793" y="12699"/>
                </a:lnTo>
                <a:close/>
              </a:path>
              <a:path w="586993" h="50800">
                <a:moveTo>
                  <a:pt x="586993" y="12699"/>
                </a:moveTo>
                <a:lnTo>
                  <a:pt x="459993" y="-25400"/>
                </a:lnTo>
                <a:lnTo>
                  <a:pt x="493860" y="0"/>
                </a:lnTo>
                <a:lnTo>
                  <a:pt x="0" y="0"/>
                </a:lnTo>
                <a:lnTo>
                  <a:pt x="0" y="25399"/>
                </a:lnTo>
                <a:lnTo>
                  <a:pt x="493860" y="25399"/>
                </a:lnTo>
                <a:lnTo>
                  <a:pt x="459993" y="50799"/>
                </a:lnTo>
                <a:lnTo>
                  <a:pt x="586993" y="12699"/>
                </a:lnTo>
                <a:lnTo>
                  <a:pt x="510793" y="25399"/>
                </a:lnTo>
                <a:lnTo>
                  <a:pt x="510793" y="0"/>
                </a:lnTo>
                <a:lnTo>
                  <a:pt x="586993" y="12699"/>
                </a:lnTo>
                <a:close/>
              </a:path>
            </a:pathLst>
          </a:custGeom>
          <a:solidFill>
            <a:srgbClr val="000000"/>
          </a:solidFill>
        </p:spPr>
        <p:txBody>
          <a:bodyPr wrap="square" lIns="0" tIns="0" rIns="0" bIns="0" rtlCol="0">
            <a:noAutofit/>
          </a:bodyPr>
          <a:lstStyle/>
          <a:p>
            <a:endParaRPr/>
          </a:p>
        </p:txBody>
      </p:sp>
      <p:sp>
        <p:nvSpPr>
          <p:cNvPr id="107" name="object 107"/>
          <p:cNvSpPr/>
          <p:nvPr/>
        </p:nvSpPr>
        <p:spPr>
          <a:xfrm>
            <a:off x="6920103" y="5085970"/>
            <a:ext cx="474852" cy="508317"/>
          </a:xfrm>
          <a:custGeom>
            <a:avLst/>
            <a:gdLst/>
            <a:ahLst/>
            <a:cxnLst/>
            <a:rect l="l" t="t" r="r" b="b"/>
            <a:pathLst>
              <a:path w="474852" h="508317">
                <a:moveTo>
                  <a:pt x="432181" y="443864"/>
                </a:moveTo>
                <a:lnTo>
                  <a:pt x="474852" y="508317"/>
                </a:lnTo>
                <a:lnTo>
                  <a:pt x="416179" y="389381"/>
                </a:lnTo>
                <a:lnTo>
                  <a:pt x="420661" y="431504"/>
                </a:lnTo>
                <a:lnTo>
                  <a:pt x="432181" y="443864"/>
                </a:lnTo>
                <a:close/>
              </a:path>
              <a:path w="474852" h="508317">
                <a:moveTo>
                  <a:pt x="413638" y="461263"/>
                </a:moveTo>
                <a:lnTo>
                  <a:pt x="474852" y="508317"/>
                </a:lnTo>
                <a:lnTo>
                  <a:pt x="422853" y="452617"/>
                </a:lnTo>
                <a:lnTo>
                  <a:pt x="413638" y="461263"/>
                </a:lnTo>
                <a:close/>
              </a:path>
              <a:path w="474852" h="508317">
                <a:moveTo>
                  <a:pt x="422853" y="452617"/>
                </a:moveTo>
                <a:lnTo>
                  <a:pt x="474852" y="508317"/>
                </a:lnTo>
                <a:lnTo>
                  <a:pt x="432181" y="443864"/>
                </a:lnTo>
                <a:lnTo>
                  <a:pt x="420661" y="431504"/>
                </a:lnTo>
                <a:lnTo>
                  <a:pt x="18542" y="0"/>
                </a:lnTo>
                <a:lnTo>
                  <a:pt x="0" y="17271"/>
                </a:lnTo>
                <a:lnTo>
                  <a:pt x="402083" y="448860"/>
                </a:lnTo>
                <a:lnTo>
                  <a:pt x="360425" y="441324"/>
                </a:lnTo>
                <a:lnTo>
                  <a:pt x="474852" y="508317"/>
                </a:lnTo>
                <a:lnTo>
                  <a:pt x="413638" y="461263"/>
                </a:lnTo>
                <a:lnTo>
                  <a:pt x="422853" y="452617"/>
                </a:lnTo>
                <a:close/>
              </a:path>
            </a:pathLst>
          </a:custGeom>
          <a:solidFill>
            <a:srgbClr val="000000"/>
          </a:solidFill>
        </p:spPr>
        <p:txBody>
          <a:bodyPr wrap="square" lIns="0" tIns="0" rIns="0" bIns="0" rtlCol="0">
            <a:noAutofit/>
          </a:bodyPr>
          <a:lstStyle/>
          <a:p>
            <a:endParaRPr/>
          </a:p>
        </p:txBody>
      </p:sp>
      <p:sp>
        <p:nvSpPr>
          <p:cNvPr id="108" name="object 108"/>
          <p:cNvSpPr/>
          <p:nvPr/>
        </p:nvSpPr>
        <p:spPr>
          <a:xfrm>
            <a:off x="7423150" y="5456440"/>
            <a:ext cx="716800" cy="457822"/>
          </a:xfrm>
          <a:custGeom>
            <a:avLst/>
            <a:gdLst/>
            <a:ahLst/>
            <a:cxnLst/>
            <a:rect l="l" t="t" r="r" b="b"/>
            <a:pathLst>
              <a:path w="716800" h="457822">
                <a:moveTo>
                  <a:pt x="0" y="457822"/>
                </a:moveTo>
                <a:lnTo>
                  <a:pt x="716800" y="457822"/>
                </a:lnTo>
                <a:lnTo>
                  <a:pt x="716800" y="0"/>
                </a:lnTo>
                <a:lnTo>
                  <a:pt x="0" y="0"/>
                </a:lnTo>
                <a:lnTo>
                  <a:pt x="0" y="457822"/>
                </a:lnTo>
                <a:close/>
              </a:path>
            </a:pathLst>
          </a:custGeom>
          <a:solidFill>
            <a:srgbClr val="FCE2B9"/>
          </a:solidFill>
        </p:spPr>
        <p:txBody>
          <a:bodyPr wrap="square" lIns="0" tIns="0" rIns="0" bIns="0" rtlCol="0">
            <a:noAutofit/>
          </a:bodyPr>
          <a:lstStyle/>
          <a:p>
            <a:endParaRPr/>
          </a:p>
        </p:txBody>
      </p:sp>
      <p:sp>
        <p:nvSpPr>
          <p:cNvPr id="109" name="object 109"/>
          <p:cNvSpPr/>
          <p:nvPr/>
        </p:nvSpPr>
        <p:spPr>
          <a:xfrm>
            <a:off x="7423150" y="5456440"/>
            <a:ext cx="716800" cy="457822"/>
          </a:xfrm>
          <a:custGeom>
            <a:avLst/>
            <a:gdLst/>
            <a:ahLst/>
            <a:cxnLst/>
            <a:rect l="l" t="t" r="r" b="b"/>
            <a:pathLst>
              <a:path w="716800" h="457822">
                <a:moveTo>
                  <a:pt x="0" y="457822"/>
                </a:moveTo>
                <a:lnTo>
                  <a:pt x="716800" y="457822"/>
                </a:lnTo>
                <a:lnTo>
                  <a:pt x="716800" y="0"/>
                </a:lnTo>
                <a:lnTo>
                  <a:pt x="0" y="0"/>
                </a:lnTo>
                <a:lnTo>
                  <a:pt x="0" y="457822"/>
                </a:lnTo>
                <a:close/>
              </a:path>
            </a:pathLst>
          </a:custGeom>
          <a:ln w="12700">
            <a:solidFill>
              <a:srgbClr val="000000"/>
            </a:solidFill>
          </a:ln>
        </p:spPr>
        <p:txBody>
          <a:bodyPr wrap="square" lIns="0" tIns="0" rIns="0" bIns="0" rtlCol="0">
            <a:noAutofit/>
          </a:bodyPr>
          <a:lstStyle/>
          <a:p>
            <a:endParaRPr/>
          </a:p>
        </p:txBody>
      </p:sp>
      <p:sp>
        <p:nvSpPr>
          <p:cNvPr id="110" name="object 110"/>
          <p:cNvSpPr/>
          <p:nvPr/>
        </p:nvSpPr>
        <p:spPr>
          <a:xfrm>
            <a:off x="7468363" y="5669356"/>
            <a:ext cx="584199" cy="0"/>
          </a:xfrm>
          <a:custGeom>
            <a:avLst/>
            <a:gdLst/>
            <a:ahLst/>
            <a:cxnLst/>
            <a:rect l="l" t="t" r="r" b="b"/>
            <a:pathLst>
              <a:path w="584199">
                <a:moveTo>
                  <a:pt x="0" y="0"/>
                </a:moveTo>
                <a:lnTo>
                  <a:pt x="584199" y="0"/>
                </a:lnTo>
              </a:path>
            </a:pathLst>
          </a:custGeom>
          <a:ln w="12700">
            <a:solidFill>
              <a:srgbClr val="000000"/>
            </a:solidFill>
          </a:ln>
        </p:spPr>
        <p:txBody>
          <a:bodyPr wrap="square" lIns="0" tIns="0" rIns="0" bIns="0" rtlCol="0">
            <a:noAutofit/>
          </a:bodyPr>
          <a:lstStyle/>
          <a:p>
            <a:endParaRPr/>
          </a:p>
        </p:txBody>
      </p:sp>
      <p:sp>
        <p:nvSpPr>
          <p:cNvPr id="111" name="object 111"/>
          <p:cNvSpPr/>
          <p:nvPr/>
        </p:nvSpPr>
        <p:spPr>
          <a:xfrm>
            <a:off x="7945248" y="5456428"/>
            <a:ext cx="194691" cy="84962"/>
          </a:xfrm>
          <a:custGeom>
            <a:avLst/>
            <a:gdLst/>
            <a:ahLst/>
            <a:cxnLst/>
            <a:rect l="l" t="t" r="r" b="b"/>
            <a:pathLst>
              <a:path w="194691" h="84962">
                <a:moveTo>
                  <a:pt x="0" y="0"/>
                </a:moveTo>
                <a:lnTo>
                  <a:pt x="0" y="84963"/>
                </a:lnTo>
                <a:lnTo>
                  <a:pt x="194691" y="83693"/>
                </a:lnTo>
                <a:lnTo>
                  <a:pt x="191685" y="69943"/>
                </a:lnTo>
                <a:lnTo>
                  <a:pt x="187602" y="62123"/>
                </a:lnTo>
                <a:lnTo>
                  <a:pt x="181909" y="54595"/>
                </a:lnTo>
                <a:lnTo>
                  <a:pt x="174693" y="47397"/>
                </a:lnTo>
                <a:lnTo>
                  <a:pt x="166037" y="40564"/>
                </a:lnTo>
                <a:lnTo>
                  <a:pt x="156025" y="34133"/>
                </a:lnTo>
                <a:lnTo>
                  <a:pt x="144743" y="28142"/>
                </a:lnTo>
                <a:lnTo>
                  <a:pt x="132276" y="22625"/>
                </a:lnTo>
                <a:lnTo>
                  <a:pt x="118707" y="17621"/>
                </a:lnTo>
                <a:lnTo>
                  <a:pt x="104121" y="13165"/>
                </a:lnTo>
                <a:lnTo>
                  <a:pt x="88604" y="9295"/>
                </a:lnTo>
                <a:lnTo>
                  <a:pt x="72239" y="6046"/>
                </a:lnTo>
                <a:lnTo>
                  <a:pt x="55112" y="3456"/>
                </a:lnTo>
                <a:lnTo>
                  <a:pt x="37306" y="1560"/>
                </a:lnTo>
                <a:lnTo>
                  <a:pt x="18907" y="396"/>
                </a:lnTo>
                <a:lnTo>
                  <a:pt x="0" y="0"/>
                </a:lnTo>
                <a:close/>
              </a:path>
            </a:pathLst>
          </a:custGeom>
          <a:solidFill>
            <a:srgbClr val="FCE2B9"/>
          </a:solidFill>
        </p:spPr>
        <p:txBody>
          <a:bodyPr wrap="square" lIns="0" tIns="0" rIns="0" bIns="0" rtlCol="0">
            <a:noAutofit/>
          </a:bodyPr>
          <a:lstStyle/>
          <a:p>
            <a:endParaRPr/>
          </a:p>
        </p:txBody>
      </p:sp>
      <p:sp>
        <p:nvSpPr>
          <p:cNvPr id="112" name="object 112"/>
          <p:cNvSpPr/>
          <p:nvPr/>
        </p:nvSpPr>
        <p:spPr>
          <a:xfrm>
            <a:off x="7945248" y="5456429"/>
            <a:ext cx="194691" cy="83693"/>
          </a:xfrm>
          <a:custGeom>
            <a:avLst/>
            <a:gdLst/>
            <a:ahLst/>
            <a:cxnLst/>
            <a:rect l="l" t="t" r="r" b="b"/>
            <a:pathLst>
              <a:path w="194691" h="83693">
                <a:moveTo>
                  <a:pt x="0" y="0"/>
                </a:moveTo>
                <a:lnTo>
                  <a:pt x="18907" y="396"/>
                </a:lnTo>
                <a:lnTo>
                  <a:pt x="37306" y="1560"/>
                </a:lnTo>
                <a:lnTo>
                  <a:pt x="55112" y="3456"/>
                </a:lnTo>
                <a:lnTo>
                  <a:pt x="72239" y="6046"/>
                </a:lnTo>
                <a:lnTo>
                  <a:pt x="88604" y="9295"/>
                </a:lnTo>
                <a:lnTo>
                  <a:pt x="104121" y="13165"/>
                </a:lnTo>
                <a:lnTo>
                  <a:pt x="118707" y="17621"/>
                </a:lnTo>
                <a:lnTo>
                  <a:pt x="132276" y="22625"/>
                </a:lnTo>
                <a:lnTo>
                  <a:pt x="144743" y="28142"/>
                </a:lnTo>
                <a:lnTo>
                  <a:pt x="156025" y="34133"/>
                </a:lnTo>
                <a:lnTo>
                  <a:pt x="166037" y="40564"/>
                </a:lnTo>
                <a:lnTo>
                  <a:pt x="174693" y="47397"/>
                </a:lnTo>
                <a:lnTo>
                  <a:pt x="181909" y="54595"/>
                </a:lnTo>
                <a:lnTo>
                  <a:pt x="187602" y="62123"/>
                </a:lnTo>
                <a:lnTo>
                  <a:pt x="191685" y="69943"/>
                </a:lnTo>
                <a:lnTo>
                  <a:pt x="194074" y="78020"/>
                </a:lnTo>
                <a:lnTo>
                  <a:pt x="194691" y="83693"/>
                </a:lnTo>
              </a:path>
            </a:pathLst>
          </a:custGeom>
          <a:ln w="12699">
            <a:solidFill>
              <a:srgbClr val="000000"/>
            </a:solidFill>
          </a:ln>
        </p:spPr>
        <p:txBody>
          <a:bodyPr wrap="square" lIns="0" tIns="0" rIns="0" bIns="0" rtlCol="0">
            <a:noAutofit/>
          </a:bodyPr>
          <a:lstStyle/>
          <a:p>
            <a:endParaRPr/>
          </a:p>
        </p:txBody>
      </p:sp>
      <p:sp>
        <p:nvSpPr>
          <p:cNvPr id="113" name="object 113"/>
          <p:cNvSpPr/>
          <p:nvPr/>
        </p:nvSpPr>
        <p:spPr>
          <a:xfrm>
            <a:off x="7988558" y="5463540"/>
            <a:ext cx="41271" cy="80898"/>
          </a:xfrm>
          <a:custGeom>
            <a:avLst/>
            <a:gdLst/>
            <a:ahLst/>
            <a:cxnLst/>
            <a:rect l="l" t="t" r="r" b="b"/>
            <a:pathLst>
              <a:path w="41271" h="80899">
                <a:moveTo>
                  <a:pt x="2282" y="80899"/>
                </a:moveTo>
                <a:lnTo>
                  <a:pt x="41271" y="74549"/>
                </a:lnTo>
                <a:lnTo>
                  <a:pt x="25269" y="0"/>
                </a:lnTo>
                <a:lnTo>
                  <a:pt x="16973" y="4251"/>
                </a:lnTo>
                <a:lnTo>
                  <a:pt x="10360" y="11626"/>
                </a:lnTo>
                <a:lnTo>
                  <a:pt x="5240" y="21762"/>
                </a:lnTo>
                <a:lnTo>
                  <a:pt x="1744" y="34208"/>
                </a:lnTo>
                <a:lnTo>
                  <a:pt x="0" y="48513"/>
                </a:lnTo>
                <a:lnTo>
                  <a:pt x="136" y="64226"/>
                </a:lnTo>
                <a:lnTo>
                  <a:pt x="2282" y="80899"/>
                </a:lnTo>
                <a:close/>
              </a:path>
            </a:pathLst>
          </a:custGeom>
          <a:solidFill>
            <a:srgbClr val="FCE2B9"/>
          </a:solidFill>
        </p:spPr>
        <p:txBody>
          <a:bodyPr wrap="square" lIns="0" tIns="0" rIns="0" bIns="0" rtlCol="0">
            <a:noAutofit/>
          </a:bodyPr>
          <a:lstStyle/>
          <a:p>
            <a:endParaRPr/>
          </a:p>
        </p:txBody>
      </p:sp>
      <p:sp>
        <p:nvSpPr>
          <p:cNvPr id="114" name="object 114"/>
          <p:cNvSpPr/>
          <p:nvPr/>
        </p:nvSpPr>
        <p:spPr>
          <a:xfrm>
            <a:off x="7988558" y="5463540"/>
            <a:ext cx="25269" cy="80898"/>
          </a:xfrm>
          <a:custGeom>
            <a:avLst/>
            <a:gdLst/>
            <a:ahLst/>
            <a:cxnLst/>
            <a:rect l="l" t="t" r="r" b="b"/>
            <a:pathLst>
              <a:path w="25269" h="80899">
                <a:moveTo>
                  <a:pt x="2282" y="80899"/>
                </a:moveTo>
                <a:lnTo>
                  <a:pt x="136" y="64226"/>
                </a:lnTo>
                <a:lnTo>
                  <a:pt x="0" y="48513"/>
                </a:lnTo>
                <a:lnTo>
                  <a:pt x="1744" y="34208"/>
                </a:lnTo>
                <a:lnTo>
                  <a:pt x="5240" y="21762"/>
                </a:lnTo>
                <a:lnTo>
                  <a:pt x="10360" y="11626"/>
                </a:lnTo>
                <a:lnTo>
                  <a:pt x="16973" y="4251"/>
                </a:lnTo>
                <a:lnTo>
                  <a:pt x="24951" y="86"/>
                </a:lnTo>
                <a:lnTo>
                  <a:pt x="25269" y="0"/>
                </a:lnTo>
              </a:path>
            </a:pathLst>
          </a:custGeom>
          <a:ln w="12699">
            <a:solidFill>
              <a:srgbClr val="000000"/>
            </a:solidFill>
          </a:ln>
        </p:spPr>
        <p:txBody>
          <a:bodyPr wrap="square" lIns="0" tIns="0" rIns="0" bIns="0" rtlCol="0">
            <a:noAutofit/>
          </a:bodyPr>
          <a:lstStyle/>
          <a:p>
            <a:endParaRPr/>
          </a:p>
        </p:txBody>
      </p:sp>
      <p:sp>
        <p:nvSpPr>
          <p:cNvPr id="115" name="object 115"/>
          <p:cNvSpPr/>
          <p:nvPr/>
        </p:nvSpPr>
        <p:spPr>
          <a:xfrm>
            <a:off x="8006970" y="5514069"/>
            <a:ext cx="122681" cy="84026"/>
          </a:xfrm>
          <a:custGeom>
            <a:avLst/>
            <a:gdLst/>
            <a:ahLst/>
            <a:cxnLst/>
            <a:rect l="l" t="t" r="r" b="b"/>
            <a:pathLst>
              <a:path w="122681" h="84026">
                <a:moveTo>
                  <a:pt x="0" y="30496"/>
                </a:moveTo>
                <a:lnTo>
                  <a:pt x="43433" y="84026"/>
                </a:lnTo>
                <a:lnTo>
                  <a:pt x="122681" y="18177"/>
                </a:lnTo>
                <a:lnTo>
                  <a:pt x="114645" y="10757"/>
                </a:lnTo>
                <a:lnTo>
                  <a:pt x="105940" y="5663"/>
                </a:lnTo>
                <a:lnTo>
                  <a:pt x="96140" y="2183"/>
                </a:lnTo>
                <a:lnTo>
                  <a:pt x="85424" y="301"/>
                </a:lnTo>
                <a:lnTo>
                  <a:pt x="73975" y="0"/>
                </a:lnTo>
                <a:lnTo>
                  <a:pt x="61972" y="1264"/>
                </a:lnTo>
                <a:lnTo>
                  <a:pt x="49598" y="4077"/>
                </a:lnTo>
                <a:lnTo>
                  <a:pt x="37033" y="8423"/>
                </a:lnTo>
                <a:lnTo>
                  <a:pt x="24457" y="14285"/>
                </a:lnTo>
                <a:lnTo>
                  <a:pt x="12052" y="21648"/>
                </a:lnTo>
                <a:lnTo>
                  <a:pt x="0" y="30496"/>
                </a:lnTo>
                <a:close/>
              </a:path>
            </a:pathLst>
          </a:custGeom>
          <a:solidFill>
            <a:srgbClr val="FCE2B9"/>
          </a:solidFill>
        </p:spPr>
        <p:txBody>
          <a:bodyPr wrap="square" lIns="0" tIns="0" rIns="0" bIns="0" rtlCol="0">
            <a:noAutofit/>
          </a:bodyPr>
          <a:lstStyle/>
          <a:p>
            <a:endParaRPr/>
          </a:p>
        </p:txBody>
      </p:sp>
      <p:sp>
        <p:nvSpPr>
          <p:cNvPr id="116" name="object 116"/>
          <p:cNvSpPr/>
          <p:nvPr/>
        </p:nvSpPr>
        <p:spPr>
          <a:xfrm>
            <a:off x="8006970" y="5514069"/>
            <a:ext cx="122681" cy="30496"/>
          </a:xfrm>
          <a:custGeom>
            <a:avLst/>
            <a:gdLst/>
            <a:ahLst/>
            <a:cxnLst/>
            <a:rect l="l" t="t" r="r" b="b"/>
            <a:pathLst>
              <a:path w="122681" h="30496">
                <a:moveTo>
                  <a:pt x="0" y="30496"/>
                </a:moveTo>
                <a:lnTo>
                  <a:pt x="12052" y="21648"/>
                </a:lnTo>
                <a:lnTo>
                  <a:pt x="24457" y="14285"/>
                </a:lnTo>
                <a:lnTo>
                  <a:pt x="37033" y="8423"/>
                </a:lnTo>
                <a:lnTo>
                  <a:pt x="49598" y="4077"/>
                </a:lnTo>
                <a:lnTo>
                  <a:pt x="61972" y="1264"/>
                </a:lnTo>
                <a:lnTo>
                  <a:pt x="73975" y="0"/>
                </a:lnTo>
                <a:lnTo>
                  <a:pt x="85424" y="301"/>
                </a:lnTo>
                <a:lnTo>
                  <a:pt x="96140" y="2183"/>
                </a:lnTo>
                <a:lnTo>
                  <a:pt x="105940" y="5663"/>
                </a:lnTo>
                <a:lnTo>
                  <a:pt x="114645" y="10757"/>
                </a:lnTo>
                <a:lnTo>
                  <a:pt x="122073" y="17481"/>
                </a:lnTo>
                <a:lnTo>
                  <a:pt x="122681" y="18177"/>
                </a:lnTo>
              </a:path>
            </a:pathLst>
          </a:custGeom>
          <a:ln w="12700">
            <a:solidFill>
              <a:srgbClr val="000000"/>
            </a:solidFill>
          </a:ln>
        </p:spPr>
        <p:txBody>
          <a:bodyPr wrap="square" lIns="0" tIns="0" rIns="0" bIns="0" rtlCol="0">
            <a:noAutofit/>
          </a:bodyPr>
          <a:lstStyle/>
          <a:p>
            <a:endParaRPr/>
          </a:p>
        </p:txBody>
      </p:sp>
      <p:sp>
        <p:nvSpPr>
          <p:cNvPr id="117" name="object 117"/>
          <p:cNvSpPr/>
          <p:nvPr/>
        </p:nvSpPr>
        <p:spPr>
          <a:xfrm>
            <a:off x="6319774" y="5977026"/>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solidFill>
            <a:srgbClr val="FCE2B9"/>
          </a:solidFill>
        </p:spPr>
        <p:txBody>
          <a:bodyPr wrap="square" lIns="0" tIns="0" rIns="0" bIns="0" rtlCol="0">
            <a:noAutofit/>
          </a:bodyPr>
          <a:lstStyle/>
          <a:p>
            <a:endParaRPr/>
          </a:p>
        </p:txBody>
      </p:sp>
      <p:sp>
        <p:nvSpPr>
          <p:cNvPr id="118" name="object 118"/>
          <p:cNvSpPr/>
          <p:nvPr/>
        </p:nvSpPr>
        <p:spPr>
          <a:xfrm>
            <a:off x="6319774" y="5977026"/>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ln w="12700">
            <a:solidFill>
              <a:srgbClr val="000000"/>
            </a:solidFill>
          </a:ln>
        </p:spPr>
        <p:txBody>
          <a:bodyPr wrap="square" lIns="0" tIns="0" rIns="0" bIns="0" rtlCol="0">
            <a:noAutofit/>
          </a:bodyPr>
          <a:lstStyle/>
          <a:p>
            <a:endParaRPr/>
          </a:p>
        </p:txBody>
      </p:sp>
      <p:sp>
        <p:nvSpPr>
          <p:cNvPr id="119" name="object 119"/>
          <p:cNvSpPr/>
          <p:nvPr/>
        </p:nvSpPr>
        <p:spPr>
          <a:xfrm>
            <a:off x="6364859" y="6191173"/>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120" name="object 120"/>
          <p:cNvSpPr/>
          <p:nvPr/>
        </p:nvSpPr>
        <p:spPr>
          <a:xfrm>
            <a:off x="6841871" y="5977026"/>
            <a:ext cx="194690" cy="84924"/>
          </a:xfrm>
          <a:custGeom>
            <a:avLst/>
            <a:gdLst/>
            <a:ahLst/>
            <a:cxnLst/>
            <a:rect l="l" t="t" r="r" b="b"/>
            <a:pathLst>
              <a:path w="194690" h="84924">
                <a:moveTo>
                  <a:pt x="0" y="0"/>
                </a:moveTo>
                <a:lnTo>
                  <a:pt x="0" y="84924"/>
                </a:lnTo>
                <a:lnTo>
                  <a:pt x="194690" y="84924"/>
                </a:lnTo>
                <a:lnTo>
                  <a:pt x="191983" y="70728"/>
                </a:lnTo>
                <a:lnTo>
                  <a:pt x="188041" y="62833"/>
                </a:lnTo>
                <a:lnTo>
                  <a:pt x="182462" y="55230"/>
                </a:lnTo>
                <a:lnTo>
                  <a:pt x="175334" y="47957"/>
                </a:lnTo>
                <a:lnTo>
                  <a:pt x="166740" y="41051"/>
                </a:lnTo>
                <a:lnTo>
                  <a:pt x="156768" y="34549"/>
                </a:lnTo>
                <a:lnTo>
                  <a:pt x="145502" y="28489"/>
                </a:lnTo>
                <a:lnTo>
                  <a:pt x="133027" y="22909"/>
                </a:lnTo>
                <a:lnTo>
                  <a:pt x="119430" y="17845"/>
                </a:lnTo>
                <a:lnTo>
                  <a:pt x="104796" y="13335"/>
                </a:lnTo>
                <a:lnTo>
                  <a:pt x="89210" y="9416"/>
                </a:lnTo>
                <a:lnTo>
                  <a:pt x="72758" y="6126"/>
                </a:lnTo>
                <a:lnTo>
                  <a:pt x="55526" y="3501"/>
                </a:lnTo>
                <a:lnTo>
                  <a:pt x="37598" y="1581"/>
                </a:lnTo>
                <a:lnTo>
                  <a:pt x="19061" y="401"/>
                </a:lnTo>
                <a:lnTo>
                  <a:pt x="0" y="0"/>
                </a:lnTo>
                <a:close/>
              </a:path>
            </a:pathLst>
          </a:custGeom>
          <a:solidFill>
            <a:srgbClr val="FCE2B9"/>
          </a:solidFill>
        </p:spPr>
        <p:txBody>
          <a:bodyPr wrap="square" lIns="0" tIns="0" rIns="0" bIns="0" rtlCol="0">
            <a:noAutofit/>
          </a:bodyPr>
          <a:lstStyle/>
          <a:p>
            <a:endParaRPr/>
          </a:p>
        </p:txBody>
      </p:sp>
      <p:sp>
        <p:nvSpPr>
          <p:cNvPr id="121" name="object 121"/>
          <p:cNvSpPr/>
          <p:nvPr/>
        </p:nvSpPr>
        <p:spPr>
          <a:xfrm>
            <a:off x="6841871" y="5977026"/>
            <a:ext cx="194690" cy="84924"/>
          </a:xfrm>
          <a:custGeom>
            <a:avLst/>
            <a:gdLst/>
            <a:ahLst/>
            <a:cxnLst/>
            <a:rect l="l" t="t" r="r" b="b"/>
            <a:pathLst>
              <a:path w="194690" h="84924">
                <a:moveTo>
                  <a:pt x="0" y="0"/>
                </a:moveTo>
                <a:lnTo>
                  <a:pt x="19061" y="401"/>
                </a:lnTo>
                <a:lnTo>
                  <a:pt x="37598" y="1581"/>
                </a:lnTo>
                <a:lnTo>
                  <a:pt x="55526" y="3501"/>
                </a:lnTo>
                <a:lnTo>
                  <a:pt x="72758" y="6126"/>
                </a:lnTo>
                <a:lnTo>
                  <a:pt x="89210" y="9416"/>
                </a:lnTo>
                <a:lnTo>
                  <a:pt x="104796" y="13335"/>
                </a:lnTo>
                <a:lnTo>
                  <a:pt x="119430" y="17845"/>
                </a:lnTo>
                <a:lnTo>
                  <a:pt x="133027" y="22909"/>
                </a:lnTo>
                <a:lnTo>
                  <a:pt x="145502" y="28489"/>
                </a:lnTo>
                <a:lnTo>
                  <a:pt x="156768" y="34549"/>
                </a:lnTo>
                <a:lnTo>
                  <a:pt x="166740" y="41051"/>
                </a:lnTo>
                <a:lnTo>
                  <a:pt x="175334" y="47957"/>
                </a:lnTo>
                <a:lnTo>
                  <a:pt x="182462" y="55230"/>
                </a:lnTo>
                <a:lnTo>
                  <a:pt x="188041" y="62833"/>
                </a:lnTo>
                <a:lnTo>
                  <a:pt x="191983" y="70728"/>
                </a:lnTo>
                <a:lnTo>
                  <a:pt x="194205" y="78878"/>
                </a:lnTo>
                <a:lnTo>
                  <a:pt x="194690" y="84924"/>
                </a:lnTo>
              </a:path>
            </a:pathLst>
          </a:custGeom>
          <a:ln w="12700">
            <a:solidFill>
              <a:srgbClr val="000000"/>
            </a:solidFill>
          </a:ln>
        </p:spPr>
        <p:txBody>
          <a:bodyPr wrap="square" lIns="0" tIns="0" rIns="0" bIns="0" rtlCol="0">
            <a:noAutofit/>
          </a:bodyPr>
          <a:lstStyle/>
          <a:p>
            <a:endParaRPr/>
          </a:p>
        </p:txBody>
      </p:sp>
      <p:sp>
        <p:nvSpPr>
          <p:cNvPr id="122" name="object 122"/>
          <p:cNvSpPr/>
          <p:nvPr/>
        </p:nvSpPr>
        <p:spPr>
          <a:xfrm>
            <a:off x="6885135" y="5985306"/>
            <a:ext cx="41191" cy="80962"/>
          </a:xfrm>
          <a:custGeom>
            <a:avLst/>
            <a:gdLst/>
            <a:ahLst/>
            <a:cxnLst/>
            <a:rect l="l" t="t" r="r" b="b"/>
            <a:pathLst>
              <a:path w="41191" h="80962">
                <a:moveTo>
                  <a:pt x="2202" y="80962"/>
                </a:moveTo>
                <a:lnTo>
                  <a:pt x="41191" y="74637"/>
                </a:lnTo>
                <a:lnTo>
                  <a:pt x="25316" y="0"/>
                </a:lnTo>
                <a:lnTo>
                  <a:pt x="17018" y="4280"/>
                </a:lnTo>
                <a:lnTo>
                  <a:pt x="10402" y="11666"/>
                </a:lnTo>
                <a:lnTo>
                  <a:pt x="5276" y="21802"/>
                </a:lnTo>
                <a:lnTo>
                  <a:pt x="1766" y="34244"/>
                </a:lnTo>
                <a:lnTo>
                  <a:pt x="0" y="48547"/>
                </a:lnTo>
                <a:lnTo>
                  <a:pt x="102" y="64268"/>
                </a:lnTo>
                <a:lnTo>
                  <a:pt x="2202" y="80962"/>
                </a:lnTo>
                <a:close/>
              </a:path>
            </a:pathLst>
          </a:custGeom>
          <a:solidFill>
            <a:srgbClr val="FCE2B9"/>
          </a:solidFill>
        </p:spPr>
        <p:txBody>
          <a:bodyPr wrap="square" lIns="0" tIns="0" rIns="0" bIns="0" rtlCol="0">
            <a:noAutofit/>
          </a:bodyPr>
          <a:lstStyle/>
          <a:p>
            <a:endParaRPr/>
          </a:p>
        </p:txBody>
      </p:sp>
      <p:sp>
        <p:nvSpPr>
          <p:cNvPr id="123" name="object 123"/>
          <p:cNvSpPr/>
          <p:nvPr/>
        </p:nvSpPr>
        <p:spPr>
          <a:xfrm>
            <a:off x="6885134" y="5985306"/>
            <a:ext cx="25316" cy="80962"/>
          </a:xfrm>
          <a:custGeom>
            <a:avLst/>
            <a:gdLst/>
            <a:ahLst/>
            <a:cxnLst/>
            <a:rect l="l" t="t" r="r" b="b"/>
            <a:pathLst>
              <a:path w="25316" h="80962">
                <a:moveTo>
                  <a:pt x="2202" y="80962"/>
                </a:moveTo>
                <a:lnTo>
                  <a:pt x="102" y="64268"/>
                </a:lnTo>
                <a:lnTo>
                  <a:pt x="0" y="48547"/>
                </a:lnTo>
                <a:lnTo>
                  <a:pt x="1766" y="34244"/>
                </a:lnTo>
                <a:lnTo>
                  <a:pt x="5276" y="21802"/>
                </a:lnTo>
                <a:lnTo>
                  <a:pt x="10402" y="11666"/>
                </a:lnTo>
                <a:lnTo>
                  <a:pt x="17018" y="4280"/>
                </a:lnTo>
                <a:lnTo>
                  <a:pt x="24995" y="88"/>
                </a:lnTo>
                <a:lnTo>
                  <a:pt x="25316" y="0"/>
                </a:lnTo>
              </a:path>
            </a:pathLst>
          </a:custGeom>
          <a:ln w="12700">
            <a:solidFill>
              <a:srgbClr val="000000"/>
            </a:solidFill>
          </a:ln>
        </p:spPr>
        <p:txBody>
          <a:bodyPr wrap="square" lIns="0" tIns="0" rIns="0" bIns="0" rtlCol="0">
            <a:noAutofit/>
          </a:bodyPr>
          <a:lstStyle/>
          <a:p>
            <a:endParaRPr/>
          </a:p>
        </p:txBody>
      </p:sp>
      <p:sp>
        <p:nvSpPr>
          <p:cNvPr id="124" name="object 124"/>
          <p:cNvSpPr/>
          <p:nvPr/>
        </p:nvSpPr>
        <p:spPr>
          <a:xfrm>
            <a:off x="6903975" y="6035417"/>
            <a:ext cx="122681" cy="83404"/>
          </a:xfrm>
          <a:custGeom>
            <a:avLst/>
            <a:gdLst/>
            <a:ahLst/>
            <a:cxnLst/>
            <a:rect l="l" t="t" r="r" b="b"/>
            <a:pathLst>
              <a:path w="122681" h="83404">
                <a:moveTo>
                  <a:pt x="0" y="30801"/>
                </a:moveTo>
                <a:lnTo>
                  <a:pt x="42672" y="83404"/>
                </a:lnTo>
                <a:lnTo>
                  <a:pt x="122681" y="18571"/>
                </a:lnTo>
                <a:lnTo>
                  <a:pt x="114565" y="10764"/>
                </a:lnTo>
                <a:lnTo>
                  <a:pt x="105996" y="5643"/>
                </a:lnTo>
                <a:lnTo>
                  <a:pt x="96296" y="2155"/>
                </a:lnTo>
                <a:lnTo>
                  <a:pt x="85647" y="279"/>
                </a:lnTo>
                <a:lnTo>
                  <a:pt x="74234" y="0"/>
                </a:lnTo>
                <a:lnTo>
                  <a:pt x="62240" y="1297"/>
                </a:lnTo>
                <a:lnTo>
                  <a:pt x="49850" y="4153"/>
                </a:lnTo>
                <a:lnTo>
                  <a:pt x="37247" y="8549"/>
                </a:lnTo>
                <a:lnTo>
                  <a:pt x="24615" y="14468"/>
                </a:lnTo>
                <a:lnTo>
                  <a:pt x="12138" y="21892"/>
                </a:lnTo>
                <a:lnTo>
                  <a:pt x="0" y="30801"/>
                </a:lnTo>
                <a:close/>
              </a:path>
            </a:pathLst>
          </a:custGeom>
          <a:solidFill>
            <a:srgbClr val="FCE2B9"/>
          </a:solidFill>
        </p:spPr>
        <p:txBody>
          <a:bodyPr wrap="square" lIns="0" tIns="0" rIns="0" bIns="0" rtlCol="0">
            <a:noAutofit/>
          </a:bodyPr>
          <a:lstStyle/>
          <a:p>
            <a:endParaRPr/>
          </a:p>
        </p:txBody>
      </p:sp>
      <p:sp>
        <p:nvSpPr>
          <p:cNvPr id="125" name="object 125"/>
          <p:cNvSpPr/>
          <p:nvPr/>
        </p:nvSpPr>
        <p:spPr>
          <a:xfrm>
            <a:off x="6903975" y="6035418"/>
            <a:ext cx="122681" cy="30801"/>
          </a:xfrm>
          <a:custGeom>
            <a:avLst/>
            <a:gdLst/>
            <a:ahLst/>
            <a:cxnLst/>
            <a:rect l="l" t="t" r="r" b="b"/>
            <a:pathLst>
              <a:path w="122681" h="30801">
                <a:moveTo>
                  <a:pt x="0" y="30801"/>
                </a:moveTo>
                <a:lnTo>
                  <a:pt x="12138" y="21892"/>
                </a:lnTo>
                <a:lnTo>
                  <a:pt x="24615" y="14468"/>
                </a:lnTo>
                <a:lnTo>
                  <a:pt x="37247" y="8549"/>
                </a:lnTo>
                <a:lnTo>
                  <a:pt x="49850" y="4153"/>
                </a:lnTo>
                <a:lnTo>
                  <a:pt x="62240" y="1297"/>
                </a:lnTo>
                <a:lnTo>
                  <a:pt x="74234" y="0"/>
                </a:lnTo>
                <a:lnTo>
                  <a:pt x="85647" y="279"/>
                </a:lnTo>
                <a:lnTo>
                  <a:pt x="96296" y="2155"/>
                </a:lnTo>
                <a:lnTo>
                  <a:pt x="105996" y="5643"/>
                </a:lnTo>
                <a:lnTo>
                  <a:pt x="114565" y="10764"/>
                </a:lnTo>
                <a:lnTo>
                  <a:pt x="121817" y="17534"/>
                </a:lnTo>
                <a:lnTo>
                  <a:pt x="122681" y="18571"/>
                </a:lnTo>
              </a:path>
            </a:pathLst>
          </a:custGeom>
          <a:ln w="12700">
            <a:solidFill>
              <a:srgbClr val="000000"/>
            </a:solidFill>
          </a:ln>
        </p:spPr>
        <p:txBody>
          <a:bodyPr wrap="square" lIns="0" tIns="0" rIns="0" bIns="0" rtlCol="0">
            <a:noAutofit/>
          </a:bodyPr>
          <a:lstStyle/>
          <a:p>
            <a:endParaRPr/>
          </a:p>
        </p:txBody>
      </p:sp>
      <p:sp>
        <p:nvSpPr>
          <p:cNvPr id="126" name="object 126"/>
          <p:cNvSpPr/>
          <p:nvPr/>
        </p:nvSpPr>
        <p:spPr>
          <a:xfrm>
            <a:off x="5171186" y="5978258"/>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solidFill>
            <a:srgbClr val="FCE2B9"/>
          </a:solidFill>
        </p:spPr>
        <p:txBody>
          <a:bodyPr wrap="square" lIns="0" tIns="0" rIns="0" bIns="0" rtlCol="0">
            <a:noAutofit/>
          </a:bodyPr>
          <a:lstStyle/>
          <a:p>
            <a:endParaRPr/>
          </a:p>
        </p:txBody>
      </p:sp>
      <p:sp>
        <p:nvSpPr>
          <p:cNvPr id="127" name="object 127"/>
          <p:cNvSpPr/>
          <p:nvPr/>
        </p:nvSpPr>
        <p:spPr>
          <a:xfrm>
            <a:off x="5171186" y="5978258"/>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ln w="12699">
            <a:solidFill>
              <a:srgbClr val="000000"/>
            </a:solidFill>
          </a:ln>
        </p:spPr>
        <p:txBody>
          <a:bodyPr wrap="square" lIns="0" tIns="0" rIns="0" bIns="0" rtlCol="0">
            <a:noAutofit/>
          </a:bodyPr>
          <a:lstStyle/>
          <a:p>
            <a:endParaRPr/>
          </a:p>
        </p:txBody>
      </p:sp>
      <p:sp>
        <p:nvSpPr>
          <p:cNvPr id="128" name="object 128"/>
          <p:cNvSpPr/>
          <p:nvPr/>
        </p:nvSpPr>
        <p:spPr>
          <a:xfrm>
            <a:off x="5216399" y="6223165"/>
            <a:ext cx="584073" cy="0"/>
          </a:xfrm>
          <a:custGeom>
            <a:avLst/>
            <a:gdLst/>
            <a:ahLst/>
            <a:cxnLst/>
            <a:rect l="l" t="t" r="r" b="b"/>
            <a:pathLst>
              <a:path w="584073">
                <a:moveTo>
                  <a:pt x="0" y="0"/>
                </a:moveTo>
                <a:lnTo>
                  <a:pt x="584073" y="0"/>
                </a:lnTo>
              </a:path>
            </a:pathLst>
          </a:custGeom>
          <a:ln w="12700">
            <a:solidFill>
              <a:srgbClr val="000000"/>
            </a:solidFill>
          </a:ln>
        </p:spPr>
        <p:txBody>
          <a:bodyPr wrap="square" lIns="0" tIns="0" rIns="0" bIns="0" rtlCol="0">
            <a:noAutofit/>
          </a:bodyPr>
          <a:lstStyle/>
          <a:p>
            <a:endParaRPr/>
          </a:p>
        </p:txBody>
      </p:sp>
      <p:sp>
        <p:nvSpPr>
          <p:cNvPr id="129" name="object 129"/>
          <p:cNvSpPr/>
          <p:nvPr/>
        </p:nvSpPr>
        <p:spPr>
          <a:xfrm>
            <a:off x="5693283" y="5978258"/>
            <a:ext cx="194690" cy="84924"/>
          </a:xfrm>
          <a:custGeom>
            <a:avLst/>
            <a:gdLst/>
            <a:ahLst/>
            <a:cxnLst/>
            <a:rect l="l" t="t" r="r" b="b"/>
            <a:pathLst>
              <a:path w="194690" h="84924">
                <a:moveTo>
                  <a:pt x="0" y="0"/>
                </a:moveTo>
                <a:lnTo>
                  <a:pt x="0" y="84924"/>
                </a:lnTo>
                <a:lnTo>
                  <a:pt x="194690" y="84924"/>
                </a:lnTo>
                <a:lnTo>
                  <a:pt x="191983" y="70728"/>
                </a:lnTo>
                <a:lnTo>
                  <a:pt x="188041" y="62833"/>
                </a:lnTo>
                <a:lnTo>
                  <a:pt x="182462" y="55230"/>
                </a:lnTo>
                <a:lnTo>
                  <a:pt x="175334" y="47957"/>
                </a:lnTo>
                <a:lnTo>
                  <a:pt x="166740" y="41051"/>
                </a:lnTo>
                <a:lnTo>
                  <a:pt x="156768" y="34549"/>
                </a:lnTo>
                <a:lnTo>
                  <a:pt x="145502" y="28489"/>
                </a:lnTo>
                <a:lnTo>
                  <a:pt x="133027" y="22909"/>
                </a:lnTo>
                <a:lnTo>
                  <a:pt x="119430" y="17845"/>
                </a:lnTo>
                <a:lnTo>
                  <a:pt x="104796" y="13335"/>
                </a:lnTo>
                <a:lnTo>
                  <a:pt x="89210" y="9416"/>
                </a:lnTo>
                <a:lnTo>
                  <a:pt x="72758" y="6126"/>
                </a:lnTo>
                <a:lnTo>
                  <a:pt x="55526" y="3501"/>
                </a:lnTo>
                <a:lnTo>
                  <a:pt x="37598" y="1581"/>
                </a:lnTo>
                <a:lnTo>
                  <a:pt x="19061" y="401"/>
                </a:lnTo>
                <a:lnTo>
                  <a:pt x="0" y="0"/>
                </a:lnTo>
                <a:close/>
              </a:path>
            </a:pathLst>
          </a:custGeom>
          <a:solidFill>
            <a:srgbClr val="FCE2B9"/>
          </a:solidFill>
        </p:spPr>
        <p:txBody>
          <a:bodyPr wrap="square" lIns="0" tIns="0" rIns="0" bIns="0" rtlCol="0">
            <a:noAutofit/>
          </a:bodyPr>
          <a:lstStyle/>
          <a:p>
            <a:endParaRPr/>
          </a:p>
        </p:txBody>
      </p:sp>
      <p:sp>
        <p:nvSpPr>
          <p:cNvPr id="130" name="object 130"/>
          <p:cNvSpPr/>
          <p:nvPr/>
        </p:nvSpPr>
        <p:spPr>
          <a:xfrm>
            <a:off x="5693283" y="5978258"/>
            <a:ext cx="194690" cy="84924"/>
          </a:xfrm>
          <a:custGeom>
            <a:avLst/>
            <a:gdLst/>
            <a:ahLst/>
            <a:cxnLst/>
            <a:rect l="l" t="t" r="r" b="b"/>
            <a:pathLst>
              <a:path w="194690" h="84924">
                <a:moveTo>
                  <a:pt x="0" y="0"/>
                </a:moveTo>
                <a:lnTo>
                  <a:pt x="19061" y="401"/>
                </a:lnTo>
                <a:lnTo>
                  <a:pt x="37598" y="1581"/>
                </a:lnTo>
                <a:lnTo>
                  <a:pt x="55526" y="3501"/>
                </a:lnTo>
                <a:lnTo>
                  <a:pt x="72758" y="6126"/>
                </a:lnTo>
                <a:lnTo>
                  <a:pt x="89210" y="9416"/>
                </a:lnTo>
                <a:lnTo>
                  <a:pt x="104796" y="13335"/>
                </a:lnTo>
                <a:lnTo>
                  <a:pt x="119430" y="17845"/>
                </a:lnTo>
                <a:lnTo>
                  <a:pt x="133027" y="22909"/>
                </a:lnTo>
                <a:lnTo>
                  <a:pt x="145502" y="28489"/>
                </a:lnTo>
                <a:lnTo>
                  <a:pt x="156768" y="34549"/>
                </a:lnTo>
                <a:lnTo>
                  <a:pt x="166740" y="41051"/>
                </a:lnTo>
                <a:lnTo>
                  <a:pt x="175334" y="47957"/>
                </a:lnTo>
                <a:lnTo>
                  <a:pt x="182462" y="55230"/>
                </a:lnTo>
                <a:lnTo>
                  <a:pt x="188041" y="62833"/>
                </a:lnTo>
                <a:lnTo>
                  <a:pt x="191983" y="70728"/>
                </a:lnTo>
                <a:lnTo>
                  <a:pt x="194205" y="78878"/>
                </a:lnTo>
                <a:lnTo>
                  <a:pt x="194690" y="84924"/>
                </a:lnTo>
              </a:path>
            </a:pathLst>
          </a:custGeom>
          <a:ln w="12700">
            <a:solidFill>
              <a:srgbClr val="000000"/>
            </a:solidFill>
          </a:ln>
        </p:spPr>
        <p:txBody>
          <a:bodyPr wrap="square" lIns="0" tIns="0" rIns="0" bIns="0" rtlCol="0">
            <a:noAutofit/>
          </a:bodyPr>
          <a:lstStyle/>
          <a:p>
            <a:endParaRPr/>
          </a:p>
        </p:txBody>
      </p:sp>
      <p:sp>
        <p:nvSpPr>
          <p:cNvPr id="131" name="object 131"/>
          <p:cNvSpPr/>
          <p:nvPr/>
        </p:nvSpPr>
        <p:spPr>
          <a:xfrm>
            <a:off x="5736547" y="5986538"/>
            <a:ext cx="41191" cy="80962"/>
          </a:xfrm>
          <a:custGeom>
            <a:avLst/>
            <a:gdLst/>
            <a:ahLst/>
            <a:cxnLst/>
            <a:rect l="l" t="t" r="r" b="b"/>
            <a:pathLst>
              <a:path w="41191" h="80962">
                <a:moveTo>
                  <a:pt x="2202" y="80962"/>
                </a:moveTo>
                <a:lnTo>
                  <a:pt x="41191" y="74637"/>
                </a:lnTo>
                <a:lnTo>
                  <a:pt x="25316" y="0"/>
                </a:lnTo>
                <a:lnTo>
                  <a:pt x="17018" y="4280"/>
                </a:lnTo>
                <a:lnTo>
                  <a:pt x="10402" y="11666"/>
                </a:lnTo>
                <a:lnTo>
                  <a:pt x="5276" y="21802"/>
                </a:lnTo>
                <a:lnTo>
                  <a:pt x="1766" y="34244"/>
                </a:lnTo>
                <a:lnTo>
                  <a:pt x="0" y="48547"/>
                </a:lnTo>
                <a:lnTo>
                  <a:pt x="102" y="64268"/>
                </a:lnTo>
                <a:lnTo>
                  <a:pt x="2202" y="80962"/>
                </a:lnTo>
                <a:close/>
              </a:path>
            </a:pathLst>
          </a:custGeom>
          <a:solidFill>
            <a:srgbClr val="FCE2B9"/>
          </a:solidFill>
        </p:spPr>
        <p:txBody>
          <a:bodyPr wrap="square" lIns="0" tIns="0" rIns="0" bIns="0" rtlCol="0">
            <a:noAutofit/>
          </a:bodyPr>
          <a:lstStyle/>
          <a:p>
            <a:endParaRPr/>
          </a:p>
        </p:txBody>
      </p:sp>
      <p:sp>
        <p:nvSpPr>
          <p:cNvPr id="132" name="object 132"/>
          <p:cNvSpPr/>
          <p:nvPr/>
        </p:nvSpPr>
        <p:spPr>
          <a:xfrm>
            <a:off x="5736546" y="5986538"/>
            <a:ext cx="25316" cy="80962"/>
          </a:xfrm>
          <a:custGeom>
            <a:avLst/>
            <a:gdLst/>
            <a:ahLst/>
            <a:cxnLst/>
            <a:rect l="l" t="t" r="r" b="b"/>
            <a:pathLst>
              <a:path w="25316" h="80962">
                <a:moveTo>
                  <a:pt x="2202" y="80962"/>
                </a:moveTo>
                <a:lnTo>
                  <a:pt x="102" y="64268"/>
                </a:lnTo>
                <a:lnTo>
                  <a:pt x="0" y="48547"/>
                </a:lnTo>
                <a:lnTo>
                  <a:pt x="1766" y="34244"/>
                </a:lnTo>
                <a:lnTo>
                  <a:pt x="5276" y="21802"/>
                </a:lnTo>
                <a:lnTo>
                  <a:pt x="10402" y="11666"/>
                </a:lnTo>
                <a:lnTo>
                  <a:pt x="17018" y="4280"/>
                </a:lnTo>
                <a:lnTo>
                  <a:pt x="24995" y="88"/>
                </a:lnTo>
                <a:lnTo>
                  <a:pt x="25316" y="0"/>
                </a:lnTo>
              </a:path>
            </a:pathLst>
          </a:custGeom>
          <a:ln w="12700">
            <a:solidFill>
              <a:srgbClr val="000000"/>
            </a:solidFill>
          </a:ln>
        </p:spPr>
        <p:txBody>
          <a:bodyPr wrap="square" lIns="0" tIns="0" rIns="0" bIns="0" rtlCol="0">
            <a:noAutofit/>
          </a:bodyPr>
          <a:lstStyle/>
          <a:p>
            <a:endParaRPr/>
          </a:p>
        </p:txBody>
      </p:sp>
      <p:sp>
        <p:nvSpPr>
          <p:cNvPr id="133" name="object 133"/>
          <p:cNvSpPr/>
          <p:nvPr/>
        </p:nvSpPr>
        <p:spPr>
          <a:xfrm>
            <a:off x="5755387" y="6036644"/>
            <a:ext cx="122681" cy="83396"/>
          </a:xfrm>
          <a:custGeom>
            <a:avLst/>
            <a:gdLst/>
            <a:ahLst/>
            <a:cxnLst/>
            <a:rect l="l" t="t" r="r" b="b"/>
            <a:pathLst>
              <a:path w="122681" h="83396">
                <a:moveTo>
                  <a:pt x="0" y="30805"/>
                </a:moveTo>
                <a:lnTo>
                  <a:pt x="42672" y="83396"/>
                </a:lnTo>
                <a:lnTo>
                  <a:pt x="122681" y="18575"/>
                </a:lnTo>
                <a:lnTo>
                  <a:pt x="114565" y="10768"/>
                </a:lnTo>
                <a:lnTo>
                  <a:pt x="105996" y="5647"/>
                </a:lnTo>
                <a:lnTo>
                  <a:pt x="96296" y="2157"/>
                </a:lnTo>
                <a:lnTo>
                  <a:pt x="85647" y="281"/>
                </a:lnTo>
                <a:lnTo>
                  <a:pt x="74234" y="0"/>
                </a:lnTo>
                <a:lnTo>
                  <a:pt x="62240" y="1296"/>
                </a:lnTo>
                <a:lnTo>
                  <a:pt x="49850" y="4151"/>
                </a:lnTo>
                <a:lnTo>
                  <a:pt x="37247" y="8548"/>
                </a:lnTo>
                <a:lnTo>
                  <a:pt x="24615" y="14468"/>
                </a:lnTo>
                <a:lnTo>
                  <a:pt x="12138" y="21893"/>
                </a:lnTo>
                <a:lnTo>
                  <a:pt x="0" y="30805"/>
                </a:lnTo>
                <a:close/>
              </a:path>
            </a:pathLst>
          </a:custGeom>
          <a:solidFill>
            <a:srgbClr val="FCE2B9"/>
          </a:solidFill>
        </p:spPr>
        <p:txBody>
          <a:bodyPr wrap="square" lIns="0" tIns="0" rIns="0" bIns="0" rtlCol="0">
            <a:noAutofit/>
          </a:bodyPr>
          <a:lstStyle/>
          <a:p>
            <a:endParaRPr/>
          </a:p>
        </p:txBody>
      </p:sp>
      <p:sp>
        <p:nvSpPr>
          <p:cNvPr id="134" name="object 134"/>
          <p:cNvSpPr/>
          <p:nvPr/>
        </p:nvSpPr>
        <p:spPr>
          <a:xfrm>
            <a:off x="5755387" y="6036645"/>
            <a:ext cx="122681" cy="30805"/>
          </a:xfrm>
          <a:custGeom>
            <a:avLst/>
            <a:gdLst/>
            <a:ahLst/>
            <a:cxnLst/>
            <a:rect l="l" t="t" r="r" b="b"/>
            <a:pathLst>
              <a:path w="122681" h="30805">
                <a:moveTo>
                  <a:pt x="0" y="30805"/>
                </a:moveTo>
                <a:lnTo>
                  <a:pt x="12138" y="21893"/>
                </a:lnTo>
                <a:lnTo>
                  <a:pt x="24615" y="14468"/>
                </a:lnTo>
                <a:lnTo>
                  <a:pt x="37247" y="8548"/>
                </a:lnTo>
                <a:lnTo>
                  <a:pt x="49850" y="4151"/>
                </a:lnTo>
                <a:lnTo>
                  <a:pt x="62240" y="1296"/>
                </a:lnTo>
                <a:lnTo>
                  <a:pt x="74234" y="0"/>
                </a:lnTo>
                <a:lnTo>
                  <a:pt x="85647" y="281"/>
                </a:lnTo>
                <a:lnTo>
                  <a:pt x="96296" y="2157"/>
                </a:lnTo>
                <a:lnTo>
                  <a:pt x="105996" y="5647"/>
                </a:lnTo>
                <a:lnTo>
                  <a:pt x="114565" y="10768"/>
                </a:lnTo>
                <a:lnTo>
                  <a:pt x="121817" y="17539"/>
                </a:lnTo>
                <a:lnTo>
                  <a:pt x="122681" y="18575"/>
                </a:lnTo>
              </a:path>
            </a:pathLst>
          </a:custGeom>
          <a:ln w="12699">
            <a:solidFill>
              <a:srgbClr val="000000"/>
            </a:solidFill>
          </a:ln>
        </p:spPr>
        <p:txBody>
          <a:bodyPr wrap="square" lIns="0" tIns="0" rIns="0" bIns="0" rtlCol="0">
            <a:noAutofit/>
          </a:bodyPr>
          <a:lstStyle/>
          <a:p>
            <a:endParaRPr/>
          </a:p>
        </p:txBody>
      </p:sp>
      <p:sp>
        <p:nvSpPr>
          <p:cNvPr id="135" name="object 135"/>
          <p:cNvSpPr/>
          <p:nvPr/>
        </p:nvSpPr>
        <p:spPr>
          <a:xfrm>
            <a:off x="5768722" y="5137531"/>
            <a:ext cx="542543" cy="567512"/>
          </a:xfrm>
          <a:custGeom>
            <a:avLst/>
            <a:gdLst/>
            <a:ahLst/>
            <a:cxnLst/>
            <a:rect l="l" t="t" r="r" b="b"/>
            <a:pathLst>
              <a:path w="542543" h="567512">
                <a:moveTo>
                  <a:pt x="480821" y="521169"/>
                </a:moveTo>
                <a:lnTo>
                  <a:pt x="542543" y="567512"/>
                </a:lnTo>
                <a:lnTo>
                  <a:pt x="499109" y="503631"/>
                </a:lnTo>
                <a:lnTo>
                  <a:pt x="489965" y="512394"/>
                </a:lnTo>
                <a:lnTo>
                  <a:pt x="480821" y="521169"/>
                </a:lnTo>
                <a:close/>
              </a:path>
              <a:path w="542543" h="567512">
                <a:moveTo>
                  <a:pt x="542543" y="567512"/>
                </a:moveTo>
                <a:lnTo>
                  <a:pt x="482473" y="449326"/>
                </a:lnTo>
                <a:lnTo>
                  <a:pt x="487476" y="491442"/>
                </a:lnTo>
                <a:lnTo>
                  <a:pt x="18414" y="0"/>
                </a:lnTo>
                <a:lnTo>
                  <a:pt x="0" y="17526"/>
                </a:lnTo>
                <a:lnTo>
                  <a:pt x="469126" y="508919"/>
                </a:lnTo>
                <a:lnTo>
                  <a:pt x="427354" y="501954"/>
                </a:lnTo>
                <a:lnTo>
                  <a:pt x="542543" y="567512"/>
                </a:lnTo>
                <a:lnTo>
                  <a:pt x="480821" y="521169"/>
                </a:lnTo>
                <a:lnTo>
                  <a:pt x="489965" y="512394"/>
                </a:lnTo>
                <a:lnTo>
                  <a:pt x="499109" y="503631"/>
                </a:lnTo>
                <a:lnTo>
                  <a:pt x="542543" y="567512"/>
                </a:lnTo>
                <a:close/>
              </a:path>
            </a:pathLst>
          </a:custGeom>
          <a:solidFill>
            <a:srgbClr val="000000"/>
          </a:solidFill>
        </p:spPr>
        <p:txBody>
          <a:bodyPr wrap="square" lIns="0" tIns="0" rIns="0" bIns="0" rtlCol="0">
            <a:noAutofit/>
          </a:bodyPr>
          <a:lstStyle/>
          <a:p>
            <a:endParaRPr/>
          </a:p>
        </p:txBody>
      </p:sp>
      <p:sp>
        <p:nvSpPr>
          <p:cNvPr id="136" name="object 136"/>
          <p:cNvSpPr/>
          <p:nvPr/>
        </p:nvSpPr>
        <p:spPr>
          <a:xfrm>
            <a:off x="5712967" y="5121275"/>
            <a:ext cx="586994" cy="50800"/>
          </a:xfrm>
          <a:custGeom>
            <a:avLst/>
            <a:gdLst/>
            <a:ahLst/>
            <a:cxnLst/>
            <a:rect l="l" t="t" r="r" b="b"/>
            <a:pathLst>
              <a:path w="586994" h="50800">
                <a:moveTo>
                  <a:pt x="510794" y="12700"/>
                </a:moveTo>
                <a:lnTo>
                  <a:pt x="510794" y="25400"/>
                </a:lnTo>
                <a:lnTo>
                  <a:pt x="586994" y="12700"/>
                </a:lnTo>
                <a:lnTo>
                  <a:pt x="510794" y="0"/>
                </a:lnTo>
                <a:lnTo>
                  <a:pt x="510794" y="12700"/>
                </a:lnTo>
                <a:close/>
              </a:path>
              <a:path w="586994" h="50800">
                <a:moveTo>
                  <a:pt x="586994" y="12700"/>
                </a:moveTo>
                <a:lnTo>
                  <a:pt x="459994" y="-25400"/>
                </a:lnTo>
                <a:lnTo>
                  <a:pt x="493860" y="0"/>
                </a:lnTo>
                <a:lnTo>
                  <a:pt x="0" y="0"/>
                </a:lnTo>
                <a:lnTo>
                  <a:pt x="0" y="25400"/>
                </a:lnTo>
                <a:lnTo>
                  <a:pt x="493860" y="25399"/>
                </a:lnTo>
                <a:lnTo>
                  <a:pt x="459994" y="50800"/>
                </a:lnTo>
                <a:lnTo>
                  <a:pt x="586994" y="12700"/>
                </a:lnTo>
                <a:lnTo>
                  <a:pt x="510794" y="25400"/>
                </a:lnTo>
                <a:lnTo>
                  <a:pt x="510794" y="0"/>
                </a:lnTo>
                <a:lnTo>
                  <a:pt x="586994" y="12700"/>
                </a:lnTo>
                <a:close/>
              </a:path>
            </a:pathLst>
          </a:custGeom>
          <a:solidFill>
            <a:srgbClr val="000000"/>
          </a:solidFill>
        </p:spPr>
        <p:txBody>
          <a:bodyPr wrap="square" lIns="0" tIns="0" rIns="0" bIns="0" rtlCol="0">
            <a:noAutofit/>
          </a:bodyPr>
          <a:lstStyle/>
          <a:p>
            <a:endParaRPr/>
          </a:p>
        </p:txBody>
      </p:sp>
      <p:sp>
        <p:nvSpPr>
          <p:cNvPr id="137" name="object 137"/>
          <p:cNvSpPr/>
          <p:nvPr/>
        </p:nvSpPr>
        <p:spPr>
          <a:xfrm>
            <a:off x="6319774" y="5452757"/>
            <a:ext cx="716800" cy="456590"/>
          </a:xfrm>
          <a:custGeom>
            <a:avLst/>
            <a:gdLst/>
            <a:ahLst/>
            <a:cxnLst/>
            <a:rect l="l" t="t" r="r" b="b"/>
            <a:pathLst>
              <a:path w="716800" h="456590">
                <a:moveTo>
                  <a:pt x="0" y="456590"/>
                </a:moveTo>
                <a:lnTo>
                  <a:pt x="716800" y="456590"/>
                </a:lnTo>
                <a:lnTo>
                  <a:pt x="716800" y="0"/>
                </a:lnTo>
                <a:lnTo>
                  <a:pt x="0" y="0"/>
                </a:lnTo>
                <a:lnTo>
                  <a:pt x="0" y="456590"/>
                </a:lnTo>
                <a:close/>
              </a:path>
            </a:pathLst>
          </a:custGeom>
          <a:solidFill>
            <a:srgbClr val="FCE2B9"/>
          </a:solidFill>
        </p:spPr>
        <p:txBody>
          <a:bodyPr wrap="square" lIns="0" tIns="0" rIns="0" bIns="0" rtlCol="0">
            <a:noAutofit/>
          </a:bodyPr>
          <a:lstStyle/>
          <a:p>
            <a:endParaRPr/>
          </a:p>
        </p:txBody>
      </p:sp>
      <p:sp>
        <p:nvSpPr>
          <p:cNvPr id="138" name="object 138"/>
          <p:cNvSpPr/>
          <p:nvPr/>
        </p:nvSpPr>
        <p:spPr>
          <a:xfrm>
            <a:off x="6319774" y="5452757"/>
            <a:ext cx="716800" cy="456590"/>
          </a:xfrm>
          <a:custGeom>
            <a:avLst/>
            <a:gdLst/>
            <a:ahLst/>
            <a:cxnLst/>
            <a:rect l="l" t="t" r="r" b="b"/>
            <a:pathLst>
              <a:path w="716800" h="456590">
                <a:moveTo>
                  <a:pt x="0" y="456590"/>
                </a:moveTo>
                <a:lnTo>
                  <a:pt x="716800" y="456590"/>
                </a:lnTo>
                <a:lnTo>
                  <a:pt x="716800" y="0"/>
                </a:lnTo>
                <a:lnTo>
                  <a:pt x="0" y="0"/>
                </a:lnTo>
                <a:lnTo>
                  <a:pt x="0" y="456590"/>
                </a:lnTo>
                <a:close/>
              </a:path>
            </a:pathLst>
          </a:custGeom>
          <a:ln w="12700">
            <a:solidFill>
              <a:srgbClr val="000000"/>
            </a:solidFill>
          </a:ln>
        </p:spPr>
        <p:txBody>
          <a:bodyPr wrap="square" lIns="0" tIns="0" rIns="0" bIns="0" rtlCol="0">
            <a:noAutofit/>
          </a:bodyPr>
          <a:lstStyle/>
          <a:p>
            <a:endParaRPr/>
          </a:p>
        </p:txBody>
      </p:sp>
      <p:sp>
        <p:nvSpPr>
          <p:cNvPr id="139" name="object 139"/>
          <p:cNvSpPr/>
          <p:nvPr/>
        </p:nvSpPr>
        <p:spPr>
          <a:xfrm>
            <a:off x="6364859" y="5664428"/>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140" name="object 140"/>
          <p:cNvSpPr/>
          <p:nvPr/>
        </p:nvSpPr>
        <p:spPr>
          <a:xfrm>
            <a:off x="6841871" y="5451475"/>
            <a:ext cx="194690" cy="84962"/>
          </a:xfrm>
          <a:custGeom>
            <a:avLst/>
            <a:gdLst/>
            <a:ahLst/>
            <a:cxnLst/>
            <a:rect l="l" t="t" r="r" b="b"/>
            <a:pathLst>
              <a:path w="194690" h="84962">
                <a:moveTo>
                  <a:pt x="0" y="0"/>
                </a:moveTo>
                <a:lnTo>
                  <a:pt x="0" y="84962"/>
                </a:lnTo>
                <a:lnTo>
                  <a:pt x="194690" y="83693"/>
                </a:lnTo>
                <a:lnTo>
                  <a:pt x="191685" y="69943"/>
                </a:lnTo>
                <a:lnTo>
                  <a:pt x="187602" y="62123"/>
                </a:lnTo>
                <a:lnTo>
                  <a:pt x="181909" y="54595"/>
                </a:lnTo>
                <a:lnTo>
                  <a:pt x="174693" y="47397"/>
                </a:lnTo>
                <a:lnTo>
                  <a:pt x="166037" y="40564"/>
                </a:lnTo>
                <a:lnTo>
                  <a:pt x="156025" y="34133"/>
                </a:lnTo>
                <a:lnTo>
                  <a:pt x="144743" y="28142"/>
                </a:lnTo>
                <a:lnTo>
                  <a:pt x="132276" y="22625"/>
                </a:lnTo>
                <a:lnTo>
                  <a:pt x="118707" y="17621"/>
                </a:lnTo>
                <a:lnTo>
                  <a:pt x="104121" y="13165"/>
                </a:lnTo>
                <a:lnTo>
                  <a:pt x="88604" y="9295"/>
                </a:lnTo>
                <a:lnTo>
                  <a:pt x="72239" y="6046"/>
                </a:lnTo>
                <a:lnTo>
                  <a:pt x="55112" y="3456"/>
                </a:lnTo>
                <a:lnTo>
                  <a:pt x="37306" y="1560"/>
                </a:lnTo>
                <a:lnTo>
                  <a:pt x="18907" y="396"/>
                </a:lnTo>
                <a:lnTo>
                  <a:pt x="0" y="0"/>
                </a:lnTo>
                <a:close/>
              </a:path>
            </a:pathLst>
          </a:custGeom>
          <a:solidFill>
            <a:srgbClr val="FCE2B9"/>
          </a:solidFill>
        </p:spPr>
        <p:txBody>
          <a:bodyPr wrap="square" lIns="0" tIns="0" rIns="0" bIns="0" rtlCol="0">
            <a:noAutofit/>
          </a:bodyPr>
          <a:lstStyle/>
          <a:p>
            <a:endParaRPr/>
          </a:p>
        </p:txBody>
      </p:sp>
      <p:sp>
        <p:nvSpPr>
          <p:cNvPr id="141" name="object 141"/>
          <p:cNvSpPr/>
          <p:nvPr/>
        </p:nvSpPr>
        <p:spPr>
          <a:xfrm>
            <a:off x="6841871" y="5451476"/>
            <a:ext cx="194690" cy="83693"/>
          </a:xfrm>
          <a:custGeom>
            <a:avLst/>
            <a:gdLst/>
            <a:ahLst/>
            <a:cxnLst/>
            <a:rect l="l" t="t" r="r" b="b"/>
            <a:pathLst>
              <a:path w="194690" h="83693">
                <a:moveTo>
                  <a:pt x="0" y="0"/>
                </a:moveTo>
                <a:lnTo>
                  <a:pt x="18907" y="396"/>
                </a:lnTo>
                <a:lnTo>
                  <a:pt x="37306" y="1560"/>
                </a:lnTo>
                <a:lnTo>
                  <a:pt x="55112" y="3456"/>
                </a:lnTo>
                <a:lnTo>
                  <a:pt x="72239" y="6046"/>
                </a:lnTo>
                <a:lnTo>
                  <a:pt x="88604" y="9295"/>
                </a:lnTo>
                <a:lnTo>
                  <a:pt x="104121" y="13165"/>
                </a:lnTo>
                <a:lnTo>
                  <a:pt x="118707" y="17621"/>
                </a:lnTo>
                <a:lnTo>
                  <a:pt x="132276" y="22625"/>
                </a:lnTo>
                <a:lnTo>
                  <a:pt x="144743" y="28142"/>
                </a:lnTo>
                <a:lnTo>
                  <a:pt x="156025" y="34133"/>
                </a:lnTo>
                <a:lnTo>
                  <a:pt x="166037" y="40564"/>
                </a:lnTo>
                <a:lnTo>
                  <a:pt x="174693" y="47397"/>
                </a:lnTo>
                <a:lnTo>
                  <a:pt x="181909" y="54595"/>
                </a:lnTo>
                <a:lnTo>
                  <a:pt x="187602" y="62123"/>
                </a:lnTo>
                <a:lnTo>
                  <a:pt x="191685" y="69943"/>
                </a:lnTo>
                <a:lnTo>
                  <a:pt x="194074" y="78020"/>
                </a:lnTo>
                <a:lnTo>
                  <a:pt x="194690" y="83693"/>
                </a:lnTo>
              </a:path>
            </a:pathLst>
          </a:custGeom>
          <a:ln w="12700">
            <a:solidFill>
              <a:srgbClr val="000000"/>
            </a:solidFill>
          </a:ln>
        </p:spPr>
        <p:txBody>
          <a:bodyPr wrap="square" lIns="0" tIns="0" rIns="0" bIns="0" rtlCol="0">
            <a:noAutofit/>
          </a:bodyPr>
          <a:lstStyle/>
          <a:p>
            <a:endParaRPr/>
          </a:p>
        </p:txBody>
      </p:sp>
      <p:sp>
        <p:nvSpPr>
          <p:cNvPr id="142" name="object 142"/>
          <p:cNvSpPr/>
          <p:nvPr/>
        </p:nvSpPr>
        <p:spPr>
          <a:xfrm>
            <a:off x="6885133" y="5459731"/>
            <a:ext cx="41192" cy="81025"/>
          </a:xfrm>
          <a:custGeom>
            <a:avLst/>
            <a:gdLst/>
            <a:ahLst/>
            <a:cxnLst/>
            <a:rect l="l" t="t" r="r" b="b"/>
            <a:pathLst>
              <a:path w="41192" h="81025">
                <a:moveTo>
                  <a:pt x="2203" y="81026"/>
                </a:moveTo>
                <a:lnTo>
                  <a:pt x="41192" y="74676"/>
                </a:lnTo>
                <a:lnTo>
                  <a:pt x="25317" y="0"/>
                </a:lnTo>
                <a:lnTo>
                  <a:pt x="16990" y="4316"/>
                </a:lnTo>
                <a:lnTo>
                  <a:pt x="10384" y="11715"/>
                </a:lnTo>
                <a:lnTo>
                  <a:pt x="5266" y="21856"/>
                </a:lnTo>
                <a:lnTo>
                  <a:pt x="1762" y="34299"/>
                </a:lnTo>
                <a:lnTo>
                  <a:pt x="0" y="48602"/>
                </a:lnTo>
                <a:lnTo>
                  <a:pt x="104" y="64324"/>
                </a:lnTo>
                <a:lnTo>
                  <a:pt x="2203" y="81026"/>
                </a:lnTo>
                <a:close/>
              </a:path>
            </a:pathLst>
          </a:custGeom>
          <a:solidFill>
            <a:srgbClr val="FCE2B9"/>
          </a:solidFill>
        </p:spPr>
        <p:txBody>
          <a:bodyPr wrap="square" lIns="0" tIns="0" rIns="0" bIns="0" rtlCol="0">
            <a:noAutofit/>
          </a:bodyPr>
          <a:lstStyle/>
          <a:p>
            <a:endParaRPr/>
          </a:p>
        </p:txBody>
      </p:sp>
      <p:sp>
        <p:nvSpPr>
          <p:cNvPr id="143" name="object 143"/>
          <p:cNvSpPr/>
          <p:nvPr/>
        </p:nvSpPr>
        <p:spPr>
          <a:xfrm>
            <a:off x="6885134" y="5459731"/>
            <a:ext cx="25317" cy="81025"/>
          </a:xfrm>
          <a:custGeom>
            <a:avLst/>
            <a:gdLst/>
            <a:ahLst/>
            <a:cxnLst/>
            <a:rect l="l" t="t" r="r" b="b"/>
            <a:pathLst>
              <a:path w="25317" h="81025">
                <a:moveTo>
                  <a:pt x="2203" y="81026"/>
                </a:moveTo>
                <a:lnTo>
                  <a:pt x="104" y="64324"/>
                </a:lnTo>
                <a:lnTo>
                  <a:pt x="0" y="48602"/>
                </a:lnTo>
                <a:lnTo>
                  <a:pt x="1762" y="34299"/>
                </a:lnTo>
                <a:lnTo>
                  <a:pt x="5266" y="21856"/>
                </a:lnTo>
                <a:lnTo>
                  <a:pt x="10384" y="11715"/>
                </a:lnTo>
                <a:lnTo>
                  <a:pt x="16990" y="4316"/>
                </a:lnTo>
                <a:lnTo>
                  <a:pt x="24958" y="100"/>
                </a:lnTo>
                <a:lnTo>
                  <a:pt x="25317" y="0"/>
                </a:lnTo>
              </a:path>
            </a:pathLst>
          </a:custGeom>
          <a:ln w="12700">
            <a:solidFill>
              <a:srgbClr val="000000"/>
            </a:solidFill>
          </a:ln>
        </p:spPr>
        <p:txBody>
          <a:bodyPr wrap="square" lIns="0" tIns="0" rIns="0" bIns="0" rtlCol="0">
            <a:noAutofit/>
          </a:bodyPr>
          <a:lstStyle/>
          <a:p>
            <a:endParaRPr/>
          </a:p>
        </p:txBody>
      </p:sp>
      <p:sp>
        <p:nvSpPr>
          <p:cNvPr id="144" name="object 144"/>
          <p:cNvSpPr/>
          <p:nvPr/>
        </p:nvSpPr>
        <p:spPr>
          <a:xfrm>
            <a:off x="6903593" y="5509182"/>
            <a:ext cx="122682" cy="83987"/>
          </a:xfrm>
          <a:custGeom>
            <a:avLst/>
            <a:gdLst/>
            <a:ahLst/>
            <a:cxnLst/>
            <a:rect l="l" t="t" r="r" b="b"/>
            <a:pathLst>
              <a:path w="122682" h="83987">
                <a:moveTo>
                  <a:pt x="0" y="30431"/>
                </a:moveTo>
                <a:lnTo>
                  <a:pt x="43434" y="83987"/>
                </a:lnTo>
                <a:lnTo>
                  <a:pt x="122682" y="18239"/>
                </a:lnTo>
                <a:lnTo>
                  <a:pt x="114578" y="10762"/>
                </a:lnTo>
                <a:lnTo>
                  <a:pt x="105856" y="5660"/>
                </a:lnTo>
                <a:lnTo>
                  <a:pt x="96048" y="2178"/>
                </a:lnTo>
                <a:lnTo>
                  <a:pt x="85334" y="297"/>
                </a:lnTo>
                <a:lnTo>
                  <a:pt x="73892" y="0"/>
                </a:lnTo>
                <a:lnTo>
                  <a:pt x="61903" y="1267"/>
                </a:lnTo>
                <a:lnTo>
                  <a:pt x="49544" y="4080"/>
                </a:lnTo>
                <a:lnTo>
                  <a:pt x="36996" y="8422"/>
                </a:lnTo>
                <a:lnTo>
                  <a:pt x="24436" y="14273"/>
                </a:lnTo>
                <a:lnTo>
                  <a:pt x="12044" y="21616"/>
                </a:lnTo>
                <a:lnTo>
                  <a:pt x="0" y="30431"/>
                </a:lnTo>
                <a:close/>
              </a:path>
            </a:pathLst>
          </a:custGeom>
          <a:solidFill>
            <a:srgbClr val="FCE2B9"/>
          </a:solidFill>
        </p:spPr>
        <p:txBody>
          <a:bodyPr wrap="square" lIns="0" tIns="0" rIns="0" bIns="0" rtlCol="0">
            <a:noAutofit/>
          </a:bodyPr>
          <a:lstStyle/>
          <a:p>
            <a:endParaRPr/>
          </a:p>
        </p:txBody>
      </p:sp>
      <p:sp>
        <p:nvSpPr>
          <p:cNvPr id="145" name="object 145"/>
          <p:cNvSpPr/>
          <p:nvPr/>
        </p:nvSpPr>
        <p:spPr>
          <a:xfrm>
            <a:off x="6903593" y="5509182"/>
            <a:ext cx="122682" cy="30431"/>
          </a:xfrm>
          <a:custGeom>
            <a:avLst/>
            <a:gdLst/>
            <a:ahLst/>
            <a:cxnLst/>
            <a:rect l="l" t="t" r="r" b="b"/>
            <a:pathLst>
              <a:path w="122682" h="30431">
                <a:moveTo>
                  <a:pt x="0" y="30431"/>
                </a:moveTo>
                <a:lnTo>
                  <a:pt x="12044" y="21616"/>
                </a:lnTo>
                <a:lnTo>
                  <a:pt x="24436" y="14273"/>
                </a:lnTo>
                <a:lnTo>
                  <a:pt x="36996" y="8422"/>
                </a:lnTo>
                <a:lnTo>
                  <a:pt x="49544" y="4080"/>
                </a:lnTo>
                <a:lnTo>
                  <a:pt x="61903" y="1267"/>
                </a:lnTo>
                <a:lnTo>
                  <a:pt x="73892" y="0"/>
                </a:lnTo>
                <a:lnTo>
                  <a:pt x="85334" y="297"/>
                </a:lnTo>
                <a:lnTo>
                  <a:pt x="96048" y="2178"/>
                </a:lnTo>
                <a:lnTo>
                  <a:pt x="105856" y="5660"/>
                </a:lnTo>
                <a:lnTo>
                  <a:pt x="114578" y="10762"/>
                </a:lnTo>
                <a:lnTo>
                  <a:pt x="122037" y="17503"/>
                </a:lnTo>
                <a:lnTo>
                  <a:pt x="122682" y="18239"/>
                </a:lnTo>
              </a:path>
            </a:pathLst>
          </a:custGeom>
          <a:ln w="12700">
            <a:solidFill>
              <a:srgbClr val="000000"/>
            </a:solidFill>
          </a:ln>
        </p:spPr>
        <p:txBody>
          <a:bodyPr wrap="square" lIns="0" tIns="0" rIns="0" bIns="0" rtlCol="0">
            <a:noAutofit/>
          </a:bodyPr>
          <a:lstStyle/>
          <a:p>
            <a:endParaRPr/>
          </a:p>
        </p:txBody>
      </p:sp>
      <p:sp>
        <p:nvSpPr>
          <p:cNvPr id="146" name="object 146"/>
          <p:cNvSpPr/>
          <p:nvPr/>
        </p:nvSpPr>
        <p:spPr>
          <a:xfrm>
            <a:off x="5171186" y="4940782"/>
            <a:ext cx="716800" cy="456590"/>
          </a:xfrm>
          <a:custGeom>
            <a:avLst/>
            <a:gdLst/>
            <a:ahLst/>
            <a:cxnLst/>
            <a:rect l="l" t="t" r="r" b="b"/>
            <a:pathLst>
              <a:path w="716800" h="456590">
                <a:moveTo>
                  <a:pt x="0" y="456590"/>
                </a:moveTo>
                <a:lnTo>
                  <a:pt x="716800" y="456590"/>
                </a:lnTo>
                <a:lnTo>
                  <a:pt x="716800" y="0"/>
                </a:lnTo>
                <a:lnTo>
                  <a:pt x="0" y="0"/>
                </a:lnTo>
                <a:lnTo>
                  <a:pt x="0" y="456590"/>
                </a:lnTo>
                <a:close/>
              </a:path>
            </a:pathLst>
          </a:custGeom>
          <a:solidFill>
            <a:srgbClr val="FCE2B9"/>
          </a:solidFill>
        </p:spPr>
        <p:txBody>
          <a:bodyPr wrap="square" lIns="0" tIns="0" rIns="0" bIns="0" rtlCol="0">
            <a:noAutofit/>
          </a:bodyPr>
          <a:lstStyle/>
          <a:p>
            <a:endParaRPr/>
          </a:p>
        </p:txBody>
      </p:sp>
      <p:sp>
        <p:nvSpPr>
          <p:cNvPr id="147" name="object 147"/>
          <p:cNvSpPr/>
          <p:nvPr/>
        </p:nvSpPr>
        <p:spPr>
          <a:xfrm>
            <a:off x="5171186" y="4940782"/>
            <a:ext cx="716800" cy="456590"/>
          </a:xfrm>
          <a:custGeom>
            <a:avLst/>
            <a:gdLst/>
            <a:ahLst/>
            <a:cxnLst/>
            <a:rect l="l" t="t" r="r" b="b"/>
            <a:pathLst>
              <a:path w="716800" h="456590">
                <a:moveTo>
                  <a:pt x="0" y="456590"/>
                </a:moveTo>
                <a:lnTo>
                  <a:pt x="716800" y="456590"/>
                </a:lnTo>
                <a:lnTo>
                  <a:pt x="716800" y="0"/>
                </a:lnTo>
                <a:lnTo>
                  <a:pt x="0" y="0"/>
                </a:lnTo>
                <a:lnTo>
                  <a:pt x="0" y="456590"/>
                </a:lnTo>
                <a:close/>
              </a:path>
            </a:pathLst>
          </a:custGeom>
          <a:ln w="12699">
            <a:solidFill>
              <a:srgbClr val="000000"/>
            </a:solidFill>
          </a:ln>
        </p:spPr>
        <p:txBody>
          <a:bodyPr wrap="square" lIns="0" tIns="0" rIns="0" bIns="0" rtlCol="0">
            <a:noAutofit/>
          </a:bodyPr>
          <a:lstStyle/>
          <a:p>
            <a:endParaRPr/>
          </a:p>
        </p:txBody>
      </p:sp>
      <p:sp>
        <p:nvSpPr>
          <p:cNvPr id="148" name="object 148"/>
          <p:cNvSpPr/>
          <p:nvPr/>
        </p:nvSpPr>
        <p:spPr>
          <a:xfrm>
            <a:off x="5216399" y="5185664"/>
            <a:ext cx="584073" cy="0"/>
          </a:xfrm>
          <a:custGeom>
            <a:avLst/>
            <a:gdLst/>
            <a:ahLst/>
            <a:cxnLst/>
            <a:rect l="l" t="t" r="r" b="b"/>
            <a:pathLst>
              <a:path w="584073">
                <a:moveTo>
                  <a:pt x="0" y="0"/>
                </a:moveTo>
                <a:lnTo>
                  <a:pt x="584073" y="0"/>
                </a:lnTo>
              </a:path>
            </a:pathLst>
          </a:custGeom>
          <a:ln w="12700">
            <a:solidFill>
              <a:srgbClr val="000000"/>
            </a:solidFill>
          </a:ln>
        </p:spPr>
        <p:txBody>
          <a:bodyPr wrap="square" lIns="0" tIns="0" rIns="0" bIns="0" rtlCol="0">
            <a:noAutofit/>
          </a:bodyPr>
          <a:lstStyle/>
          <a:p>
            <a:endParaRPr/>
          </a:p>
        </p:txBody>
      </p:sp>
      <p:sp>
        <p:nvSpPr>
          <p:cNvPr id="149" name="object 149"/>
          <p:cNvSpPr/>
          <p:nvPr/>
        </p:nvSpPr>
        <p:spPr>
          <a:xfrm>
            <a:off x="5693283" y="4939538"/>
            <a:ext cx="194690" cy="84962"/>
          </a:xfrm>
          <a:custGeom>
            <a:avLst/>
            <a:gdLst/>
            <a:ahLst/>
            <a:cxnLst/>
            <a:rect l="l" t="t" r="r" b="b"/>
            <a:pathLst>
              <a:path w="194690" h="84962">
                <a:moveTo>
                  <a:pt x="0" y="0"/>
                </a:moveTo>
                <a:lnTo>
                  <a:pt x="0" y="84962"/>
                </a:lnTo>
                <a:lnTo>
                  <a:pt x="194690" y="83693"/>
                </a:lnTo>
                <a:lnTo>
                  <a:pt x="191685" y="69943"/>
                </a:lnTo>
                <a:lnTo>
                  <a:pt x="187602" y="62123"/>
                </a:lnTo>
                <a:lnTo>
                  <a:pt x="181909" y="54595"/>
                </a:lnTo>
                <a:lnTo>
                  <a:pt x="174693" y="47397"/>
                </a:lnTo>
                <a:lnTo>
                  <a:pt x="166037" y="40564"/>
                </a:lnTo>
                <a:lnTo>
                  <a:pt x="156025" y="34133"/>
                </a:lnTo>
                <a:lnTo>
                  <a:pt x="144743" y="28142"/>
                </a:lnTo>
                <a:lnTo>
                  <a:pt x="132276" y="22625"/>
                </a:lnTo>
                <a:lnTo>
                  <a:pt x="118707" y="17621"/>
                </a:lnTo>
                <a:lnTo>
                  <a:pt x="104121" y="13165"/>
                </a:lnTo>
                <a:lnTo>
                  <a:pt x="88604" y="9295"/>
                </a:lnTo>
                <a:lnTo>
                  <a:pt x="72239" y="6046"/>
                </a:lnTo>
                <a:lnTo>
                  <a:pt x="55112" y="3456"/>
                </a:lnTo>
                <a:lnTo>
                  <a:pt x="37306" y="1560"/>
                </a:lnTo>
                <a:lnTo>
                  <a:pt x="18907" y="396"/>
                </a:lnTo>
                <a:lnTo>
                  <a:pt x="0" y="0"/>
                </a:lnTo>
                <a:close/>
              </a:path>
            </a:pathLst>
          </a:custGeom>
          <a:solidFill>
            <a:srgbClr val="FCE2B9"/>
          </a:solidFill>
        </p:spPr>
        <p:txBody>
          <a:bodyPr wrap="square" lIns="0" tIns="0" rIns="0" bIns="0" rtlCol="0">
            <a:noAutofit/>
          </a:bodyPr>
          <a:lstStyle/>
          <a:p>
            <a:endParaRPr/>
          </a:p>
        </p:txBody>
      </p:sp>
      <p:sp>
        <p:nvSpPr>
          <p:cNvPr id="150" name="object 150"/>
          <p:cNvSpPr/>
          <p:nvPr/>
        </p:nvSpPr>
        <p:spPr>
          <a:xfrm>
            <a:off x="5693283" y="4939539"/>
            <a:ext cx="194690" cy="83693"/>
          </a:xfrm>
          <a:custGeom>
            <a:avLst/>
            <a:gdLst/>
            <a:ahLst/>
            <a:cxnLst/>
            <a:rect l="l" t="t" r="r" b="b"/>
            <a:pathLst>
              <a:path w="194690" h="83692">
                <a:moveTo>
                  <a:pt x="0" y="0"/>
                </a:moveTo>
                <a:lnTo>
                  <a:pt x="18907" y="396"/>
                </a:lnTo>
                <a:lnTo>
                  <a:pt x="37306" y="1560"/>
                </a:lnTo>
                <a:lnTo>
                  <a:pt x="55112" y="3456"/>
                </a:lnTo>
                <a:lnTo>
                  <a:pt x="72239" y="6046"/>
                </a:lnTo>
                <a:lnTo>
                  <a:pt x="88604" y="9295"/>
                </a:lnTo>
                <a:lnTo>
                  <a:pt x="104121" y="13165"/>
                </a:lnTo>
                <a:lnTo>
                  <a:pt x="118707" y="17621"/>
                </a:lnTo>
                <a:lnTo>
                  <a:pt x="132276" y="22625"/>
                </a:lnTo>
                <a:lnTo>
                  <a:pt x="144743" y="28142"/>
                </a:lnTo>
                <a:lnTo>
                  <a:pt x="156025" y="34133"/>
                </a:lnTo>
                <a:lnTo>
                  <a:pt x="166037" y="40564"/>
                </a:lnTo>
                <a:lnTo>
                  <a:pt x="174693" y="47397"/>
                </a:lnTo>
                <a:lnTo>
                  <a:pt x="181909" y="54595"/>
                </a:lnTo>
                <a:lnTo>
                  <a:pt x="187602" y="62123"/>
                </a:lnTo>
                <a:lnTo>
                  <a:pt x="191685" y="69943"/>
                </a:lnTo>
                <a:lnTo>
                  <a:pt x="194074" y="78020"/>
                </a:lnTo>
                <a:lnTo>
                  <a:pt x="194690" y="83693"/>
                </a:lnTo>
              </a:path>
            </a:pathLst>
          </a:custGeom>
          <a:ln w="12700">
            <a:solidFill>
              <a:srgbClr val="000000"/>
            </a:solidFill>
          </a:ln>
        </p:spPr>
        <p:txBody>
          <a:bodyPr wrap="square" lIns="0" tIns="0" rIns="0" bIns="0" rtlCol="0">
            <a:noAutofit/>
          </a:bodyPr>
          <a:lstStyle/>
          <a:p>
            <a:endParaRPr/>
          </a:p>
        </p:txBody>
      </p:sp>
      <p:sp>
        <p:nvSpPr>
          <p:cNvPr id="151" name="object 151"/>
          <p:cNvSpPr/>
          <p:nvPr/>
        </p:nvSpPr>
        <p:spPr>
          <a:xfrm>
            <a:off x="5736545" y="4947794"/>
            <a:ext cx="41192" cy="81025"/>
          </a:xfrm>
          <a:custGeom>
            <a:avLst/>
            <a:gdLst/>
            <a:ahLst/>
            <a:cxnLst/>
            <a:rect l="l" t="t" r="r" b="b"/>
            <a:pathLst>
              <a:path w="41192" h="81025">
                <a:moveTo>
                  <a:pt x="2203" y="81025"/>
                </a:moveTo>
                <a:lnTo>
                  <a:pt x="41192" y="74675"/>
                </a:lnTo>
                <a:lnTo>
                  <a:pt x="25317" y="0"/>
                </a:lnTo>
                <a:lnTo>
                  <a:pt x="16990" y="4316"/>
                </a:lnTo>
                <a:lnTo>
                  <a:pt x="10384" y="11715"/>
                </a:lnTo>
                <a:lnTo>
                  <a:pt x="5266" y="21856"/>
                </a:lnTo>
                <a:lnTo>
                  <a:pt x="1762" y="34299"/>
                </a:lnTo>
                <a:lnTo>
                  <a:pt x="0" y="48602"/>
                </a:lnTo>
                <a:lnTo>
                  <a:pt x="104" y="64324"/>
                </a:lnTo>
                <a:lnTo>
                  <a:pt x="2203" y="81025"/>
                </a:lnTo>
                <a:close/>
              </a:path>
            </a:pathLst>
          </a:custGeom>
          <a:solidFill>
            <a:srgbClr val="FCE2B9"/>
          </a:solidFill>
        </p:spPr>
        <p:txBody>
          <a:bodyPr wrap="square" lIns="0" tIns="0" rIns="0" bIns="0" rtlCol="0">
            <a:noAutofit/>
          </a:bodyPr>
          <a:lstStyle/>
          <a:p>
            <a:endParaRPr/>
          </a:p>
        </p:txBody>
      </p:sp>
      <p:sp>
        <p:nvSpPr>
          <p:cNvPr id="152" name="object 152"/>
          <p:cNvSpPr/>
          <p:nvPr/>
        </p:nvSpPr>
        <p:spPr>
          <a:xfrm>
            <a:off x="5736546" y="4947794"/>
            <a:ext cx="25317" cy="81025"/>
          </a:xfrm>
          <a:custGeom>
            <a:avLst/>
            <a:gdLst/>
            <a:ahLst/>
            <a:cxnLst/>
            <a:rect l="l" t="t" r="r" b="b"/>
            <a:pathLst>
              <a:path w="25317" h="81025">
                <a:moveTo>
                  <a:pt x="2203" y="81025"/>
                </a:moveTo>
                <a:lnTo>
                  <a:pt x="104" y="64324"/>
                </a:lnTo>
                <a:lnTo>
                  <a:pt x="0" y="48602"/>
                </a:lnTo>
                <a:lnTo>
                  <a:pt x="1762" y="34299"/>
                </a:lnTo>
                <a:lnTo>
                  <a:pt x="5266" y="21856"/>
                </a:lnTo>
                <a:lnTo>
                  <a:pt x="10384" y="11715"/>
                </a:lnTo>
                <a:lnTo>
                  <a:pt x="16990" y="4316"/>
                </a:lnTo>
                <a:lnTo>
                  <a:pt x="24958" y="100"/>
                </a:lnTo>
                <a:lnTo>
                  <a:pt x="25317" y="0"/>
                </a:lnTo>
              </a:path>
            </a:pathLst>
          </a:custGeom>
          <a:ln w="12700">
            <a:solidFill>
              <a:srgbClr val="000000"/>
            </a:solidFill>
          </a:ln>
        </p:spPr>
        <p:txBody>
          <a:bodyPr wrap="square" lIns="0" tIns="0" rIns="0" bIns="0" rtlCol="0">
            <a:noAutofit/>
          </a:bodyPr>
          <a:lstStyle/>
          <a:p>
            <a:endParaRPr/>
          </a:p>
        </p:txBody>
      </p:sp>
      <p:sp>
        <p:nvSpPr>
          <p:cNvPr id="153" name="object 153"/>
          <p:cNvSpPr/>
          <p:nvPr/>
        </p:nvSpPr>
        <p:spPr>
          <a:xfrm>
            <a:off x="5755005" y="4997180"/>
            <a:ext cx="122682" cy="83963"/>
          </a:xfrm>
          <a:custGeom>
            <a:avLst/>
            <a:gdLst/>
            <a:ahLst/>
            <a:cxnLst/>
            <a:rect l="l" t="t" r="r" b="b"/>
            <a:pathLst>
              <a:path w="122682" h="83963">
                <a:moveTo>
                  <a:pt x="0" y="30496"/>
                </a:moveTo>
                <a:lnTo>
                  <a:pt x="43434" y="83963"/>
                </a:lnTo>
                <a:lnTo>
                  <a:pt x="122682" y="18177"/>
                </a:lnTo>
                <a:lnTo>
                  <a:pt x="114614" y="10757"/>
                </a:lnTo>
                <a:lnTo>
                  <a:pt x="105893" y="5663"/>
                </a:lnTo>
                <a:lnTo>
                  <a:pt x="96084" y="2183"/>
                </a:lnTo>
                <a:lnTo>
                  <a:pt x="85368" y="301"/>
                </a:lnTo>
                <a:lnTo>
                  <a:pt x="73924" y="0"/>
                </a:lnTo>
                <a:lnTo>
                  <a:pt x="61930" y="1264"/>
                </a:lnTo>
                <a:lnTo>
                  <a:pt x="49566" y="4077"/>
                </a:lnTo>
                <a:lnTo>
                  <a:pt x="37012" y="8423"/>
                </a:lnTo>
                <a:lnTo>
                  <a:pt x="24447" y="14285"/>
                </a:lnTo>
                <a:lnTo>
                  <a:pt x="12050" y="21648"/>
                </a:lnTo>
                <a:lnTo>
                  <a:pt x="0" y="30496"/>
                </a:lnTo>
                <a:close/>
              </a:path>
            </a:pathLst>
          </a:custGeom>
          <a:solidFill>
            <a:srgbClr val="FCE2B9"/>
          </a:solidFill>
        </p:spPr>
        <p:txBody>
          <a:bodyPr wrap="square" lIns="0" tIns="0" rIns="0" bIns="0" rtlCol="0">
            <a:noAutofit/>
          </a:bodyPr>
          <a:lstStyle/>
          <a:p>
            <a:endParaRPr/>
          </a:p>
        </p:txBody>
      </p:sp>
      <p:sp>
        <p:nvSpPr>
          <p:cNvPr id="154" name="object 154"/>
          <p:cNvSpPr/>
          <p:nvPr/>
        </p:nvSpPr>
        <p:spPr>
          <a:xfrm>
            <a:off x="5755005" y="4997179"/>
            <a:ext cx="122682" cy="30496"/>
          </a:xfrm>
          <a:custGeom>
            <a:avLst/>
            <a:gdLst/>
            <a:ahLst/>
            <a:cxnLst/>
            <a:rect l="l" t="t" r="r" b="b"/>
            <a:pathLst>
              <a:path w="122682" h="30496">
                <a:moveTo>
                  <a:pt x="0" y="30496"/>
                </a:moveTo>
                <a:lnTo>
                  <a:pt x="12050" y="21648"/>
                </a:lnTo>
                <a:lnTo>
                  <a:pt x="24447" y="14285"/>
                </a:lnTo>
                <a:lnTo>
                  <a:pt x="37012" y="8423"/>
                </a:lnTo>
                <a:lnTo>
                  <a:pt x="49566" y="4077"/>
                </a:lnTo>
                <a:lnTo>
                  <a:pt x="61930" y="1264"/>
                </a:lnTo>
                <a:lnTo>
                  <a:pt x="73924" y="0"/>
                </a:lnTo>
                <a:lnTo>
                  <a:pt x="85368" y="301"/>
                </a:lnTo>
                <a:lnTo>
                  <a:pt x="96084" y="2183"/>
                </a:lnTo>
                <a:lnTo>
                  <a:pt x="105893" y="5663"/>
                </a:lnTo>
                <a:lnTo>
                  <a:pt x="114614" y="10757"/>
                </a:lnTo>
                <a:lnTo>
                  <a:pt x="122070" y="17481"/>
                </a:lnTo>
                <a:lnTo>
                  <a:pt x="122682" y="18177"/>
                </a:lnTo>
              </a:path>
            </a:pathLst>
          </a:custGeom>
          <a:ln w="12700">
            <a:solidFill>
              <a:srgbClr val="000000"/>
            </a:solidFill>
          </a:ln>
        </p:spPr>
        <p:txBody>
          <a:bodyPr wrap="square" lIns="0" tIns="0" rIns="0" bIns="0" rtlCol="0">
            <a:noAutofit/>
          </a:bodyPr>
          <a:lstStyle/>
          <a:p>
            <a:endParaRPr/>
          </a:p>
        </p:txBody>
      </p:sp>
      <p:sp>
        <p:nvSpPr>
          <p:cNvPr id="155" name="object 155"/>
          <p:cNvSpPr/>
          <p:nvPr/>
        </p:nvSpPr>
        <p:spPr>
          <a:xfrm>
            <a:off x="6319774" y="4925999"/>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solidFill>
            <a:srgbClr val="FCE2B9"/>
          </a:solidFill>
        </p:spPr>
        <p:txBody>
          <a:bodyPr wrap="square" lIns="0" tIns="0" rIns="0" bIns="0" rtlCol="0">
            <a:noAutofit/>
          </a:bodyPr>
          <a:lstStyle/>
          <a:p>
            <a:endParaRPr/>
          </a:p>
        </p:txBody>
      </p:sp>
      <p:sp>
        <p:nvSpPr>
          <p:cNvPr id="156" name="object 156"/>
          <p:cNvSpPr/>
          <p:nvPr/>
        </p:nvSpPr>
        <p:spPr>
          <a:xfrm>
            <a:off x="6319774" y="4925999"/>
            <a:ext cx="716800" cy="459054"/>
          </a:xfrm>
          <a:custGeom>
            <a:avLst/>
            <a:gdLst/>
            <a:ahLst/>
            <a:cxnLst/>
            <a:rect l="l" t="t" r="r" b="b"/>
            <a:pathLst>
              <a:path w="716800" h="459054">
                <a:moveTo>
                  <a:pt x="0" y="459054"/>
                </a:moveTo>
                <a:lnTo>
                  <a:pt x="716800" y="459054"/>
                </a:lnTo>
                <a:lnTo>
                  <a:pt x="716800" y="0"/>
                </a:lnTo>
                <a:lnTo>
                  <a:pt x="0" y="0"/>
                </a:lnTo>
                <a:lnTo>
                  <a:pt x="0" y="459054"/>
                </a:lnTo>
                <a:close/>
              </a:path>
            </a:pathLst>
          </a:custGeom>
          <a:ln w="12700">
            <a:solidFill>
              <a:srgbClr val="000000"/>
            </a:solidFill>
          </a:ln>
        </p:spPr>
        <p:txBody>
          <a:bodyPr wrap="square" lIns="0" tIns="0" rIns="0" bIns="0" rtlCol="0">
            <a:noAutofit/>
          </a:bodyPr>
          <a:lstStyle/>
          <a:p>
            <a:endParaRPr/>
          </a:p>
        </p:txBody>
      </p:sp>
      <p:sp>
        <p:nvSpPr>
          <p:cNvPr id="157" name="object 157"/>
          <p:cNvSpPr/>
          <p:nvPr/>
        </p:nvSpPr>
        <p:spPr>
          <a:xfrm>
            <a:off x="6364859" y="5140198"/>
            <a:ext cx="584200" cy="0"/>
          </a:xfrm>
          <a:custGeom>
            <a:avLst/>
            <a:gdLst/>
            <a:ahLst/>
            <a:cxnLst/>
            <a:rect l="l" t="t" r="r" b="b"/>
            <a:pathLst>
              <a:path w="584200">
                <a:moveTo>
                  <a:pt x="0" y="0"/>
                </a:moveTo>
                <a:lnTo>
                  <a:pt x="584200" y="0"/>
                </a:lnTo>
              </a:path>
            </a:pathLst>
          </a:custGeom>
          <a:ln w="12700">
            <a:solidFill>
              <a:srgbClr val="000000"/>
            </a:solidFill>
          </a:ln>
        </p:spPr>
        <p:txBody>
          <a:bodyPr wrap="square" lIns="0" tIns="0" rIns="0" bIns="0" rtlCol="0">
            <a:noAutofit/>
          </a:bodyPr>
          <a:lstStyle/>
          <a:p>
            <a:endParaRPr/>
          </a:p>
        </p:txBody>
      </p:sp>
      <p:sp>
        <p:nvSpPr>
          <p:cNvPr id="158" name="object 158"/>
          <p:cNvSpPr/>
          <p:nvPr/>
        </p:nvSpPr>
        <p:spPr>
          <a:xfrm>
            <a:off x="6841871" y="4925949"/>
            <a:ext cx="194690" cy="84962"/>
          </a:xfrm>
          <a:custGeom>
            <a:avLst/>
            <a:gdLst/>
            <a:ahLst/>
            <a:cxnLst/>
            <a:rect l="l" t="t" r="r" b="b"/>
            <a:pathLst>
              <a:path w="194690" h="84962">
                <a:moveTo>
                  <a:pt x="0" y="0"/>
                </a:moveTo>
                <a:lnTo>
                  <a:pt x="0" y="84962"/>
                </a:lnTo>
                <a:lnTo>
                  <a:pt x="194690" y="83693"/>
                </a:lnTo>
                <a:lnTo>
                  <a:pt x="191685" y="69943"/>
                </a:lnTo>
                <a:lnTo>
                  <a:pt x="187602" y="62123"/>
                </a:lnTo>
                <a:lnTo>
                  <a:pt x="181909" y="54595"/>
                </a:lnTo>
                <a:lnTo>
                  <a:pt x="174693" y="47397"/>
                </a:lnTo>
                <a:lnTo>
                  <a:pt x="166037" y="40564"/>
                </a:lnTo>
                <a:lnTo>
                  <a:pt x="156025" y="34133"/>
                </a:lnTo>
                <a:lnTo>
                  <a:pt x="144743" y="28142"/>
                </a:lnTo>
                <a:lnTo>
                  <a:pt x="132276" y="22625"/>
                </a:lnTo>
                <a:lnTo>
                  <a:pt x="118707" y="17621"/>
                </a:lnTo>
                <a:lnTo>
                  <a:pt x="104121" y="13165"/>
                </a:lnTo>
                <a:lnTo>
                  <a:pt x="88604" y="9295"/>
                </a:lnTo>
                <a:lnTo>
                  <a:pt x="72239" y="6046"/>
                </a:lnTo>
                <a:lnTo>
                  <a:pt x="55112" y="3456"/>
                </a:lnTo>
                <a:lnTo>
                  <a:pt x="37306" y="1560"/>
                </a:lnTo>
                <a:lnTo>
                  <a:pt x="18907" y="396"/>
                </a:lnTo>
                <a:lnTo>
                  <a:pt x="0" y="0"/>
                </a:lnTo>
                <a:close/>
              </a:path>
            </a:pathLst>
          </a:custGeom>
          <a:solidFill>
            <a:srgbClr val="FCE2B9"/>
          </a:solidFill>
        </p:spPr>
        <p:txBody>
          <a:bodyPr wrap="square" lIns="0" tIns="0" rIns="0" bIns="0" rtlCol="0">
            <a:noAutofit/>
          </a:bodyPr>
          <a:lstStyle/>
          <a:p>
            <a:endParaRPr/>
          </a:p>
        </p:txBody>
      </p:sp>
      <p:sp>
        <p:nvSpPr>
          <p:cNvPr id="159" name="object 159"/>
          <p:cNvSpPr/>
          <p:nvPr/>
        </p:nvSpPr>
        <p:spPr>
          <a:xfrm>
            <a:off x="6841871" y="4925950"/>
            <a:ext cx="194690" cy="83693"/>
          </a:xfrm>
          <a:custGeom>
            <a:avLst/>
            <a:gdLst/>
            <a:ahLst/>
            <a:cxnLst/>
            <a:rect l="l" t="t" r="r" b="b"/>
            <a:pathLst>
              <a:path w="194690" h="83693">
                <a:moveTo>
                  <a:pt x="0" y="0"/>
                </a:moveTo>
                <a:lnTo>
                  <a:pt x="18907" y="396"/>
                </a:lnTo>
                <a:lnTo>
                  <a:pt x="37306" y="1560"/>
                </a:lnTo>
                <a:lnTo>
                  <a:pt x="55112" y="3456"/>
                </a:lnTo>
                <a:lnTo>
                  <a:pt x="72239" y="6046"/>
                </a:lnTo>
                <a:lnTo>
                  <a:pt x="88604" y="9295"/>
                </a:lnTo>
                <a:lnTo>
                  <a:pt x="104121" y="13165"/>
                </a:lnTo>
                <a:lnTo>
                  <a:pt x="118707" y="17621"/>
                </a:lnTo>
                <a:lnTo>
                  <a:pt x="132276" y="22625"/>
                </a:lnTo>
                <a:lnTo>
                  <a:pt x="144743" y="28142"/>
                </a:lnTo>
                <a:lnTo>
                  <a:pt x="156025" y="34133"/>
                </a:lnTo>
                <a:lnTo>
                  <a:pt x="166037" y="40564"/>
                </a:lnTo>
                <a:lnTo>
                  <a:pt x="174693" y="47397"/>
                </a:lnTo>
                <a:lnTo>
                  <a:pt x="181909" y="54595"/>
                </a:lnTo>
                <a:lnTo>
                  <a:pt x="187602" y="62123"/>
                </a:lnTo>
                <a:lnTo>
                  <a:pt x="191685" y="69943"/>
                </a:lnTo>
                <a:lnTo>
                  <a:pt x="194074" y="78020"/>
                </a:lnTo>
                <a:lnTo>
                  <a:pt x="194690" y="83693"/>
                </a:lnTo>
              </a:path>
            </a:pathLst>
          </a:custGeom>
          <a:ln w="12700">
            <a:solidFill>
              <a:srgbClr val="000000"/>
            </a:solidFill>
          </a:ln>
        </p:spPr>
        <p:txBody>
          <a:bodyPr wrap="square" lIns="0" tIns="0" rIns="0" bIns="0" rtlCol="0">
            <a:noAutofit/>
          </a:bodyPr>
          <a:lstStyle/>
          <a:p>
            <a:endParaRPr/>
          </a:p>
        </p:txBody>
      </p:sp>
      <p:sp>
        <p:nvSpPr>
          <p:cNvPr id="160" name="object 160"/>
          <p:cNvSpPr/>
          <p:nvPr/>
        </p:nvSpPr>
        <p:spPr>
          <a:xfrm>
            <a:off x="6885051" y="4933061"/>
            <a:ext cx="41275" cy="82168"/>
          </a:xfrm>
          <a:custGeom>
            <a:avLst/>
            <a:gdLst/>
            <a:ahLst/>
            <a:cxnLst/>
            <a:rect l="l" t="t" r="r" b="b"/>
            <a:pathLst>
              <a:path w="41275" h="82168">
                <a:moveTo>
                  <a:pt x="2540" y="82168"/>
                </a:moveTo>
                <a:lnTo>
                  <a:pt x="41275" y="74675"/>
                </a:lnTo>
                <a:lnTo>
                  <a:pt x="25400" y="0"/>
                </a:lnTo>
                <a:lnTo>
                  <a:pt x="16321" y="4911"/>
                </a:lnTo>
                <a:lnTo>
                  <a:pt x="9878" y="12560"/>
                </a:lnTo>
                <a:lnTo>
                  <a:pt x="4927" y="22886"/>
                </a:lnTo>
                <a:lnTo>
                  <a:pt x="1592" y="35451"/>
                </a:lnTo>
                <a:lnTo>
                  <a:pt x="0" y="49813"/>
                </a:lnTo>
                <a:lnTo>
                  <a:pt x="274" y="65532"/>
                </a:lnTo>
                <a:lnTo>
                  <a:pt x="2540" y="82168"/>
                </a:lnTo>
                <a:close/>
              </a:path>
            </a:pathLst>
          </a:custGeom>
          <a:solidFill>
            <a:srgbClr val="FCE2B9"/>
          </a:solidFill>
        </p:spPr>
        <p:txBody>
          <a:bodyPr wrap="square" lIns="0" tIns="0" rIns="0" bIns="0" rtlCol="0">
            <a:noAutofit/>
          </a:bodyPr>
          <a:lstStyle/>
          <a:p>
            <a:endParaRPr/>
          </a:p>
        </p:txBody>
      </p:sp>
      <p:sp>
        <p:nvSpPr>
          <p:cNvPr id="161" name="object 161"/>
          <p:cNvSpPr/>
          <p:nvPr/>
        </p:nvSpPr>
        <p:spPr>
          <a:xfrm>
            <a:off x="6885050" y="4933061"/>
            <a:ext cx="25400" cy="82168"/>
          </a:xfrm>
          <a:custGeom>
            <a:avLst/>
            <a:gdLst/>
            <a:ahLst/>
            <a:cxnLst/>
            <a:rect l="l" t="t" r="r" b="b"/>
            <a:pathLst>
              <a:path w="25400" h="82168">
                <a:moveTo>
                  <a:pt x="2540" y="82168"/>
                </a:moveTo>
                <a:lnTo>
                  <a:pt x="274" y="65532"/>
                </a:lnTo>
                <a:lnTo>
                  <a:pt x="0" y="49813"/>
                </a:lnTo>
                <a:lnTo>
                  <a:pt x="1592" y="35451"/>
                </a:lnTo>
                <a:lnTo>
                  <a:pt x="4927" y="22886"/>
                </a:lnTo>
                <a:lnTo>
                  <a:pt x="9878" y="12560"/>
                </a:lnTo>
                <a:lnTo>
                  <a:pt x="16321" y="4911"/>
                </a:lnTo>
                <a:lnTo>
                  <a:pt x="24131" y="380"/>
                </a:lnTo>
                <a:lnTo>
                  <a:pt x="25400" y="0"/>
                </a:lnTo>
              </a:path>
            </a:pathLst>
          </a:custGeom>
          <a:ln w="12699">
            <a:solidFill>
              <a:srgbClr val="000000"/>
            </a:solidFill>
          </a:ln>
        </p:spPr>
        <p:txBody>
          <a:bodyPr wrap="square" lIns="0" tIns="0" rIns="0" bIns="0" rtlCol="0">
            <a:noAutofit/>
          </a:bodyPr>
          <a:lstStyle/>
          <a:p>
            <a:endParaRPr/>
          </a:p>
        </p:txBody>
      </p:sp>
      <p:sp>
        <p:nvSpPr>
          <p:cNvPr id="162" name="object 162"/>
          <p:cNvSpPr/>
          <p:nvPr/>
        </p:nvSpPr>
        <p:spPr>
          <a:xfrm>
            <a:off x="6903593" y="4983656"/>
            <a:ext cx="122682" cy="84025"/>
          </a:xfrm>
          <a:custGeom>
            <a:avLst/>
            <a:gdLst/>
            <a:ahLst/>
            <a:cxnLst/>
            <a:rect l="l" t="t" r="r" b="b"/>
            <a:pathLst>
              <a:path w="122682" h="84025">
                <a:moveTo>
                  <a:pt x="0" y="30431"/>
                </a:moveTo>
                <a:lnTo>
                  <a:pt x="43434" y="84025"/>
                </a:lnTo>
                <a:lnTo>
                  <a:pt x="122682" y="18239"/>
                </a:lnTo>
                <a:lnTo>
                  <a:pt x="114578" y="10762"/>
                </a:lnTo>
                <a:lnTo>
                  <a:pt x="105856" y="5660"/>
                </a:lnTo>
                <a:lnTo>
                  <a:pt x="96048" y="2178"/>
                </a:lnTo>
                <a:lnTo>
                  <a:pt x="85334" y="297"/>
                </a:lnTo>
                <a:lnTo>
                  <a:pt x="73892" y="0"/>
                </a:lnTo>
                <a:lnTo>
                  <a:pt x="61903" y="1267"/>
                </a:lnTo>
                <a:lnTo>
                  <a:pt x="49544" y="4080"/>
                </a:lnTo>
                <a:lnTo>
                  <a:pt x="36996" y="8422"/>
                </a:lnTo>
                <a:lnTo>
                  <a:pt x="24436" y="14273"/>
                </a:lnTo>
                <a:lnTo>
                  <a:pt x="12044" y="21616"/>
                </a:lnTo>
                <a:lnTo>
                  <a:pt x="0" y="30431"/>
                </a:lnTo>
                <a:close/>
              </a:path>
            </a:pathLst>
          </a:custGeom>
          <a:solidFill>
            <a:srgbClr val="FCE2B9"/>
          </a:solidFill>
        </p:spPr>
        <p:txBody>
          <a:bodyPr wrap="square" lIns="0" tIns="0" rIns="0" bIns="0" rtlCol="0">
            <a:noAutofit/>
          </a:bodyPr>
          <a:lstStyle/>
          <a:p>
            <a:endParaRPr/>
          </a:p>
        </p:txBody>
      </p:sp>
      <p:sp>
        <p:nvSpPr>
          <p:cNvPr id="163" name="object 163"/>
          <p:cNvSpPr/>
          <p:nvPr/>
        </p:nvSpPr>
        <p:spPr>
          <a:xfrm>
            <a:off x="6903593" y="4983656"/>
            <a:ext cx="122682" cy="30431"/>
          </a:xfrm>
          <a:custGeom>
            <a:avLst/>
            <a:gdLst/>
            <a:ahLst/>
            <a:cxnLst/>
            <a:rect l="l" t="t" r="r" b="b"/>
            <a:pathLst>
              <a:path w="122682" h="30431">
                <a:moveTo>
                  <a:pt x="0" y="30431"/>
                </a:moveTo>
                <a:lnTo>
                  <a:pt x="12044" y="21616"/>
                </a:lnTo>
                <a:lnTo>
                  <a:pt x="24436" y="14273"/>
                </a:lnTo>
                <a:lnTo>
                  <a:pt x="36996" y="8422"/>
                </a:lnTo>
                <a:lnTo>
                  <a:pt x="49544" y="4080"/>
                </a:lnTo>
                <a:lnTo>
                  <a:pt x="61903" y="1267"/>
                </a:lnTo>
                <a:lnTo>
                  <a:pt x="73892" y="0"/>
                </a:lnTo>
                <a:lnTo>
                  <a:pt x="85334" y="297"/>
                </a:lnTo>
                <a:lnTo>
                  <a:pt x="96048" y="2178"/>
                </a:lnTo>
                <a:lnTo>
                  <a:pt x="105856" y="5660"/>
                </a:lnTo>
                <a:lnTo>
                  <a:pt x="114578" y="10762"/>
                </a:lnTo>
                <a:lnTo>
                  <a:pt x="122037" y="17503"/>
                </a:lnTo>
                <a:lnTo>
                  <a:pt x="122682" y="18239"/>
                </a:lnTo>
              </a:path>
            </a:pathLst>
          </a:custGeom>
          <a:ln w="12700">
            <a:solidFill>
              <a:srgbClr val="000000"/>
            </a:solidFill>
          </a:ln>
        </p:spPr>
        <p:txBody>
          <a:bodyPr wrap="square" lIns="0" tIns="0" rIns="0" bIns="0" rtlCol="0">
            <a:noAutofit/>
          </a:bodyPr>
          <a:lstStyle/>
          <a:p>
            <a:endParaRPr/>
          </a:p>
        </p:txBody>
      </p:sp>
      <p:sp>
        <p:nvSpPr>
          <p:cNvPr id="164" name="object 164"/>
          <p:cNvSpPr/>
          <p:nvPr/>
        </p:nvSpPr>
        <p:spPr>
          <a:xfrm>
            <a:off x="1905000" y="4900550"/>
            <a:ext cx="6705600" cy="1576451"/>
          </a:xfrm>
          <a:custGeom>
            <a:avLst/>
            <a:gdLst/>
            <a:ahLst/>
            <a:cxnLst/>
            <a:rect l="l" t="t" r="r" b="b"/>
            <a:pathLst>
              <a:path w="6705600" h="1576451">
                <a:moveTo>
                  <a:pt x="0" y="1576451"/>
                </a:moveTo>
                <a:lnTo>
                  <a:pt x="6705600" y="1576451"/>
                </a:lnTo>
                <a:lnTo>
                  <a:pt x="6705600" y="0"/>
                </a:lnTo>
                <a:lnTo>
                  <a:pt x="0" y="0"/>
                </a:lnTo>
                <a:lnTo>
                  <a:pt x="0" y="1576451"/>
                </a:lnTo>
                <a:close/>
              </a:path>
            </a:pathLst>
          </a:custGeom>
          <a:ln w="25400">
            <a:solidFill>
              <a:srgbClr val="000000"/>
            </a:solidFill>
          </a:ln>
        </p:spPr>
        <p:txBody>
          <a:bodyPr wrap="square" lIns="0" tIns="0" rIns="0" bIns="0" rtlCol="0">
            <a:noAutofit/>
          </a:bodyPr>
          <a:lstStyle/>
          <a:p>
            <a:endParaRPr/>
          </a:p>
        </p:txBody>
      </p:sp>
      <p:sp>
        <p:nvSpPr>
          <p:cNvPr id="26" name="object 26"/>
          <p:cNvSpPr txBox="1"/>
          <p:nvPr/>
        </p:nvSpPr>
        <p:spPr>
          <a:xfrm>
            <a:off x="1831340" y="2277083"/>
            <a:ext cx="6596000" cy="228396"/>
          </a:xfrm>
          <a:prstGeom prst="rect">
            <a:avLst/>
          </a:prstGeom>
        </p:spPr>
        <p:txBody>
          <a:bodyPr wrap="square" lIns="0" tIns="0" rIns="0" bIns="0" rtlCol="0">
            <a:noAutofit/>
          </a:bodyPr>
          <a:lstStyle/>
          <a:p>
            <a:pPr marL="12700">
              <a:lnSpc>
                <a:spcPts val="1735"/>
              </a:lnSpc>
              <a:spcBef>
                <a:spcPts val="86"/>
              </a:spcBef>
            </a:pPr>
            <a:r>
              <a:rPr sz="1600" b="1" spc="-50" dirty="0">
                <a:latin typeface="Arial"/>
                <a:cs typeface="Arial"/>
              </a:rPr>
              <a:t>A</a:t>
            </a:r>
            <a:r>
              <a:rPr sz="1600" b="1" dirty="0">
                <a:latin typeface="Arial"/>
                <a:cs typeface="Arial"/>
              </a:rPr>
              <a:t>lso</a:t>
            </a:r>
            <a:r>
              <a:rPr sz="1600" b="1" spc="28" dirty="0">
                <a:latin typeface="Arial"/>
                <a:cs typeface="Arial"/>
              </a:rPr>
              <a:t> </a:t>
            </a:r>
            <a:r>
              <a:rPr sz="1600" b="1" dirty="0">
                <a:latin typeface="Arial"/>
                <a:cs typeface="Arial"/>
              </a:rPr>
              <a:t>t</a:t>
            </a:r>
            <a:r>
              <a:rPr sz="1600" b="1" spc="-9" dirty="0">
                <a:latin typeface="Arial"/>
                <a:cs typeface="Arial"/>
              </a:rPr>
              <a:t>h</a:t>
            </a:r>
            <a:r>
              <a:rPr sz="1600" b="1" dirty="0">
                <a:latin typeface="Arial"/>
                <a:cs typeface="Arial"/>
              </a:rPr>
              <a:t>e</a:t>
            </a:r>
            <a:r>
              <a:rPr sz="1600" b="1" spc="10" dirty="0">
                <a:latin typeface="Arial"/>
                <a:cs typeface="Arial"/>
              </a:rPr>
              <a:t> </a:t>
            </a:r>
            <a:r>
              <a:rPr sz="1600" b="1" dirty="0">
                <a:latin typeface="Arial"/>
                <a:cs typeface="Arial"/>
              </a:rPr>
              <a:t>f</a:t>
            </a:r>
            <a:r>
              <a:rPr sz="1600" b="1" spc="-9" dirty="0">
                <a:latin typeface="Arial"/>
                <a:cs typeface="Arial"/>
              </a:rPr>
              <a:t>o</a:t>
            </a:r>
            <a:r>
              <a:rPr sz="1600" b="1" dirty="0">
                <a:latin typeface="Arial"/>
                <a:cs typeface="Arial"/>
              </a:rPr>
              <a:t>ll</a:t>
            </a:r>
            <a:r>
              <a:rPr sz="1600" b="1" spc="-4" dirty="0">
                <a:latin typeface="Arial"/>
                <a:cs typeface="Arial"/>
              </a:rPr>
              <a:t>o</a:t>
            </a:r>
            <a:r>
              <a:rPr sz="1600" b="1" spc="39" dirty="0">
                <a:latin typeface="Arial"/>
                <a:cs typeface="Arial"/>
              </a:rPr>
              <a:t>w</a:t>
            </a:r>
            <a:r>
              <a:rPr sz="1600" b="1" dirty="0">
                <a:latin typeface="Arial"/>
                <a:cs typeface="Arial"/>
              </a:rPr>
              <a:t>i</a:t>
            </a:r>
            <a:r>
              <a:rPr sz="1600" b="1" spc="-4" dirty="0">
                <a:latin typeface="Arial"/>
                <a:cs typeface="Arial"/>
              </a:rPr>
              <a:t>n</a:t>
            </a:r>
            <a:r>
              <a:rPr sz="1600" b="1" dirty="0">
                <a:latin typeface="Arial"/>
                <a:cs typeface="Arial"/>
              </a:rPr>
              <a:t>g</a:t>
            </a:r>
            <a:r>
              <a:rPr sz="1600" b="1" spc="4" dirty="0">
                <a:latin typeface="Arial"/>
                <a:cs typeface="Arial"/>
              </a:rPr>
              <a:t> </a:t>
            </a:r>
            <a:r>
              <a:rPr sz="1600" b="1" spc="-4" dirty="0">
                <a:latin typeface="Arial"/>
                <a:cs typeface="Arial"/>
              </a:rPr>
              <a:t>m</a:t>
            </a:r>
            <a:r>
              <a:rPr sz="1600" b="1" dirty="0">
                <a:latin typeface="Arial"/>
                <a:cs typeface="Arial"/>
              </a:rPr>
              <a:t>e</a:t>
            </a:r>
            <a:r>
              <a:rPr sz="1600" b="1" spc="-4" dirty="0">
                <a:latin typeface="Arial"/>
                <a:cs typeface="Arial"/>
              </a:rPr>
              <a:t>t</a:t>
            </a:r>
            <a:r>
              <a:rPr sz="1600" b="1" dirty="0">
                <a:latin typeface="Arial"/>
                <a:cs typeface="Arial"/>
              </a:rPr>
              <a:t>h</a:t>
            </a:r>
            <a:r>
              <a:rPr sz="1600" b="1" spc="-9" dirty="0">
                <a:latin typeface="Arial"/>
                <a:cs typeface="Arial"/>
              </a:rPr>
              <a:t>o</a:t>
            </a:r>
            <a:r>
              <a:rPr sz="1600" b="1" dirty="0">
                <a:latin typeface="Arial"/>
                <a:cs typeface="Arial"/>
              </a:rPr>
              <a:t>ds</a:t>
            </a:r>
            <a:r>
              <a:rPr sz="1600" b="1" spc="-27" dirty="0">
                <a:latin typeface="Arial"/>
                <a:cs typeface="Arial"/>
              </a:rPr>
              <a:t> </a:t>
            </a:r>
            <a:r>
              <a:rPr sz="1600" b="1" spc="-4" dirty="0">
                <a:latin typeface="Arial"/>
                <a:cs typeface="Arial"/>
              </a:rPr>
              <a:t>m</a:t>
            </a:r>
            <a:r>
              <a:rPr sz="1600" b="1" dirty="0">
                <a:latin typeface="Arial"/>
                <a:cs typeface="Arial"/>
              </a:rPr>
              <a:t>ay</a:t>
            </a:r>
            <a:r>
              <a:rPr sz="1600" b="1" spc="-21" dirty="0">
                <a:latin typeface="Arial"/>
                <a:cs typeface="Arial"/>
              </a:rPr>
              <a:t> </a:t>
            </a:r>
            <a:r>
              <a:rPr sz="1600" b="1" dirty="0">
                <a:latin typeface="Arial"/>
                <a:cs typeface="Arial"/>
              </a:rPr>
              <a:t>be</a:t>
            </a:r>
            <a:r>
              <a:rPr sz="1600" b="1" spc="-13" dirty="0">
                <a:latin typeface="Arial"/>
                <a:cs typeface="Arial"/>
              </a:rPr>
              <a:t> </a:t>
            </a:r>
            <a:r>
              <a:rPr sz="1600" b="1" dirty="0">
                <a:latin typeface="Arial"/>
                <a:cs typeface="Arial"/>
              </a:rPr>
              <a:t>u</a:t>
            </a:r>
            <a:r>
              <a:rPr sz="1600" b="1" spc="-4" dirty="0">
                <a:latin typeface="Arial"/>
                <a:cs typeface="Arial"/>
              </a:rPr>
              <a:t>s</a:t>
            </a:r>
            <a:r>
              <a:rPr sz="1600" b="1" dirty="0">
                <a:latin typeface="Arial"/>
                <a:cs typeface="Arial"/>
              </a:rPr>
              <a:t>ed</a:t>
            </a:r>
            <a:r>
              <a:rPr sz="1600" b="1" spc="-32" dirty="0">
                <a:latin typeface="Arial"/>
                <a:cs typeface="Arial"/>
              </a:rPr>
              <a:t> </a:t>
            </a:r>
            <a:r>
              <a:rPr sz="1600" b="1" dirty="0">
                <a:latin typeface="Arial"/>
                <a:cs typeface="Arial"/>
              </a:rPr>
              <a:t>f</a:t>
            </a:r>
            <a:r>
              <a:rPr sz="1600" b="1" spc="-9" dirty="0">
                <a:latin typeface="Arial"/>
                <a:cs typeface="Arial"/>
              </a:rPr>
              <a:t>o</a:t>
            </a:r>
            <a:r>
              <a:rPr sz="1600" b="1" dirty="0">
                <a:latin typeface="Arial"/>
                <a:cs typeface="Arial"/>
              </a:rPr>
              <a:t>r</a:t>
            </a:r>
            <a:r>
              <a:rPr sz="1600" b="1" spc="18" dirty="0">
                <a:latin typeface="Arial"/>
                <a:cs typeface="Arial"/>
              </a:rPr>
              <a:t> </a:t>
            </a:r>
            <a:r>
              <a:rPr sz="1600" b="1" dirty="0">
                <a:latin typeface="Arial"/>
                <a:cs typeface="Arial"/>
              </a:rPr>
              <a:t>creati</a:t>
            </a:r>
            <a:r>
              <a:rPr sz="1600" b="1" spc="-9" dirty="0">
                <a:latin typeface="Arial"/>
                <a:cs typeface="Arial"/>
              </a:rPr>
              <a:t>o</a:t>
            </a:r>
            <a:r>
              <a:rPr sz="1600" b="1" dirty="0">
                <a:latin typeface="Arial"/>
                <a:cs typeface="Arial"/>
              </a:rPr>
              <a:t>n</a:t>
            </a:r>
            <a:r>
              <a:rPr sz="1600" b="1" spc="-32" dirty="0">
                <a:latin typeface="Arial"/>
                <a:cs typeface="Arial"/>
              </a:rPr>
              <a:t> </a:t>
            </a:r>
            <a:r>
              <a:rPr sz="1600" b="1" dirty="0">
                <a:latin typeface="Arial"/>
                <a:cs typeface="Arial"/>
              </a:rPr>
              <a:t>of an</a:t>
            </a:r>
            <a:r>
              <a:rPr sz="1600" b="1" spc="-13" dirty="0">
                <a:latin typeface="Arial"/>
                <a:cs typeface="Arial"/>
              </a:rPr>
              <a:t> </a:t>
            </a:r>
            <a:r>
              <a:rPr sz="1600" b="1" dirty="0">
                <a:latin typeface="Arial"/>
                <a:cs typeface="Arial"/>
              </a:rPr>
              <a:t>i</a:t>
            </a:r>
            <a:r>
              <a:rPr sz="1600" b="1" spc="-4" dirty="0">
                <a:latin typeface="Arial"/>
                <a:cs typeface="Arial"/>
              </a:rPr>
              <a:t>n</a:t>
            </a:r>
            <a:r>
              <a:rPr sz="1600" b="1" spc="-34" dirty="0">
                <a:latin typeface="Arial"/>
                <a:cs typeface="Arial"/>
              </a:rPr>
              <a:t>v</a:t>
            </a:r>
            <a:r>
              <a:rPr sz="1600" b="1" spc="4" dirty="0">
                <a:latin typeface="Arial"/>
                <a:cs typeface="Arial"/>
              </a:rPr>
              <a:t>o</a:t>
            </a:r>
            <a:r>
              <a:rPr sz="1600" b="1" dirty="0">
                <a:latin typeface="Arial"/>
                <a:cs typeface="Arial"/>
              </a:rPr>
              <a:t>ice</a:t>
            </a:r>
            <a:r>
              <a:rPr sz="1600" b="1" spc="13" dirty="0">
                <a:latin typeface="Arial"/>
                <a:cs typeface="Arial"/>
              </a:rPr>
              <a:t> </a:t>
            </a:r>
            <a:r>
              <a:rPr sz="1600" b="1" dirty="0">
                <a:latin typeface="Arial"/>
                <a:cs typeface="Arial"/>
              </a:rPr>
              <a:t>:</a:t>
            </a:r>
            <a:endParaRPr sz="1600">
              <a:latin typeface="Arial"/>
              <a:cs typeface="Arial"/>
            </a:endParaRPr>
          </a:p>
        </p:txBody>
      </p:sp>
      <p:sp>
        <p:nvSpPr>
          <p:cNvPr id="25" name="object 25"/>
          <p:cNvSpPr txBox="1"/>
          <p:nvPr/>
        </p:nvSpPr>
        <p:spPr>
          <a:xfrm>
            <a:off x="6354573" y="4111285"/>
            <a:ext cx="745229" cy="203707"/>
          </a:xfrm>
          <a:prstGeom prst="rect">
            <a:avLst/>
          </a:prstGeom>
        </p:spPr>
        <p:txBody>
          <a:bodyPr wrap="square" lIns="0" tIns="0" rIns="0" bIns="0" rtlCol="0">
            <a:noAutofit/>
          </a:bodyPr>
          <a:lstStyle/>
          <a:p>
            <a:pPr marL="12700">
              <a:lnSpc>
                <a:spcPts val="1535"/>
              </a:lnSpc>
              <a:spcBef>
                <a:spcPts val="76"/>
              </a:spcBef>
            </a:pP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a:t>
            </a:r>
            <a:r>
              <a:rPr sz="1400" b="1" spc="4" dirty="0">
                <a:latin typeface="Arial"/>
                <a:cs typeface="Arial"/>
              </a:rPr>
              <a:t>r</a:t>
            </a:r>
            <a:r>
              <a:rPr sz="1400" b="1" dirty="0">
                <a:latin typeface="Arial"/>
                <a:cs typeface="Arial"/>
              </a:rPr>
              <a:t>y</a:t>
            </a:r>
            <a:endParaRPr sz="1400">
              <a:latin typeface="Arial"/>
              <a:cs typeface="Arial"/>
            </a:endParaRPr>
          </a:p>
        </p:txBody>
      </p:sp>
      <p:sp>
        <p:nvSpPr>
          <p:cNvPr id="24" name="object 24"/>
          <p:cNvSpPr txBox="1"/>
          <p:nvPr/>
        </p:nvSpPr>
        <p:spPr>
          <a:xfrm>
            <a:off x="2116328" y="4155283"/>
            <a:ext cx="323658" cy="311912"/>
          </a:xfrm>
          <a:prstGeom prst="rect">
            <a:avLst/>
          </a:prstGeom>
        </p:spPr>
        <p:txBody>
          <a:bodyPr wrap="square" lIns="0" tIns="0" rIns="0" bIns="0" rtlCol="0">
            <a:noAutofit/>
          </a:bodyPr>
          <a:lstStyle/>
          <a:p>
            <a:pPr marL="12700">
              <a:lnSpc>
                <a:spcPts val="2400"/>
              </a:lnSpc>
              <a:spcBef>
                <a:spcPts val="120"/>
              </a:spcBef>
            </a:pPr>
            <a:r>
              <a:rPr sz="2250" dirty="0">
                <a:latin typeface="Wingdings"/>
                <a:cs typeface="Wingdings"/>
              </a:rPr>
              <a:t></a:t>
            </a:r>
            <a:endParaRPr sz="2250">
              <a:latin typeface="Wingdings"/>
              <a:cs typeface="Wingdings"/>
            </a:endParaRPr>
          </a:p>
        </p:txBody>
      </p:sp>
      <p:sp>
        <p:nvSpPr>
          <p:cNvPr id="23" name="object 23"/>
          <p:cNvSpPr txBox="1"/>
          <p:nvPr/>
        </p:nvSpPr>
        <p:spPr>
          <a:xfrm>
            <a:off x="2559813" y="4202104"/>
            <a:ext cx="843559"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I</a:t>
            </a:r>
            <a:r>
              <a:rPr b="1" spc="4" dirty="0">
                <a:latin typeface="Arial"/>
                <a:cs typeface="Arial"/>
              </a:rPr>
              <a:t>n</a:t>
            </a:r>
            <a:r>
              <a:rPr b="1" spc="-39" dirty="0">
                <a:latin typeface="Arial"/>
                <a:cs typeface="Arial"/>
              </a:rPr>
              <a:t>v</a:t>
            </a:r>
            <a:r>
              <a:rPr b="1" dirty="0">
                <a:latin typeface="Arial"/>
                <a:cs typeface="Arial"/>
              </a:rPr>
              <a:t>o</a:t>
            </a:r>
            <a:r>
              <a:rPr b="1" spc="4" dirty="0">
                <a:latin typeface="Arial"/>
                <a:cs typeface="Arial"/>
              </a:rPr>
              <a:t>i</a:t>
            </a:r>
            <a:r>
              <a:rPr b="1" dirty="0">
                <a:latin typeface="Arial"/>
                <a:cs typeface="Arial"/>
              </a:rPr>
              <a:t>ce</a:t>
            </a:r>
            <a:endParaRPr>
              <a:latin typeface="Arial"/>
              <a:cs typeface="Arial"/>
            </a:endParaRPr>
          </a:p>
        </p:txBody>
      </p:sp>
      <p:sp>
        <p:nvSpPr>
          <p:cNvPr id="22" name="object 22"/>
          <p:cNvSpPr txBox="1"/>
          <p:nvPr/>
        </p:nvSpPr>
        <p:spPr>
          <a:xfrm>
            <a:off x="3409290" y="4202104"/>
            <a:ext cx="555751" cy="254000"/>
          </a:xfrm>
          <a:prstGeom prst="rect">
            <a:avLst/>
          </a:prstGeom>
        </p:spPr>
        <p:txBody>
          <a:bodyPr wrap="square" lIns="0" tIns="0" rIns="0" bIns="0" rtlCol="0">
            <a:noAutofit/>
          </a:bodyPr>
          <a:lstStyle/>
          <a:p>
            <a:pPr marL="12700">
              <a:lnSpc>
                <a:spcPts val="1939"/>
              </a:lnSpc>
              <a:spcBef>
                <a:spcPts val="97"/>
              </a:spcBef>
            </a:pPr>
            <a:r>
              <a:rPr b="1" dirty="0">
                <a:latin typeface="Arial"/>
                <a:cs typeface="Arial"/>
              </a:rPr>
              <a:t>Sp</a:t>
            </a:r>
            <a:r>
              <a:rPr b="1" spc="4" dirty="0">
                <a:latin typeface="Arial"/>
                <a:cs typeface="Arial"/>
              </a:rPr>
              <a:t>l</a:t>
            </a:r>
            <a:r>
              <a:rPr b="1" dirty="0">
                <a:latin typeface="Arial"/>
                <a:cs typeface="Arial"/>
              </a:rPr>
              <a:t>it</a:t>
            </a:r>
            <a:endParaRPr>
              <a:latin typeface="Arial"/>
              <a:cs typeface="Arial"/>
            </a:endParaRPr>
          </a:p>
        </p:txBody>
      </p:sp>
      <p:sp>
        <p:nvSpPr>
          <p:cNvPr id="20" name="object 20"/>
          <p:cNvSpPr txBox="1"/>
          <p:nvPr/>
        </p:nvSpPr>
        <p:spPr>
          <a:xfrm>
            <a:off x="6319774" y="5977026"/>
            <a:ext cx="716800" cy="459054"/>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5171186" y="5978258"/>
            <a:ext cx="716800" cy="459054"/>
          </a:xfrm>
          <a:prstGeom prst="rect">
            <a:avLst/>
          </a:prstGeom>
        </p:spPr>
        <p:txBody>
          <a:bodyPr wrap="square" lIns="0" tIns="0" rIns="0" bIns="0" rtlCol="0">
            <a:noAutofit/>
          </a:bodyPr>
          <a:lstStyle/>
          <a:p>
            <a:pPr>
              <a:lnSpc>
                <a:spcPts val="1300"/>
              </a:lnSpc>
              <a:spcBef>
                <a:spcPts val="34"/>
              </a:spcBef>
            </a:pPr>
            <a:endParaRPr sz="1300"/>
          </a:p>
          <a:p>
            <a:pPr marL="47625">
              <a:lnSpc>
                <a:spcPct val="95825"/>
              </a:lnSpc>
            </a:pPr>
            <a:r>
              <a:rPr sz="1400" b="1" dirty="0">
                <a:latin typeface="Arial"/>
                <a:cs typeface="Arial"/>
              </a:rPr>
              <a:t>O</a:t>
            </a:r>
            <a:r>
              <a:rPr sz="1400" b="1" spc="4" dirty="0">
                <a:latin typeface="Arial"/>
                <a:cs typeface="Arial"/>
              </a:rPr>
              <a:t>r</a:t>
            </a:r>
            <a:r>
              <a:rPr sz="1400" b="1" spc="-4" dirty="0">
                <a:latin typeface="Arial"/>
                <a:cs typeface="Arial"/>
              </a:rPr>
              <a:t>d</a:t>
            </a:r>
            <a:r>
              <a:rPr sz="1400" b="1" dirty="0">
                <a:latin typeface="Arial"/>
                <a:cs typeface="Arial"/>
              </a:rPr>
              <a:t>er</a:t>
            </a:r>
            <a:endParaRPr sz="1400">
              <a:latin typeface="Arial"/>
              <a:cs typeface="Arial"/>
            </a:endParaRPr>
          </a:p>
        </p:txBody>
      </p:sp>
      <p:sp>
        <p:nvSpPr>
          <p:cNvPr id="18" name="object 18"/>
          <p:cNvSpPr txBox="1"/>
          <p:nvPr/>
        </p:nvSpPr>
        <p:spPr>
          <a:xfrm>
            <a:off x="7423150" y="5456440"/>
            <a:ext cx="716800" cy="457822"/>
          </a:xfrm>
          <a:prstGeom prst="rect">
            <a:avLst/>
          </a:prstGeom>
        </p:spPr>
        <p:txBody>
          <a:bodyPr wrap="square" lIns="0" tIns="0" rIns="0" bIns="0" rtlCol="0">
            <a:noAutofit/>
          </a:bodyPr>
          <a:lstStyle/>
          <a:p>
            <a:pPr marL="25400">
              <a:lnSpc>
                <a:spcPts val="1000"/>
              </a:lnSpc>
            </a:pPr>
            <a:endParaRPr sz="1000"/>
          </a:p>
        </p:txBody>
      </p:sp>
      <p:sp>
        <p:nvSpPr>
          <p:cNvPr id="17" name="object 17"/>
          <p:cNvSpPr txBox="1"/>
          <p:nvPr/>
        </p:nvSpPr>
        <p:spPr>
          <a:xfrm>
            <a:off x="6319774" y="5452757"/>
            <a:ext cx="716800" cy="456590"/>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6319774" y="4925999"/>
            <a:ext cx="716800" cy="459054"/>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5171186" y="4940782"/>
            <a:ext cx="716800" cy="456590"/>
          </a:xfrm>
          <a:prstGeom prst="rect">
            <a:avLst/>
          </a:prstGeom>
        </p:spPr>
        <p:txBody>
          <a:bodyPr wrap="square" lIns="0" tIns="0" rIns="0" bIns="0" rtlCol="0">
            <a:noAutofit/>
          </a:bodyPr>
          <a:lstStyle/>
          <a:p>
            <a:pPr>
              <a:lnSpc>
                <a:spcPts val="1300"/>
              </a:lnSpc>
              <a:spcBef>
                <a:spcPts val="15"/>
              </a:spcBef>
            </a:pPr>
            <a:endParaRPr sz="1300"/>
          </a:p>
          <a:p>
            <a:pPr marL="47625">
              <a:lnSpc>
                <a:spcPct val="95825"/>
              </a:lnSpc>
            </a:pPr>
            <a:r>
              <a:rPr sz="1400" b="1" dirty="0">
                <a:latin typeface="Arial"/>
                <a:cs typeface="Arial"/>
              </a:rPr>
              <a:t>O</a:t>
            </a:r>
            <a:r>
              <a:rPr sz="1400" b="1" spc="4" dirty="0">
                <a:latin typeface="Arial"/>
                <a:cs typeface="Arial"/>
              </a:rPr>
              <a:t>r</a:t>
            </a:r>
            <a:r>
              <a:rPr sz="1400" b="1" spc="-4" dirty="0">
                <a:latin typeface="Arial"/>
                <a:cs typeface="Arial"/>
              </a:rPr>
              <a:t>d</a:t>
            </a:r>
            <a:r>
              <a:rPr sz="1400" b="1" dirty="0">
                <a:latin typeface="Arial"/>
                <a:cs typeface="Arial"/>
              </a:rPr>
              <a:t>er</a:t>
            </a:r>
            <a:endParaRPr sz="1400">
              <a:latin typeface="Arial"/>
              <a:cs typeface="Arial"/>
            </a:endParaRPr>
          </a:p>
        </p:txBody>
      </p:sp>
      <p:sp>
        <p:nvSpPr>
          <p:cNvPr id="14" name="object 14"/>
          <p:cNvSpPr txBox="1"/>
          <p:nvPr/>
        </p:nvSpPr>
        <p:spPr>
          <a:xfrm>
            <a:off x="7423150" y="4313605"/>
            <a:ext cx="716800" cy="512394"/>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7423150" y="3743375"/>
            <a:ext cx="716800" cy="512394"/>
          </a:xfrm>
          <a:prstGeom prst="rect">
            <a:avLst/>
          </a:prstGeom>
        </p:spPr>
        <p:txBody>
          <a:bodyPr wrap="square" lIns="0" tIns="0" rIns="0" bIns="0" rtlCol="0">
            <a:noAutofit/>
          </a:bodyPr>
          <a:lstStyle/>
          <a:p>
            <a:pPr marL="25400">
              <a:lnSpc>
                <a:spcPts val="1000"/>
              </a:lnSpc>
            </a:pPr>
            <a:endParaRPr sz="1000"/>
          </a:p>
        </p:txBody>
      </p:sp>
      <p:sp>
        <p:nvSpPr>
          <p:cNvPr id="12" name="object 12"/>
          <p:cNvSpPr txBox="1"/>
          <p:nvPr/>
        </p:nvSpPr>
        <p:spPr>
          <a:xfrm>
            <a:off x="6319774" y="4032770"/>
            <a:ext cx="716800" cy="511162"/>
          </a:xfrm>
          <a:prstGeom prst="rect">
            <a:avLst/>
          </a:prstGeom>
        </p:spPr>
        <p:txBody>
          <a:bodyPr wrap="square" lIns="0" tIns="0" rIns="0" bIns="0" rtlCol="0">
            <a:noAutofit/>
          </a:bodyPr>
          <a:lstStyle/>
          <a:p>
            <a:pPr>
              <a:lnSpc>
                <a:spcPts val="500"/>
              </a:lnSpc>
              <a:spcBef>
                <a:spcPts val="42"/>
              </a:spcBef>
            </a:pPr>
            <a:endParaRPr sz="500"/>
          </a:p>
          <a:p>
            <a:pPr marL="47498">
              <a:lnSpc>
                <a:spcPct val="95825"/>
              </a:lnSpc>
            </a:pP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r</a:t>
            </a:r>
            <a:endParaRPr sz="1400">
              <a:latin typeface="Arial"/>
              <a:cs typeface="Arial"/>
            </a:endParaRPr>
          </a:p>
        </p:txBody>
      </p:sp>
      <p:sp>
        <p:nvSpPr>
          <p:cNvPr id="11" name="object 11"/>
          <p:cNvSpPr txBox="1"/>
          <p:nvPr/>
        </p:nvSpPr>
        <p:spPr>
          <a:xfrm>
            <a:off x="5171186" y="4034040"/>
            <a:ext cx="716800" cy="511162"/>
          </a:xfrm>
          <a:prstGeom prst="rect">
            <a:avLst/>
          </a:prstGeom>
        </p:spPr>
        <p:txBody>
          <a:bodyPr wrap="square" lIns="0" tIns="0" rIns="0" bIns="0" rtlCol="0">
            <a:noAutofit/>
          </a:bodyPr>
          <a:lstStyle/>
          <a:p>
            <a:pPr>
              <a:lnSpc>
                <a:spcPts val="1300"/>
              </a:lnSpc>
              <a:spcBef>
                <a:spcPts val="12"/>
              </a:spcBef>
            </a:pPr>
            <a:endParaRPr sz="1300"/>
          </a:p>
          <a:p>
            <a:pPr marL="47625"/>
            <a:r>
              <a:rPr sz="1400" b="1" strike="sngStrike" dirty="0">
                <a:latin typeface="Arial"/>
                <a:cs typeface="Arial"/>
              </a:rPr>
              <a:t>O</a:t>
            </a:r>
            <a:r>
              <a:rPr sz="1400" b="1" strike="sngStrike" spc="4" dirty="0">
                <a:latin typeface="Arial"/>
                <a:cs typeface="Arial"/>
              </a:rPr>
              <a:t>r</a:t>
            </a:r>
            <a:r>
              <a:rPr sz="1400" b="1" strike="sngStrike" spc="-4" dirty="0">
                <a:latin typeface="Arial"/>
                <a:cs typeface="Arial"/>
              </a:rPr>
              <a:t>d</a:t>
            </a:r>
            <a:r>
              <a:rPr sz="1400" b="1" strike="sngStrike" dirty="0">
                <a:latin typeface="Arial"/>
                <a:cs typeface="Arial"/>
              </a:rPr>
              <a:t>er </a:t>
            </a:r>
            <a:r>
              <a:rPr sz="1400" b="1" strike="sngStrike" spc="-19" dirty="0">
                <a:latin typeface="Arial"/>
                <a:cs typeface="Arial"/>
              </a:rPr>
              <a:t> </a:t>
            </a:r>
            <a:endParaRPr sz="1400">
              <a:latin typeface="Arial"/>
              <a:cs typeface="Arial"/>
            </a:endParaRPr>
          </a:p>
        </p:txBody>
      </p:sp>
      <p:sp>
        <p:nvSpPr>
          <p:cNvPr id="10" name="object 10"/>
          <p:cNvSpPr txBox="1"/>
          <p:nvPr/>
        </p:nvSpPr>
        <p:spPr>
          <a:xfrm>
            <a:off x="7423150" y="3158516"/>
            <a:ext cx="716800" cy="508609"/>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6229477" y="3158516"/>
            <a:ext cx="716800" cy="508609"/>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5171186" y="2878989"/>
            <a:ext cx="716800" cy="508609"/>
          </a:xfrm>
          <a:prstGeom prst="rect">
            <a:avLst/>
          </a:prstGeom>
        </p:spPr>
        <p:txBody>
          <a:bodyPr wrap="square" lIns="0" tIns="0" rIns="0" bIns="0" rtlCol="0">
            <a:noAutofit/>
          </a:bodyPr>
          <a:lstStyle/>
          <a:p>
            <a:pPr>
              <a:lnSpc>
                <a:spcPts val="1300"/>
              </a:lnSpc>
              <a:spcBef>
                <a:spcPts val="20"/>
              </a:spcBef>
            </a:pPr>
            <a:endParaRPr sz="1300"/>
          </a:p>
          <a:p>
            <a:pPr marL="47625">
              <a:lnSpc>
                <a:spcPct val="95825"/>
              </a:lnSpc>
            </a:pPr>
            <a:r>
              <a:rPr sz="1400" b="1" dirty="0">
                <a:latin typeface="Arial"/>
                <a:cs typeface="Arial"/>
              </a:rPr>
              <a:t>O</a:t>
            </a:r>
            <a:r>
              <a:rPr sz="1400" b="1" spc="4" dirty="0">
                <a:latin typeface="Arial"/>
                <a:cs typeface="Arial"/>
              </a:rPr>
              <a:t>r</a:t>
            </a:r>
            <a:r>
              <a:rPr sz="1400" b="1" spc="-4" dirty="0">
                <a:latin typeface="Arial"/>
                <a:cs typeface="Arial"/>
              </a:rPr>
              <a:t>d</a:t>
            </a:r>
            <a:r>
              <a:rPr sz="1400" b="1" dirty="0">
                <a:latin typeface="Arial"/>
                <a:cs typeface="Arial"/>
              </a:rPr>
              <a:t>er</a:t>
            </a:r>
            <a:endParaRPr sz="1400">
              <a:latin typeface="Arial"/>
              <a:cs typeface="Arial"/>
            </a:endParaRPr>
          </a:p>
        </p:txBody>
      </p:sp>
      <p:sp>
        <p:nvSpPr>
          <p:cNvPr id="7" name="object 7"/>
          <p:cNvSpPr txBox="1"/>
          <p:nvPr/>
        </p:nvSpPr>
        <p:spPr>
          <a:xfrm>
            <a:off x="7423150" y="2590826"/>
            <a:ext cx="716800" cy="508609"/>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6229477" y="2590826"/>
            <a:ext cx="716800" cy="508609"/>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1905000" y="2536826"/>
            <a:ext cx="6705600" cy="1172337"/>
          </a:xfrm>
          <a:prstGeom prst="rect">
            <a:avLst/>
          </a:prstGeom>
        </p:spPr>
        <p:txBody>
          <a:bodyPr wrap="square" lIns="0" tIns="0" rIns="0" bIns="0" rtlCol="0">
            <a:noAutofit/>
          </a:bodyPr>
          <a:lstStyle/>
          <a:p>
            <a:pPr>
              <a:lnSpc>
                <a:spcPts val="900"/>
              </a:lnSpc>
              <a:spcBef>
                <a:spcPts val="45"/>
              </a:spcBef>
            </a:pPr>
            <a:endParaRPr sz="900"/>
          </a:p>
          <a:p>
            <a:pPr marL="4372102">
              <a:lnSpc>
                <a:spcPct val="95825"/>
              </a:lnSpc>
            </a:pP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a:t>
            </a:r>
            <a:r>
              <a:rPr sz="1400" b="1" spc="4" dirty="0">
                <a:latin typeface="Arial"/>
                <a:cs typeface="Arial"/>
              </a:rPr>
              <a:t>r</a:t>
            </a:r>
            <a:r>
              <a:rPr sz="1400" b="1" dirty="0">
                <a:latin typeface="Arial"/>
                <a:cs typeface="Arial"/>
              </a:rPr>
              <a:t>y         </a:t>
            </a:r>
            <a:r>
              <a:rPr sz="1400" b="1" spc="64" dirty="0">
                <a:latin typeface="Arial"/>
                <a:cs typeface="Arial"/>
              </a:rPr>
              <a:t> </a:t>
            </a:r>
            <a:r>
              <a:rPr sz="1400" b="1" u="sng" spc="4" dirty="0">
                <a:latin typeface="Arial"/>
                <a:cs typeface="Arial"/>
              </a:rPr>
              <a:t>I</a:t>
            </a:r>
            <a:r>
              <a:rPr sz="1400" b="1" u="sng" spc="-4" dirty="0">
                <a:latin typeface="Arial"/>
                <a:cs typeface="Arial"/>
              </a:rPr>
              <a:t>n</a:t>
            </a:r>
            <a:r>
              <a:rPr sz="1400" b="1" u="sng" spc="-14" dirty="0">
                <a:latin typeface="Arial"/>
                <a:cs typeface="Arial"/>
              </a:rPr>
              <a:t>v</a:t>
            </a:r>
            <a:r>
              <a:rPr sz="1400" b="1" u="sng" spc="-4" dirty="0">
                <a:latin typeface="Arial"/>
                <a:cs typeface="Arial"/>
              </a:rPr>
              <a:t>o</a:t>
            </a:r>
            <a:r>
              <a:rPr sz="1400" b="1" u="sng" spc="4" dirty="0">
                <a:latin typeface="Arial"/>
                <a:cs typeface="Arial"/>
              </a:rPr>
              <a:t>i</a:t>
            </a:r>
            <a:r>
              <a:rPr sz="1400" b="1" u="sng" dirty="0">
                <a:latin typeface="Arial"/>
                <a:cs typeface="Arial"/>
              </a:rPr>
              <a:t>ce</a:t>
            </a:r>
            <a:endParaRPr sz="1400">
              <a:latin typeface="Arial"/>
              <a:cs typeface="Arial"/>
            </a:endParaRPr>
          </a:p>
          <a:p>
            <a:pPr marL="224028">
              <a:lnSpc>
                <a:spcPts val="2612"/>
              </a:lnSpc>
              <a:spcBef>
                <a:spcPts val="65"/>
              </a:spcBef>
            </a:pPr>
            <a:r>
              <a:rPr sz="2250" dirty="0">
                <a:latin typeface="Wingdings"/>
                <a:cs typeface="Wingdings"/>
              </a:rPr>
              <a:t></a:t>
            </a:r>
            <a:r>
              <a:rPr sz="2250" spc="427" dirty="0">
                <a:latin typeface="Times New Roman"/>
                <a:cs typeface="Times New Roman"/>
              </a:rPr>
              <a:t> </a:t>
            </a:r>
            <a:r>
              <a:rPr b="1" dirty="0">
                <a:latin typeface="Arial"/>
                <a:cs typeface="Arial"/>
              </a:rPr>
              <a:t>S</a:t>
            </a:r>
            <a:r>
              <a:rPr b="1" spc="-4" dirty="0">
                <a:latin typeface="Arial"/>
                <a:cs typeface="Arial"/>
              </a:rPr>
              <a:t>e</a:t>
            </a:r>
            <a:r>
              <a:rPr b="1" dirty="0">
                <a:latin typeface="Arial"/>
                <a:cs typeface="Arial"/>
              </a:rPr>
              <a:t>par</a:t>
            </a:r>
            <a:r>
              <a:rPr b="1" spc="-9" dirty="0">
                <a:latin typeface="Arial"/>
                <a:cs typeface="Arial"/>
              </a:rPr>
              <a:t>a</a:t>
            </a:r>
            <a:r>
              <a:rPr b="1" dirty="0">
                <a:latin typeface="Arial"/>
                <a:cs typeface="Arial"/>
              </a:rPr>
              <a:t>te I</a:t>
            </a:r>
            <a:r>
              <a:rPr b="1" spc="4" dirty="0">
                <a:latin typeface="Arial"/>
                <a:cs typeface="Arial"/>
              </a:rPr>
              <a:t>n</a:t>
            </a:r>
            <a:r>
              <a:rPr b="1" spc="-39" dirty="0">
                <a:latin typeface="Arial"/>
                <a:cs typeface="Arial"/>
              </a:rPr>
              <a:t>v</a:t>
            </a:r>
            <a:r>
              <a:rPr b="1" dirty="0">
                <a:latin typeface="Arial"/>
                <a:cs typeface="Arial"/>
              </a:rPr>
              <a:t>o</a:t>
            </a:r>
            <a:r>
              <a:rPr b="1" spc="4" dirty="0">
                <a:latin typeface="Arial"/>
                <a:cs typeface="Arial"/>
              </a:rPr>
              <a:t>i</a:t>
            </a:r>
            <a:r>
              <a:rPr b="1" dirty="0">
                <a:latin typeface="Arial"/>
                <a:cs typeface="Arial"/>
              </a:rPr>
              <a:t>ce</a:t>
            </a:r>
            <a:r>
              <a:rPr b="1" spc="29" dirty="0">
                <a:latin typeface="Arial"/>
                <a:cs typeface="Arial"/>
              </a:rPr>
              <a:t> </a:t>
            </a:r>
            <a:r>
              <a:rPr b="1" dirty="0">
                <a:latin typeface="Arial"/>
                <a:cs typeface="Arial"/>
              </a:rPr>
              <a:t>for       </a:t>
            </a:r>
            <a:r>
              <a:rPr b="1" spc="149" dirty="0">
                <a:latin typeface="Arial"/>
                <a:cs typeface="Arial"/>
              </a:rPr>
              <a:t> </a:t>
            </a:r>
            <a:r>
              <a:rPr sz="2100" b="1" baseline="26917" dirty="0">
                <a:latin typeface="Arial"/>
                <a:cs typeface="Arial"/>
              </a:rPr>
              <a:t>Sa</a:t>
            </a:r>
            <a:r>
              <a:rPr sz="2100" b="1" spc="4" baseline="26917" dirty="0">
                <a:latin typeface="Arial"/>
                <a:cs typeface="Arial"/>
              </a:rPr>
              <a:t>l</a:t>
            </a:r>
            <a:r>
              <a:rPr sz="2100" b="1" baseline="26917" dirty="0">
                <a:latin typeface="Arial"/>
                <a:cs typeface="Arial"/>
              </a:rPr>
              <a:t>es</a:t>
            </a:r>
            <a:endParaRPr sz="1400">
              <a:latin typeface="Arial"/>
              <a:cs typeface="Arial"/>
            </a:endParaRPr>
          </a:p>
          <a:p>
            <a:pPr marL="539496">
              <a:lnSpc>
                <a:spcPts val="2065"/>
              </a:lnSpc>
              <a:spcBef>
                <a:spcPts val="103"/>
              </a:spcBef>
            </a:pPr>
            <a:r>
              <a:rPr sz="2700" b="1" baseline="-1610" dirty="0">
                <a:latin typeface="Arial"/>
                <a:cs typeface="Arial"/>
              </a:rPr>
              <a:t>E</a:t>
            </a:r>
            <a:r>
              <a:rPr sz="2700" b="1" spc="-4" baseline="-1610" dirty="0">
                <a:latin typeface="Arial"/>
                <a:cs typeface="Arial"/>
              </a:rPr>
              <a:t>a</a:t>
            </a:r>
            <a:r>
              <a:rPr sz="2700" b="1" baseline="-1610" dirty="0">
                <a:latin typeface="Arial"/>
                <a:cs typeface="Arial"/>
              </a:rPr>
              <a:t>ch D</a:t>
            </a:r>
            <a:r>
              <a:rPr sz="2700" b="1" spc="-4" baseline="-1610" dirty="0">
                <a:latin typeface="Arial"/>
                <a:cs typeface="Arial"/>
              </a:rPr>
              <a:t>e</a:t>
            </a:r>
            <a:r>
              <a:rPr sz="2700" b="1" baseline="-1610" dirty="0">
                <a:latin typeface="Arial"/>
                <a:cs typeface="Arial"/>
              </a:rPr>
              <a:t>l</a:t>
            </a:r>
            <a:r>
              <a:rPr sz="2700" b="1" spc="4" baseline="-1610" dirty="0">
                <a:latin typeface="Arial"/>
                <a:cs typeface="Arial"/>
              </a:rPr>
              <a:t>i</a:t>
            </a:r>
            <a:r>
              <a:rPr sz="2700" b="1" spc="-39" baseline="-1610" dirty="0">
                <a:latin typeface="Arial"/>
                <a:cs typeface="Arial"/>
              </a:rPr>
              <a:t>v</a:t>
            </a:r>
            <a:r>
              <a:rPr sz="2700" b="1" baseline="-1610" dirty="0">
                <a:latin typeface="Arial"/>
                <a:cs typeface="Arial"/>
              </a:rPr>
              <a:t>ery                                   </a:t>
            </a:r>
            <a:r>
              <a:rPr sz="2700" b="1" spc="468" baseline="-1610" dirty="0">
                <a:latin typeface="Arial"/>
                <a:cs typeface="Arial"/>
              </a:rPr>
              <a:t> </a:t>
            </a:r>
            <a:r>
              <a:rPr sz="2100" b="1" spc="-4" baseline="2070" dirty="0">
                <a:latin typeface="Arial"/>
                <a:cs typeface="Arial"/>
              </a:rPr>
              <a:t>D</a:t>
            </a:r>
            <a:r>
              <a:rPr sz="2100" b="1" baseline="2070" dirty="0">
                <a:latin typeface="Arial"/>
                <a:cs typeface="Arial"/>
              </a:rPr>
              <a:t>e</a:t>
            </a:r>
            <a:r>
              <a:rPr sz="2100" b="1" spc="4" baseline="2070" dirty="0">
                <a:latin typeface="Arial"/>
                <a:cs typeface="Arial"/>
              </a:rPr>
              <a:t>li</a:t>
            </a:r>
            <a:r>
              <a:rPr sz="2100" b="1" spc="-14" baseline="2070" dirty="0">
                <a:latin typeface="Arial"/>
                <a:cs typeface="Arial"/>
              </a:rPr>
              <a:t>v</a:t>
            </a:r>
            <a:r>
              <a:rPr sz="2100" b="1" baseline="2070" dirty="0">
                <a:latin typeface="Arial"/>
                <a:cs typeface="Arial"/>
              </a:rPr>
              <a:t>e</a:t>
            </a:r>
            <a:r>
              <a:rPr sz="2100" b="1" spc="4" baseline="2070" dirty="0">
                <a:latin typeface="Arial"/>
                <a:cs typeface="Arial"/>
              </a:rPr>
              <a:t>r</a:t>
            </a:r>
            <a:r>
              <a:rPr sz="2100" b="1" baseline="2070" dirty="0">
                <a:latin typeface="Arial"/>
                <a:cs typeface="Arial"/>
              </a:rPr>
              <a:t>y         </a:t>
            </a:r>
            <a:r>
              <a:rPr sz="2100" b="1" spc="64" baseline="2070" dirty="0">
                <a:latin typeface="Arial"/>
                <a:cs typeface="Arial"/>
              </a:rPr>
              <a:t> </a:t>
            </a:r>
            <a:r>
              <a:rPr sz="2100" b="1" u="sng" spc="4" baseline="2070" dirty="0">
                <a:latin typeface="Arial"/>
                <a:cs typeface="Arial"/>
              </a:rPr>
              <a:t>I</a:t>
            </a:r>
            <a:r>
              <a:rPr sz="2100" b="1" u="sng" spc="-4" baseline="2070" dirty="0">
                <a:latin typeface="Arial"/>
                <a:cs typeface="Arial"/>
              </a:rPr>
              <a:t>n</a:t>
            </a:r>
            <a:r>
              <a:rPr sz="2100" b="1" u="sng" spc="-14" baseline="2070" dirty="0">
                <a:latin typeface="Arial"/>
                <a:cs typeface="Arial"/>
              </a:rPr>
              <a:t>v</a:t>
            </a:r>
            <a:r>
              <a:rPr sz="2100" b="1" u="sng" spc="-4" baseline="2070" dirty="0">
                <a:latin typeface="Arial"/>
                <a:cs typeface="Arial"/>
              </a:rPr>
              <a:t>o</a:t>
            </a:r>
            <a:r>
              <a:rPr sz="2100" b="1" u="sng" spc="4" baseline="2070" dirty="0">
                <a:latin typeface="Arial"/>
                <a:cs typeface="Arial"/>
              </a:rPr>
              <a:t>i</a:t>
            </a:r>
            <a:r>
              <a:rPr sz="2100" b="1" u="sng" baseline="2070" dirty="0">
                <a:latin typeface="Arial"/>
                <a:cs typeface="Arial"/>
              </a:rPr>
              <a:t>ce</a:t>
            </a:r>
            <a:endParaRPr sz="1400">
              <a:latin typeface="Arial"/>
              <a:cs typeface="Arial"/>
            </a:endParaRPr>
          </a:p>
        </p:txBody>
      </p:sp>
      <p:sp>
        <p:nvSpPr>
          <p:cNvPr id="4" name="object 4"/>
          <p:cNvSpPr txBox="1"/>
          <p:nvPr/>
        </p:nvSpPr>
        <p:spPr>
          <a:xfrm>
            <a:off x="1905000" y="3709162"/>
            <a:ext cx="6705600" cy="1181862"/>
          </a:xfrm>
          <a:prstGeom prst="rect">
            <a:avLst/>
          </a:prstGeom>
        </p:spPr>
        <p:txBody>
          <a:bodyPr wrap="square" lIns="0" tIns="0" rIns="0" bIns="0" rtlCol="0">
            <a:noAutofit/>
          </a:bodyPr>
          <a:lstStyle/>
          <a:p>
            <a:pPr>
              <a:lnSpc>
                <a:spcPts val="800"/>
              </a:lnSpc>
              <a:spcBef>
                <a:spcPts val="10"/>
              </a:spcBef>
            </a:pPr>
            <a:endParaRPr sz="800"/>
          </a:p>
          <a:p>
            <a:pPr marR="527210" algn="r">
              <a:lnSpc>
                <a:spcPct val="95825"/>
              </a:lnSpc>
            </a:pPr>
            <a:r>
              <a:rPr sz="1400" b="1" u="sng" spc="4" dirty="0">
                <a:latin typeface="Arial"/>
                <a:cs typeface="Arial"/>
              </a:rPr>
              <a:t>I</a:t>
            </a:r>
            <a:r>
              <a:rPr sz="1400" b="1" u="sng" spc="-4" dirty="0">
                <a:latin typeface="Arial"/>
                <a:cs typeface="Arial"/>
              </a:rPr>
              <a:t>n</a:t>
            </a:r>
            <a:r>
              <a:rPr sz="1400" b="1" u="sng" spc="-14" dirty="0">
                <a:latin typeface="Arial"/>
                <a:cs typeface="Arial"/>
              </a:rPr>
              <a:t>v</a:t>
            </a:r>
            <a:r>
              <a:rPr sz="1400" b="1" u="sng" spc="-4" dirty="0">
                <a:latin typeface="Arial"/>
                <a:cs typeface="Arial"/>
              </a:rPr>
              <a:t>o</a:t>
            </a:r>
            <a:r>
              <a:rPr sz="1400" b="1" u="sng" spc="4" dirty="0">
                <a:latin typeface="Arial"/>
                <a:cs typeface="Arial"/>
              </a:rPr>
              <a:t>i</a:t>
            </a:r>
            <a:r>
              <a:rPr sz="1400" b="1" u="sng" dirty="0">
                <a:latin typeface="Arial"/>
                <a:cs typeface="Arial"/>
              </a:rPr>
              <a:t>ce</a:t>
            </a:r>
            <a:endParaRPr sz="1400">
              <a:latin typeface="Arial"/>
              <a:cs typeface="Arial"/>
            </a:endParaRPr>
          </a:p>
          <a:p>
            <a:pPr marL="3287737" marR="2899440" algn="ctr">
              <a:lnSpc>
                <a:spcPct val="95825"/>
              </a:lnSpc>
              <a:spcBef>
                <a:spcPts val="105"/>
              </a:spcBef>
            </a:pPr>
            <a:r>
              <a:rPr sz="1400" b="1" dirty="0">
                <a:latin typeface="Arial"/>
                <a:cs typeface="Arial"/>
              </a:rPr>
              <a:t>Sa</a:t>
            </a:r>
            <a:r>
              <a:rPr sz="1400" b="1" spc="4" dirty="0">
                <a:latin typeface="Arial"/>
                <a:cs typeface="Arial"/>
              </a:rPr>
              <a:t>l</a:t>
            </a:r>
            <a:r>
              <a:rPr sz="1400" b="1" dirty="0">
                <a:latin typeface="Arial"/>
                <a:cs typeface="Arial"/>
              </a:rPr>
              <a:t>es</a:t>
            </a:r>
            <a:endParaRPr sz="1400">
              <a:latin typeface="Arial"/>
              <a:cs typeface="Arial"/>
            </a:endParaRPr>
          </a:p>
          <a:p>
            <a:pPr marR="527210" algn="r">
              <a:lnSpc>
                <a:spcPct val="95825"/>
              </a:lnSpc>
              <a:spcBef>
                <a:spcPts val="1164"/>
              </a:spcBef>
            </a:pPr>
            <a:r>
              <a:rPr sz="1400" b="1" u="sng" spc="4" dirty="0">
                <a:latin typeface="Arial"/>
                <a:cs typeface="Arial"/>
              </a:rPr>
              <a:t>I</a:t>
            </a:r>
            <a:r>
              <a:rPr sz="1400" b="1" u="sng" spc="-4" dirty="0">
                <a:latin typeface="Arial"/>
                <a:cs typeface="Arial"/>
              </a:rPr>
              <a:t>n</a:t>
            </a:r>
            <a:r>
              <a:rPr sz="1400" b="1" u="sng" spc="-14" dirty="0">
                <a:latin typeface="Arial"/>
                <a:cs typeface="Arial"/>
              </a:rPr>
              <a:t>v</a:t>
            </a:r>
            <a:r>
              <a:rPr sz="1400" b="1" u="sng" spc="-4" dirty="0">
                <a:latin typeface="Arial"/>
                <a:cs typeface="Arial"/>
              </a:rPr>
              <a:t>o</a:t>
            </a:r>
            <a:r>
              <a:rPr sz="1400" b="1" u="sng" spc="4" dirty="0">
                <a:latin typeface="Arial"/>
                <a:cs typeface="Arial"/>
              </a:rPr>
              <a:t>i</a:t>
            </a:r>
            <a:r>
              <a:rPr sz="1400" b="1" u="sng" dirty="0">
                <a:latin typeface="Arial"/>
                <a:cs typeface="Arial"/>
              </a:rPr>
              <a:t>ce</a:t>
            </a:r>
            <a:endParaRPr sz="1400">
              <a:latin typeface="Arial"/>
              <a:cs typeface="Arial"/>
            </a:endParaRPr>
          </a:p>
        </p:txBody>
      </p:sp>
      <p:sp>
        <p:nvSpPr>
          <p:cNvPr id="3" name="object 3"/>
          <p:cNvSpPr txBox="1"/>
          <p:nvPr/>
        </p:nvSpPr>
        <p:spPr>
          <a:xfrm>
            <a:off x="1905000" y="4891024"/>
            <a:ext cx="6705600" cy="1585976"/>
          </a:xfrm>
          <a:prstGeom prst="rect">
            <a:avLst/>
          </a:prstGeom>
        </p:spPr>
        <p:txBody>
          <a:bodyPr wrap="square" lIns="0" tIns="0" rIns="0" bIns="0" rtlCol="0">
            <a:noAutofit/>
          </a:bodyPr>
          <a:lstStyle/>
          <a:p>
            <a:pPr marL="3313811">
              <a:lnSpc>
                <a:spcPts val="2009"/>
              </a:lnSpc>
              <a:spcBef>
                <a:spcPts val="365"/>
              </a:spcBef>
            </a:pPr>
            <a:r>
              <a:rPr sz="2100" b="1" baseline="16564" dirty="0">
                <a:latin typeface="Arial"/>
                <a:cs typeface="Arial"/>
              </a:rPr>
              <a:t>Sa</a:t>
            </a:r>
            <a:r>
              <a:rPr sz="2100" b="1" spc="4" baseline="16564" dirty="0">
                <a:latin typeface="Arial"/>
                <a:cs typeface="Arial"/>
              </a:rPr>
              <a:t>l</a:t>
            </a:r>
            <a:r>
              <a:rPr sz="2100" b="1" baseline="16564" dirty="0">
                <a:latin typeface="Arial"/>
                <a:cs typeface="Arial"/>
              </a:rPr>
              <a:t>es            </a:t>
            </a:r>
            <a:r>
              <a:rPr sz="2100" b="1" spc="327" baseline="16564" dirty="0">
                <a:latin typeface="Arial"/>
                <a:cs typeface="Arial"/>
              </a:rPr>
              <a:t> </a:t>
            </a: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a:t>
            </a:r>
            <a:r>
              <a:rPr sz="1400" b="1" spc="4" dirty="0">
                <a:latin typeface="Arial"/>
                <a:cs typeface="Arial"/>
              </a:rPr>
              <a:t>r</a:t>
            </a:r>
            <a:r>
              <a:rPr sz="1400" b="1" dirty="0">
                <a:latin typeface="Arial"/>
                <a:cs typeface="Arial"/>
              </a:rPr>
              <a:t>y</a:t>
            </a:r>
            <a:endParaRPr sz="1400">
              <a:latin typeface="Arial"/>
              <a:cs typeface="Arial"/>
            </a:endParaRPr>
          </a:p>
          <a:p>
            <a:pPr marL="224028">
              <a:lnSpc>
                <a:spcPts val="2725"/>
              </a:lnSpc>
              <a:spcBef>
                <a:spcPts val="2506"/>
              </a:spcBef>
            </a:pPr>
            <a:r>
              <a:rPr sz="2250" dirty="0">
                <a:latin typeface="Wingdings"/>
                <a:cs typeface="Wingdings"/>
              </a:rPr>
              <a:t></a:t>
            </a:r>
            <a:r>
              <a:rPr sz="2250" dirty="0">
                <a:latin typeface="Times New Roman"/>
                <a:cs typeface="Times New Roman"/>
              </a:rPr>
              <a:t> </a:t>
            </a:r>
            <a:r>
              <a:rPr sz="2250" spc="357" dirty="0">
                <a:latin typeface="Times New Roman"/>
                <a:cs typeface="Times New Roman"/>
              </a:rPr>
              <a:t> </a:t>
            </a:r>
            <a:r>
              <a:rPr b="1" dirty="0">
                <a:latin typeface="Arial"/>
                <a:cs typeface="Arial"/>
              </a:rPr>
              <a:t>Col</a:t>
            </a:r>
            <a:r>
              <a:rPr b="1" spc="4" dirty="0">
                <a:latin typeface="Arial"/>
                <a:cs typeface="Arial"/>
              </a:rPr>
              <a:t>l</a:t>
            </a:r>
            <a:r>
              <a:rPr b="1" dirty="0">
                <a:latin typeface="Arial"/>
                <a:cs typeface="Arial"/>
              </a:rPr>
              <a:t>e</a:t>
            </a:r>
            <a:r>
              <a:rPr b="1" spc="-9" dirty="0">
                <a:latin typeface="Arial"/>
                <a:cs typeface="Arial"/>
              </a:rPr>
              <a:t>c</a:t>
            </a:r>
            <a:r>
              <a:rPr b="1" dirty="0">
                <a:latin typeface="Arial"/>
                <a:cs typeface="Arial"/>
              </a:rPr>
              <a:t>ti</a:t>
            </a:r>
            <a:r>
              <a:rPr b="1" spc="-34" dirty="0">
                <a:latin typeface="Arial"/>
                <a:cs typeface="Arial"/>
              </a:rPr>
              <a:t>v</a:t>
            </a:r>
            <a:r>
              <a:rPr b="1" dirty="0">
                <a:latin typeface="Arial"/>
                <a:cs typeface="Arial"/>
              </a:rPr>
              <a:t>e</a:t>
            </a:r>
            <a:r>
              <a:rPr b="1" spc="34" dirty="0">
                <a:latin typeface="Arial"/>
                <a:cs typeface="Arial"/>
              </a:rPr>
              <a:t> </a:t>
            </a:r>
            <a:r>
              <a:rPr b="1" dirty="0">
                <a:latin typeface="Arial"/>
                <a:cs typeface="Arial"/>
              </a:rPr>
              <a:t>I</a:t>
            </a:r>
            <a:r>
              <a:rPr b="1" spc="4" dirty="0">
                <a:latin typeface="Arial"/>
                <a:cs typeface="Arial"/>
              </a:rPr>
              <a:t>n</a:t>
            </a:r>
            <a:r>
              <a:rPr b="1" spc="-39" dirty="0">
                <a:latin typeface="Arial"/>
                <a:cs typeface="Arial"/>
              </a:rPr>
              <a:t>v</a:t>
            </a:r>
            <a:r>
              <a:rPr b="1" dirty="0">
                <a:latin typeface="Arial"/>
                <a:cs typeface="Arial"/>
              </a:rPr>
              <a:t>o</a:t>
            </a:r>
            <a:r>
              <a:rPr b="1" spc="4" dirty="0">
                <a:latin typeface="Arial"/>
                <a:cs typeface="Arial"/>
              </a:rPr>
              <a:t>i</a:t>
            </a:r>
            <a:r>
              <a:rPr b="1" dirty="0">
                <a:latin typeface="Arial"/>
                <a:cs typeface="Arial"/>
              </a:rPr>
              <a:t>ce                            </a:t>
            </a:r>
            <a:r>
              <a:rPr b="1" spc="253" dirty="0">
                <a:latin typeface="Arial"/>
                <a:cs typeface="Arial"/>
              </a:rPr>
              <a:t> </a:t>
            </a:r>
            <a:r>
              <a:rPr sz="2100" b="1" spc="-4" baseline="39340" dirty="0">
                <a:latin typeface="Arial"/>
                <a:cs typeface="Arial"/>
              </a:rPr>
              <a:t>D</a:t>
            </a:r>
            <a:r>
              <a:rPr sz="2100" b="1" baseline="39340" dirty="0">
                <a:latin typeface="Arial"/>
                <a:cs typeface="Arial"/>
              </a:rPr>
              <a:t>e</a:t>
            </a:r>
            <a:r>
              <a:rPr sz="2100" b="1" spc="4" baseline="39340" dirty="0">
                <a:latin typeface="Arial"/>
                <a:cs typeface="Arial"/>
              </a:rPr>
              <a:t>li</a:t>
            </a:r>
            <a:r>
              <a:rPr sz="2100" b="1" spc="-14" baseline="39340" dirty="0">
                <a:latin typeface="Arial"/>
                <a:cs typeface="Arial"/>
              </a:rPr>
              <a:t>v</a:t>
            </a:r>
            <a:r>
              <a:rPr sz="2100" b="1" baseline="39340" dirty="0">
                <a:latin typeface="Arial"/>
                <a:cs typeface="Arial"/>
              </a:rPr>
              <a:t>e</a:t>
            </a:r>
            <a:r>
              <a:rPr sz="2100" b="1" spc="4" baseline="39340" dirty="0">
                <a:latin typeface="Arial"/>
                <a:cs typeface="Arial"/>
              </a:rPr>
              <a:t>r</a:t>
            </a:r>
            <a:r>
              <a:rPr sz="2100" b="1" baseline="39340" dirty="0">
                <a:latin typeface="Arial"/>
                <a:cs typeface="Arial"/>
              </a:rPr>
              <a:t>y       </a:t>
            </a:r>
            <a:r>
              <a:rPr sz="2100" b="1" spc="129" baseline="39340" dirty="0">
                <a:latin typeface="Arial"/>
                <a:cs typeface="Arial"/>
              </a:rPr>
              <a:t> </a:t>
            </a:r>
            <a:r>
              <a:rPr sz="2100" b="1" spc="4" baseline="37270" dirty="0">
                <a:latin typeface="Arial"/>
                <a:cs typeface="Arial"/>
              </a:rPr>
              <a:t>I</a:t>
            </a:r>
            <a:r>
              <a:rPr sz="2100" b="1" spc="-4" baseline="37270" dirty="0">
                <a:latin typeface="Arial"/>
                <a:cs typeface="Arial"/>
              </a:rPr>
              <a:t>n</a:t>
            </a:r>
            <a:r>
              <a:rPr sz="2100" b="1" spc="-14" baseline="37270" dirty="0">
                <a:latin typeface="Arial"/>
                <a:cs typeface="Arial"/>
              </a:rPr>
              <a:t>v</a:t>
            </a:r>
            <a:r>
              <a:rPr sz="2100" b="1" spc="-4" baseline="37270" dirty="0">
                <a:latin typeface="Arial"/>
                <a:cs typeface="Arial"/>
              </a:rPr>
              <a:t>o</a:t>
            </a:r>
            <a:r>
              <a:rPr sz="2100" b="1" spc="4" baseline="37270" dirty="0">
                <a:latin typeface="Arial"/>
                <a:cs typeface="Arial"/>
              </a:rPr>
              <a:t>i</a:t>
            </a:r>
            <a:r>
              <a:rPr sz="2100" b="1" baseline="37270" dirty="0">
                <a:latin typeface="Arial"/>
                <a:cs typeface="Arial"/>
              </a:rPr>
              <a:t>ce</a:t>
            </a:r>
            <a:endParaRPr sz="1400">
              <a:latin typeface="Arial"/>
              <a:cs typeface="Arial"/>
            </a:endParaRPr>
          </a:p>
          <a:p>
            <a:pPr marL="3313811">
              <a:lnSpc>
                <a:spcPts val="2109"/>
              </a:lnSpc>
              <a:spcBef>
                <a:spcPts val="923"/>
              </a:spcBef>
            </a:pPr>
            <a:r>
              <a:rPr sz="2100" b="1" baseline="20705" dirty="0">
                <a:latin typeface="Arial"/>
                <a:cs typeface="Arial"/>
              </a:rPr>
              <a:t>Sa</a:t>
            </a:r>
            <a:r>
              <a:rPr sz="2100" b="1" spc="4" baseline="20705" dirty="0">
                <a:latin typeface="Arial"/>
                <a:cs typeface="Arial"/>
              </a:rPr>
              <a:t>l</a:t>
            </a:r>
            <a:r>
              <a:rPr sz="2100" b="1" baseline="20705" dirty="0">
                <a:latin typeface="Arial"/>
                <a:cs typeface="Arial"/>
              </a:rPr>
              <a:t>es            </a:t>
            </a:r>
            <a:r>
              <a:rPr sz="2100" b="1" spc="327" baseline="20705" dirty="0">
                <a:latin typeface="Arial"/>
                <a:cs typeface="Arial"/>
              </a:rPr>
              <a:t> </a:t>
            </a:r>
            <a:r>
              <a:rPr sz="1400" b="1" spc="-4" dirty="0">
                <a:latin typeface="Arial"/>
                <a:cs typeface="Arial"/>
              </a:rPr>
              <a:t>D</a:t>
            </a:r>
            <a:r>
              <a:rPr sz="1400" b="1" dirty="0">
                <a:latin typeface="Arial"/>
                <a:cs typeface="Arial"/>
              </a:rPr>
              <a:t>e</a:t>
            </a:r>
            <a:r>
              <a:rPr sz="1400" b="1" spc="4" dirty="0">
                <a:latin typeface="Arial"/>
                <a:cs typeface="Arial"/>
              </a:rPr>
              <a:t>li</a:t>
            </a:r>
            <a:r>
              <a:rPr sz="1400" b="1" spc="-14" dirty="0">
                <a:latin typeface="Arial"/>
                <a:cs typeface="Arial"/>
              </a:rPr>
              <a:t>v</a:t>
            </a:r>
            <a:r>
              <a:rPr sz="1400" b="1" dirty="0">
                <a:latin typeface="Arial"/>
                <a:cs typeface="Arial"/>
              </a:rPr>
              <a:t>e</a:t>
            </a:r>
            <a:r>
              <a:rPr sz="1400" b="1" spc="4" dirty="0">
                <a:latin typeface="Arial"/>
                <a:cs typeface="Arial"/>
              </a:rPr>
              <a:t>r</a:t>
            </a:r>
            <a:r>
              <a:rPr sz="1400" b="1" dirty="0">
                <a:latin typeface="Arial"/>
                <a:cs typeface="Arial"/>
              </a:rPr>
              <a:t>y</a:t>
            </a:r>
            <a:endParaRPr sz="1400">
              <a:latin typeface="Arial"/>
              <a:cs typeface="Arial"/>
            </a:endParaRPr>
          </a:p>
        </p:txBody>
      </p:sp>
      <p:sp>
        <p:nvSpPr>
          <p:cNvPr id="2" name="object 2"/>
          <p:cNvSpPr txBox="1"/>
          <p:nvPr/>
        </p:nvSpPr>
        <p:spPr>
          <a:xfrm>
            <a:off x="7468363" y="5529656"/>
            <a:ext cx="584199" cy="152400"/>
          </a:xfrm>
          <a:prstGeom prst="rect">
            <a:avLst/>
          </a:prstGeom>
        </p:spPr>
        <p:txBody>
          <a:bodyPr wrap="square" lIns="0" tIns="0" rIns="0" bIns="0" rtlCol="0">
            <a:noAutofit/>
          </a:bodyPr>
          <a:lstStyle/>
          <a:p>
            <a:pPr marL="25400">
              <a:lnSpc>
                <a:spcPts val="1000"/>
              </a:lnSpc>
            </a:pPr>
            <a:endParaRPr sz="1000"/>
          </a:p>
        </p:txBody>
      </p:sp>
      <p:sp>
        <p:nvSpPr>
          <p:cNvPr id="168" name="TextBox 167"/>
          <p:cNvSpPr txBox="1"/>
          <p:nvPr/>
        </p:nvSpPr>
        <p:spPr>
          <a:xfrm>
            <a:off x="227350" y="762000"/>
            <a:ext cx="9876261" cy="1353191"/>
          </a:xfrm>
          <a:prstGeom prst="rect">
            <a:avLst/>
          </a:prstGeom>
          <a:noFill/>
        </p:spPr>
        <p:txBody>
          <a:bodyPr wrap="square" rtlCol="0">
            <a:spAutoFit/>
          </a:bodyPr>
          <a:lstStyle/>
          <a:p>
            <a:pPr marL="313689" marR="30415" indent="-285750">
              <a:lnSpc>
                <a:spcPct val="95825"/>
              </a:lnSpc>
              <a:spcBef>
                <a:spcPts val="372"/>
              </a:spcBef>
              <a:buClr>
                <a:srgbClr val="00B0F0"/>
              </a:buClr>
              <a:buFont typeface="Wingdings" panose="05000000000000000000" pitchFamily="2" charset="2"/>
              <a:buChar char="§"/>
            </a:pPr>
            <a:r>
              <a:rPr lang="en-US" sz="1600" spc="4" dirty="0">
                <a:cs typeface="Arial" panose="020B0604020202020204" pitchFamily="34" charset="0"/>
              </a:rPr>
              <a:t>There are different ways to create a billing document by:</a:t>
            </a:r>
          </a:p>
          <a:p>
            <a:pPr marL="770890" marR="30415" indent="-285750">
              <a:lnSpc>
                <a:spcPct val="95825"/>
              </a:lnSpc>
              <a:spcBef>
                <a:spcPts val="80"/>
              </a:spcBef>
              <a:buClr>
                <a:srgbClr val="C00000"/>
              </a:buClr>
              <a:buFont typeface="Wingdings" panose="05000000000000000000" pitchFamily="2" charset="2"/>
              <a:buChar char="§"/>
            </a:pPr>
            <a:r>
              <a:rPr lang="en-US" sz="1600" spc="4" dirty="0">
                <a:cs typeface="Arial" panose="020B0604020202020204" pitchFamily="34" charset="0"/>
              </a:rPr>
              <a:t>specifying the documents (Sales order or Delivery) to be billed</a:t>
            </a:r>
          </a:p>
          <a:p>
            <a:pPr marL="770890" marR="30415" indent="-285750">
              <a:lnSpc>
                <a:spcPct val="95825"/>
              </a:lnSpc>
              <a:spcBef>
                <a:spcPts val="80"/>
              </a:spcBef>
              <a:buClr>
                <a:srgbClr val="C00000"/>
              </a:buClr>
              <a:buFont typeface="Wingdings" panose="05000000000000000000" pitchFamily="2" charset="2"/>
              <a:buChar char="§"/>
            </a:pPr>
            <a:r>
              <a:rPr lang="en-US" sz="1600" spc="4" dirty="0">
                <a:cs typeface="Arial" panose="020B0604020202020204" pitchFamily="34" charset="0"/>
              </a:rPr>
              <a:t>processing manually from the billing due list</a:t>
            </a:r>
          </a:p>
          <a:p>
            <a:pPr marL="770890" indent="-285750">
              <a:lnSpc>
                <a:spcPct val="95825"/>
              </a:lnSpc>
              <a:spcBef>
                <a:spcPts val="80"/>
              </a:spcBef>
              <a:buClr>
                <a:srgbClr val="C00000"/>
              </a:buClr>
              <a:buFont typeface="Wingdings" panose="05000000000000000000" pitchFamily="2" charset="2"/>
              <a:buChar char="§"/>
            </a:pPr>
            <a:r>
              <a:rPr lang="en-US" sz="1600" spc="4" dirty="0">
                <a:cs typeface="Arial" panose="020B0604020202020204" pitchFamily="34" charset="0"/>
              </a:rPr>
              <a:t>having the system process a billing due list automatically as a background task</a:t>
            </a:r>
          </a:p>
          <a:p>
            <a:endParaRPr lang="en-US" dirty="0"/>
          </a:p>
        </p:txBody>
      </p:sp>
      <p:sp>
        <p:nvSpPr>
          <p:cNvPr id="28" name="Title 27"/>
          <p:cNvSpPr>
            <a:spLocks noGrp="1"/>
          </p:cNvSpPr>
          <p:nvPr>
            <p:ph type="title"/>
          </p:nvPr>
        </p:nvSpPr>
        <p:spPr/>
        <p:txBody>
          <a:bodyPr>
            <a:normAutofit fontScale="90000"/>
          </a:bodyPr>
          <a:lstStyle/>
          <a:p>
            <a:r>
              <a:rPr lang="en-US" sz="2400" dirty="0">
                <a:latin typeface="Arial"/>
                <a:cs typeface="Arial"/>
              </a:rPr>
              <a:t>Billing Pr</a:t>
            </a:r>
            <a:r>
              <a:rPr lang="en-US" sz="2400" spc="-14" dirty="0">
                <a:latin typeface="Arial"/>
                <a:cs typeface="Arial"/>
              </a:rPr>
              <a:t>o</a:t>
            </a:r>
            <a:r>
              <a:rPr lang="en-US" sz="2400" dirty="0">
                <a:latin typeface="Arial"/>
                <a:cs typeface="Arial"/>
              </a:rPr>
              <a:t>cessing</a:t>
            </a:r>
            <a:br>
              <a:rPr lang="en-US" sz="2800" b="1" dirty="0">
                <a:latin typeface="Arial"/>
                <a:cs typeface="Arial"/>
              </a:rPr>
            </a:b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p:nvPr/>
        </p:nvSpPr>
        <p:spPr>
          <a:xfrm>
            <a:off x="2212975" y="4931792"/>
            <a:ext cx="1471676" cy="1316609"/>
          </a:xfrm>
          <a:custGeom>
            <a:avLst/>
            <a:gdLst/>
            <a:ahLst/>
            <a:cxnLst/>
            <a:rect l="l" t="t" r="r" b="b"/>
            <a:pathLst>
              <a:path w="1471676" h="1316609">
                <a:moveTo>
                  <a:pt x="0" y="1316609"/>
                </a:moveTo>
                <a:lnTo>
                  <a:pt x="1471676" y="1316609"/>
                </a:lnTo>
                <a:lnTo>
                  <a:pt x="1471676" y="0"/>
                </a:lnTo>
                <a:lnTo>
                  <a:pt x="0" y="0"/>
                </a:lnTo>
                <a:lnTo>
                  <a:pt x="0" y="1316609"/>
                </a:lnTo>
                <a:close/>
              </a:path>
            </a:pathLst>
          </a:custGeom>
          <a:solidFill>
            <a:srgbClr val="317579"/>
          </a:solidFill>
        </p:spPr>
        <p:txBody>
          <a:bodyPr wrap="square" lIns="0" tIns="0" rIns="0" bIns="0" rtlCol="0">
            <a:noAutofit/>
          </a:bodyPr>
          <a:lstStyle/>
          <a:p>
            <a:endParaRPr/>
          </a:p>
        </p:txBody>
      </p:sp>
      <p:sp>
        <p:nvSpPr>
          <p:cNvPr id="17" name="object 17"/>
          <p:cNvSpPr/>
          <p:nvPr/>
        </p:nvSpPr>
        <p:spPr>
          <a:xfrm>
            <a:off x="2212975" y="4931792"/>
            <a:ext cx="1471676" cy="1316609"/>
          </a:xfrm>
          <a:custGeom>
            <a:avLst/>
            <a:gdLst/>
            <a:ahLst/>
            <a:cxnLst/>
            <a:rect l="l" t="t" r="r" b="b"/>
            <a:pathLst>
              <a:path w="1471676" h="1316609">
                <a:moveTo>
                  <a:pt x="0" y="1316609"/>
                </a:moveTo>
                <a:lnTo>
                  <a:pt x="1471676" y="1316609"/>
                </a:lnTo>
                <a:lnTo>
                  <a:pt x="1471676" y="0"/>
                </a:lnTo>
                <a:lnTo>
                  <a:pt x="0" y="0"/>
                </a:lnTo>
                <a:lnTo>
                  <a:pt x="0" y="1316609"/>
                </a:lnTo>
                <a:close/>
              </a:path>
            </a:pathLst>
          </a:custGeom>
          <a:ln w="25399">
            <a:solidFill>
              <a:srgbClr val="000000"/>
            </a:solidFill>
          </a:ln>
        </p:spPr>
        <p:txBody>
          <a:bodyPr wrap="square" lIns="0" tIns="0" rIns="0" bIns="0" rtlCol="0">
            <a:noAutofit/>
          </a:bodyPr>
          <a:lstStyle/>
          <a:p>
            <a:endParaRPr/>
          </a:p>
        </p:txBody>
      </p:sp>
      <p:sp>
        <p:nvSpPr>
          <p:cNvPr id="18" name="object 18"/>
          <p:cNvSpPr/>
          <p:nvPr/>
        </p:nvSpPr>
        <p:spPr>
          <a:xfrm>
            <a:off x="2162556" y="4939285"/>
            <a:ext cx="1598676" cy="420623"/>
          </a:xfrm>
          <a:prstGeom prst="rect">
            <a:avLst/>
          </a:prstGeom>
          <a:blipFill>
            <a:blip r:embed="rId2" cstate="print"/>
            <a:stretch>
              <a:fillRect/>
            </a:stretch>
          </a:blipFill>
        </p:spPr>
        <p:txBody>
          <a:bodyPr wrap="square" lIns="0" tIns="0" rIns="0" bIns="0" rtlCol="0">
            <a:noAutofit/>
          </a:bodyPr>
          <a:lstStyle/>
          <a:p>
            <a:endParaRPr/>
          </a:p>
        </p:txBody>
      </p:sp>
      <p:sp>
        <p:nvSpPr>
          <p:cNvPr id="19" name="object 19"/>
          <p:cNvSpPr/>
          <p:nvPr/>
        </p:nvSpPr>
        <p:spPr>
          <a:xfrm>
            <a:off x="3416808" y="4939285"/>
            <a:ext cx="414528" cy="420623"/>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2452116" y="5198364"/>
            <a:ext cx="1019556" cy="725424"/>
          </a:xfrm>
          <a:prstGeom prst="rect">
            <a:avLst/>
          </a:prstGeom>
          <a:blipFill>
            <a:blip r:embed="rId4" cstate="print"/>
            <a:stretch>
              <a:fillRect/>
            </a:stretch>
          </a:blipFill>
        </p:spPr>
        <p:txBody>
          <a:bodyPr wrap="square" lIns="0" tIns="0" rIns="0" bIns="0" rtlCol="0">
            <a:noAutofit/>
          </a:bodyPr>
          <a:lstStyle/>
          <a:p>
            <a:endParaRPr/>
          </a:p>
        </p:txBody>
      </p:sp>
      <p:sp>
        <p:nvSpPr>
          <p:cNvPr id="21" name="object 21"/>
          <p:cNvSpPr/>
          <p:nvPr/>
        </p:nvSpPr>
        <p:spPr>
          <a:xfrm>
            <a:off x="3127248" y="5198364"/>
            <a:ext cx="414528" cy="725424"/>
          </a:xfrm>
          <a:prstGeom prst="rect">
            <a:avLst/>
          </a:prstGeom>
          <a:blipFill>
            <a:blip r:embed="rId5" cstate="print"/>
            <a:stretch>
              <a:fillRect/>
            </a:stretch>
          </a:blipFill>
        </p:spPr>
        <p:txBody>
          <a:bodyPr wrap="square" lIns="0" tIns="0" rIns="0" bIns="0" rtlCol="0">
            <a:noAutofit/>
          </a:bodyPr>
          <a:lstStyle/>
          <a:p>
            <a:endParaRPr/>
          </a:p>
        </p:txBody>
      </p:sp>
      <p:sp>
        <p:nvSpPr>
          <p:cNvPr id="22" name="object 22"/>
          <p:cNvSpPr/>
          <p:nvPr/>
        </p:nvSpPr>
        <p:spPr>
          <a:xfrm>
            <a:off x="2513076" y="5762244"/>
            <a:ext cx="897636" cy="420624"/>
          </a:xfrm>
          <a:prstGeom prst="rect">
            <a:avLst/>
          </a:prstGeom>
          <a:blipFill>
            <a:blip r:embed="rId6" cstate="print"/>
            <a:stretch>
              <a:fillRect/>
            </a:stretch>
          </a:blipFill>
        </p:spPr>
        <p:txBody>
          <a:bodyPr wrap="square" lIns="0" tIns="0" rIns="0" bIns="0" rtlCol="0">
            <a:noAutofit/>
          </a:bodyPr>
          <a:lstStyle/>
          <a:p>
            <a:endParaRPr/>
          </a:p>
        </p:txBody>
      </p:sp>
      <p:sp>
        <p:nvSpPr>
          <p:cNvPr id="23" name="object 23"/>
          <p:cNvSpPr/>
          <p:nvPr/>
        </p:nvSpPr>
        <p:spPr>
          <a:xfrm>
            <a:off x="3066289" y="5762244"/>
            <a:ext cx="414527" cy="420624"/>
          </a:xfrm>
          <a:prstGeom prst="rect">
            <a:avLst/>
          </a:prstGeom>
          <a:blipFill>
            <a:blip r:embed="rId3" cstate="print"/>
            <a:stretch>
              <a:fillRect/>
            </a:stretch>
          </a:blipFill>
        </p:spPr>
        <p:txBody>
          <a:bodyPr wrap="square" lIns="0" tIns="0" rIns="0" bIns="0" rtlCol="0">
            <a:noAutofit/>
          </a:bodyPr>
          <a:lstStyle/>
          <a:p>
            <a:endParaRPr/>
          </a:p>
        </p:txBody>
      </p:sp>
      <p:sp>
        <p:nvSpPr>
          <p:cNvPr id="24" name="object 24"/>
          <p:cNvSpPr/>
          <p:nvPr/>
        </p:nvSpPr>
        <p:spPr>
          <a:xfrm>
            <a:off x="4405884" y="4931792"/>
            <a:ext cx="1619884" cy="1316609"/>
          </a:xfrm>
          <a:prstGeom prst="rect">
            <a:avLst/>
          </a:prstGeom>
          <a:blipFill>
            <a:blip r:embed="rId7" cstate="print"/>
            <a:stretch>
              <a:fillRect/>
            </a:stretch>
          </a:blipFill>
        </p:spPr>
        <p:txBody>
          <a:bodyPr wrap="square" lIns="0" tIns="0" rIns="0" bIns="0" rtlCol="0">
            <a:noAutofit/>
          </a:bodyPr>
          <a:lstStyle/>
          <a:p>
            <a:endParaRPr/>
          </a:p>
        </p:txBody>
      </p:sp>
      <p:sp>
        <p:nvSpPr>
          <p:cNvPr id="25" name="object 25"/>
          <p:cNvSpPr/>
          <p:nvPr/>
        </p:nvSpPr>
        <p:spPr>
          <a:xfrm>
            <a:off x="4405884" y="4931792"/>
            <a:ext cx="1619884" cy="1316609"/>
          </a:xfrm>
          <a:custGeom>
            <a:avLst/>
            <a:gdLst/>
            <a:ahLst/>
            <a:cxnLst/>
            <a:rect l="l" t="t" r="r" b="b"/>
            <a:pathLst>
              <a:path w="1619884" h="1316609">
                <a:moveTo>
                  <a:pt x="0" y="1316609"/>
                </a:moveTo>
                <a:lnTo>
                  <a:pt x="1619884" y="1316609"/>
                </a:lnTo>
                <a:lnTo>
                  <a:pt x="1619884" y="0"/>
                </a:lnTo>
                <a:lnTo>
                  <a:pt x="0" y="0"/>
                </a:lnTo>
                <a:lnTo>
                  <a:pt x="0" y="1316609"/>
                </a:lnTo>
                <a:close/>
              </a:path>
            </a:pathLst>
          </a:custGeom>
          <a:ln w="25400">
            <a:solidFill>
              <a:srgbClr val="000000"/>
            </a:solidFill>
          </a:ln>
        </p:spPr>
        <p:txBody>
          <a:bodyPr wrap="square" lIns="0" tIns="0" rIns="0" bIns="0" rtlCol="0">
            <a:noAutofit/>
          </a:bodyPr>
          <a:lstStyle/>
          <a:p>
            <a:endParaRPr/>
          </a:p>
        </p:txBody>
      </p:sp>
      <p:sp>
        <p:nvSpPr>
          <p:cNvPr id="26" name="object 26"/>
          <p:cNvSpPr/>
          <p:nvPr/>
        </p:nvSpPr>
        <p:spPr>
          <a:xfrm>
            <a:off x="4534027" y="5328666"/>
            <a:ext cx="1360424" cy="0"/>
          </a:xfrm>
          <a:custGeom>
            <a:avLst/>
            <a:gdLst/>
            <a:ahLst/>
            <a:cxnLst/>
            <a:rect l="l" t="t" r="r" b="b"/>
            <a:pathLst>
              <a:path w="1360424">
                <a:moveTo>
                  <a:pt x="0" y="0"/>
                </a:moveTo>
                <a:lnTo>
                  <a:pt x="1360424" y="0"/>
                </a:lnTo>
              </a:path>
            </a:pathLst>
          </a:custGeom>
          <a:ln w="25400">
            <a:solidFill>
              <a:srgbClr val="000000"/>
            </a:solidFill>
          </a:ln>
        </p:spPr>
        <p:txBody>
          <a:bodyPr wrap="square" lIns="0" tIns="0" rIns="0" bIns="0" rtlCol="0">
            <a:noAutofit/>
          </a:bodyPr>
          <a:lstStyle/>
          <a:p>
            <a:endParaRPr/>
          </a:p>
        </p:txBody>
      </p:sp>
      <p:sp>
        <p:nvSpPr>
          <p:cNvPr id="27" name="object 27"/>
          <p:cNvSpPr/>
          <p:nvPr/>
        </p:nvSpPr>
        <p:spPr>
          <a:xfrm>
            <a:off x="5213477" y="5328666"/>
            <a:ext cx="0" cy="817206"/>
          </a:xfrm>
          <a:custGeom>
            <a:avLst/>
            <a:gdLst/>
            <a:ahLst/>
            <a:cxnLst/>
            <a:rect l="l" t="t" r="r" b="b"/>
            <a:pathLst>
              <a:path h="817206">
                <a:moveTo>
                  <a:pt x="0" y="0"/>
                </a:moveTo>
                <a:lnTo>
                  <a:pt x="0" y="817206"/>
                </a:lnTo>
              </a:path>
            </a:pathLst>
          </a:custGeom>
          <a:ln w="25400">
            <a:solidFill>
              <a:srgbClr val="000000"/>
            </a:solidFill>
          </a:ln>
        </p:spPr>
        <p:txBody>
          <a:bodyPr wrap="square" lIns="0" tIns="0" rIns="0" bIns="0" rtlCol="0">
            <a:noAutofit/>
          </a:bodyPr>
          <a:lstStyle/>
          <a:p>
            <a:endParaRPr/>
          </a:p>
        </p:txBody>
      </p:sp>
      <p:sp>
        <p:nvSpPr>
          <p:cNvPr id="28" name="object 28"/>
          <p:cNvSpPr/>
          <p:nvPr/>
        </p:nvSpPr>
        <p:spPr>
          <a:xfrm>
            <a:off x="3321812" y="3421888"/>
            <a:ext cx="2459228" cy="1498092"/>
          </a:xfrm>
          <a:custGeom>
            <a:avLst/>
            <a:gdLst/>
            <a:ahLst/>
            <a:cxnLst/>
            <a:rect l="l" t="t" r="r" b="b"/>
            <a:pathLst>
              <a:path w="2459228" h="1498091">
                <a:moveTo>
                  <a:pt x="2459228" y="43561"/>
                </a:moveTo>
                <a:lnTo>
                  <a:pt x="2432939" y="0"/>
                </a:lnTo>
                <a:lnTo>
                  <a:pt x="146277" y="1380173"/>
                </a:lnTo>
                <a:lnTo>
                  <a:pt x="117348" y="1397635"/>
                </a:lnTo>
                <a:lnTo>
                  <a:pt x="0" y="1498092"/>
                </a:lnTo>
                <a:lnTo>
                  <a:pt x="256794" y="1432052"/>
                </a:lnTo>
                <a:lnTo>
                  <a:pt x="143510" y="1441069"/>
                </a:lnTo>
                <a:lnTo>
                  <a:pt x="130429" y="1419352"/>
                </a:lnTo>
                <a:lnTo>
                  <a:pt x="172491" y="1423579"/>
                </a:lnTo>
                <a:lnTo>
                  <a:pt x="2459228" y="43561"/>
                </a:lnTo>
                <a:close/>
              </a:path>
              <a:path w="2459228" h="1498091">
                <a:moveTo>
                  <a:pt x="143510" y="1441069"/>
                </a:moveTo>
                <a:lnTo>
                  <a:pt x="256794" y="1432052"/>
                </a:lnTo>
                <a:lnTo>
                  <a:pt x="172491" y="1423579"/>
                </a:lnTo>
                <a:lnTo>
                  <a:pt x="130429" y="1419352"/>
                </a:lnTo>
                <a:lnTo>
                  <a:pt x="143510" y="1441069"/>
                </a:lnTo>
                <a:close/>
              </a:path>
              <a:path w="2459228" h="1498091">
                <a:moveTo>
                  <a:pt x="178054" y="1301623"/>
                </a:moveTo>
                <a:lnTo>
                  <a:pt x="0" y="1498092"/>
                </a:lnTo>
                <a:lnTo>
                  <a:pt x="117348" y="1397635"/>
                </a:lnTo>
                <a:lnTo>
                  <a:pt x="146277" y="1380173"/>
                </a:lnTo>
                <a:lnTo>
                  <a:pt x="178054" y="1301623"/>
                </a:lnTo>
                <a:close/>
              </a:path>
            </a:pathLst>
          </a:custGeom>
          <a:solidFill>
            <a:srgbClr val="000000"/>
          </a:solidFill>
        </p:spPr>
        <p:txBody>
          <a:bodyPr wrap="square" lIns="0" tIns="0" rIns="0" bIns="0" rtlCol="0">
            <a:noAutofit/>
          </a:bodyPr>
          <a:lstStyle/>
          <a:p>
            <a:endParaRPr/>
          </a:p>
        </p:txBody>
      </p:sp>
      <p:sp>
        <p:nvSpPr>
          <p:cNvPr id="29" name="object 29"/>
          <p:cNvSpPr/>
          <p:nvPr/>
        </p:nvSpPr>
        <p:spPr>
          <a:xfrm>
            <a:off x="5249037" y="3435224"/>
            <a:ext cx="542798" cy="1484757"/>
          </a:xfrm>
          <a:custGeom>
            <a:avLst/>
            <a:gdLst/>
            <a:ahLst/>
            <a:cxnLst/>
            <a:rect l="l" t="t" r="r" b="b"/>
            <a:pathLst>
              <a:path w="542798" h="1484756">
                <a:moveTo>
                  <a:pt x="0" y="1484757"/>
                </a:moveTo>
                <a:lnTo>
                  <a:pt x="156083" y="1270381"/>
                </a:lnTo>
                <a:lnTo>
                  <a:pt x="85616" y="1317528"/>
                </a:lnTo>
                <a:lnTo>
                  <a:pt x="542798" y="16890"/>
                </a:lnTo>
                <a:lnTo>
                  <a:pt x="494918" y="0"/>
                </a:lnTo>
                <a:lnTo>
                  <a:pt x="37797" y="1300588"/>
                </a:lnTo>
                <a:lnTo>
                  <a:pt x="50546" y="1340993"/>
                </a:lnTo>
                <a:lnTo>
                  <a:pt x="74422" y="1349375"/>
                </a:lnTo>
                <a:lnTo>
                  <a:pt x="0" y="1484757"/>
                </a:lnTo>
                <a:close/>
              </a:path>
              <a:path w="542798" h="1484756">
                <a:moveTo>
                  <a:pt x="26542" y="1332610"/>
                </a:moveTo>
                <a:lnTo>
                  <a:pt x="37797" y="1300588"/>
                </a:lnTo>
                <a:lnTo>
                  <a:pt x="12318" y="1219834"/>
                </a:lnTo>
                <a:lnTo>
                  <a:pt x="0" y="1484757"/>
                </a:lnTo>
                <a:lnTo>
                  <a:pt x="74422" y="1349375"/>
                </a:lnTo>
                <a:lnTo>
                  <a:pt x="50546" y="1340993"/>
                </a:lnTo>
                <a:lnTo>
                  <a:pt x="37797" y="1300588"/>
                </a:lnTo>
                <a:lnTo>
                  <a:pt x="26542" y="1332610"/>
                </a:lnTo>
                <a:close/>
              </a:path>
            </a:pathLst>
          </a:custGeom>
          <a:solidFill>
            <a:srgbClr val="000000"/>
          </a:solidFill>
        </p:spPr>
        <p:txBody>
          <a:bodyPr wrap="square" lIns="0" tIns="0" rIns="0" bIns="0" rtlCol="0">
            <a:noAutofit/>
          </a:bodyPr>
          <a:lstStyle/>
          <a:p>
            <a:endParaRPr/>
          </a:p>
        </p:txBody>
      </p:sp>
      <p:sp>
        <p:nvSpPr>
          <p:cNvPr id="30" name="object 30"/>
          <p:cNvSpPr/>
          <p:nvPr/>
        </p:nvSpPr>
        <p:spPr>
          <a:xfrm>
            <a:off x="6269736" y="4931792"/>
            <a:ext cx="1619885" cy="1316609"/>
          </a:xfrm>
          <a:prstGeom prst="rect">
            <a:avLst/>
          </a:prstGeom>
          <a:blipFill>
            <a:blip r:embed="rId8" cstate="print"/>
            <a:stretch>
              <a:fillRect/>
            </a:stretch>
          </a:blipFill>
        </p:spPr>
        <p:txBody>
          <a:bodyPr wrap="square" lIns="0" tIns="0" rIns="0" bIns="0" rtlCol="0">
            <a:noAutofit/>
          </a:bodyPr>
          <a:lstStyle/>
          <a:p>
            <a:endParaRPr/>
          </a:p>
        </p:txBody>
      </p:sp>
      <p:sp>
        <p:nvSpPr>
          <p:cNvPr id="31" name="object 31"/>
          <p:cNvSpPr/>
          <p:nvPr/>
        </p:nvSpPr>
        <p:spPr>
          <a:xfrm>
            <a:off x="6269736" y="4931792"/>
            <a:ext cx="1619885" cy="1316609"/>
          </a:xfrm>
          <a:custGeom>
            <a:avLst/>
            <a:gdLst/>
            <a:ahLst/>
            <a:cxnLst/>
            <a:rect l="l" t="t" r="r" b="b"/>
            <a:pathLst>
              <a:path w="1619885" h="1316609">
                <a:moveTo>
                  <a:pt x="0" y="1316609"/>
                </a:moveTo>
                <a:lnTo>
                  <a:pt x="1619885" y="1316609"/>
                </a:lnTo>
                <a:lnTo>
                  <a:pt x="1619885" y="0"/>
                </a:lnTo>
                <a:lnTo>
                  <a:pt x="0" y="0"/>
                </a:lnTo>
                <a:lnTo>
                  <a:pt x="0" y="1316609"/>
                </a:lnTo>
                <a:close/>
              </a:path>
            </a:pathLst>
          </a:custGeom>
          <a:ln w="25400">
            <a:solidFill>
              <a:srgbClr val="000000"/>
            </a:solidFill>
          </a:ln>
        </p:spPr>
        <p:txBody>
          <a:bodyPr wrap="square" lIns="0" tIns="0" rIns="0" bIns="0" rtlCol="0">
            <a:noAutofit/>
          </a:bodyPr>
          <a:lstStyle/>
          <a:p>
            <a:endParaRPr/>
          </a:p>
        </p:txBody>
      </p:sp>
      <p:sp>
        <p:nvSpPr>
          <p:cNvPr id="32" name="object 32"/>
          <p:cNvSpPr/>
          <p:nvPr/>
        </p:nvSpPr>
        <p:spPr>
          <a:xfrm>
            <a:off x="6399404" y="5328666"/>
            <a:ext cx="1359027" cy="0"/>
          </a:xfrm>
          <a:custGeom>
            <a:avLst/>
            <a:gdLst/>
            <a:ahLst/>
            <a:cxnLst/>
            <a:rect l="l" t="t" r="r" b="b"/>
            <a:pathLst>
              <a:path w="1359027">
                <a:moveTo>
                  <a:pt x="0" y="0"/>
                </a:moveTo>
                <a:lnTo>
                  <a:pt x="1359027" y="0"/>
                </a:lnTo>
              </a:path>
            </a:pathLst>
          </a:custGeom>
          <a:ln w="25400">
            <a:solidFill>
              <a:srgbClr val="000000"/>
            </a:solidFill>
          </a:ln>
        </p:spPr>
        <p:txBody>
          <a:bodyPr wrap="square" lIns="0" tIns="0" rIns="0" bIns="0" rtlCol="0">
            <a:noAutofit/>
          </a:bodyPr>
          <a:lstStyle/>
          <a:p>
            <a:endParaRPr/>
          </a:p>
        </p:txBody>
      </p:sp>
      <p:sp>
        <p:nvSpPr>
          <p:cNvPr id="33" name="object 33"/>
          <p:cNvSpPr/>
          <p:nvPr/>
        </p:nvSpPr>
        <p:spPr>
          <a:xfrm>
            <a:off x="7078980" y="5328666"/>
            <a:ext cx="0" cy="817206"/>
          </a:xfrm>
          <a:custGeom>
            <a:avLst/>
            <a:gdLst/>
            <a:ahLst/>
            <a:cxnLst/>
            <a:rect l="l" t="t" r="r" b="b"/>
            <a:pathLst>
              <a:path h="817206">
                <a:moveTo>
                  <a:pt x="0" y="0"/>
                </a:moveTo>
                <a:lnTo>
                  <a:pt x="0" y="817206"/>
                </a:lnTo>
              </a:path>
            </a:pathLst>
          </a:custGeom>
          <a:ln w="25400">
            <a:solidFill>
              <a:srgbClr val="000000"/>
            </a:solidFill>
          </a:ln>
        </p:spPr>
        <p:txBody>
          <a:bodyPr wrap="square" lIns="0" tIns="0" rIns="0" bIns="0" rtlCol="0">
            <a:noAutofit/>
          </a:bodyPr>
          <a:lstStyle/>
          <a:p>
            <a:endParaRPr/>
          </a:p>
        </p:txBody>
      </p:sp>
      <p:sp>
        <p:nvSpPr>
          <p:cNvPr id="34" name="object 34"/>
          <p:cNvSpPr/>
          <p:nvPr/>
        </p:nvSpPr>
        <p:spPr>
          <a:xfrm>
            <a:off x="5748528" y="3427222"/>
            <a:ext cx="1279398" cy="1492758"/>
          </a:xfrm>
          <a:custGeom>
            <a:avLst/>
            <a:gdLst/>
            <a:ahLst/>
            <a:cxnLst/>
            <a:rect l="l" t="t" r="r" b="b"/>
            <a:pathLst>
              <a:path w="1279398" h="1492757">
                <a:moveTo>
                  <a:pt x="1199769" y="1360423"/>
                </a:moveTo>
                <a:lnTo>
                  <a:pt x="1279398" y="1492758"/>
                </a:lnTo>
                <a:lnTo>
                  <a:pt x="1172464" y="1250060"/>
                </a:lnTo>
                <a:lnTo>
                  <a:pt x="1177800" y="1334685"/>
                </a:lnTo>
                <a:lnTo>
                  <a:pt x="1199769" y="1360423"/>
                </a:lnTo>
                <a:close/>
              </a:path>
              <a:path w="1279398" h="1492757">
                <a:moveTo>
                  <a:pt x="1161161" y="1393316"/>
                </a:moveTo>
                <a:lnTo>
                  <a:pt x="1279398" y="1492758"/>
                </a:lnTo>
                <a:lnTo>
                  <a:pt x="1180406" y="1376920"/>
                </a:lnTo>
                <a:lnTo>
                  <a:pt x="1161161" y="1393316"/>
                </a:lnTo>
                <a:close/>
              </a:path>
              <a:path w="1279398" h="1492757">
                <a:moveTo>
                  <a:pt x="1180406" y="1376920"/>
                </a:moveTo>
                <a:lnTo>
                  <a:pt x="1279398" y="1492758"/>
                </a:lnTo>
                <a:lnTo>
                  <a:pt x="1199769" y="1360423"/>
                </a:lnTo>
                <a:lnTo>
                  <a:pt x="1177800" y="1334685"/>
                </a:lnTo>
                <a:lnTo>
                  <a:pt x="38608" y="0"/>
                </a:lnTo>
                <a:lnTo>
                  <a:pt x="0" y="33019"/>
                </a:lnTo>
                <a:lnTo>
                  <a:pt x="1139279" y="1367683"/>
                </a:lnTo>
                <a:lnTo>
                  <a:pt x="1056639" y="1349120"/>
                </a:lnTo>
                <a:lnTo>
                  <a:pt x="1279398" y="1492758"/>
                </a:lnTo>
                <a:lnTo>
                  <a:pt x="1161161" y="1393316"/>
                </a:lnTo>
                <a:lnTo>
                  <a:pt x="1180406" y="1376920"/>
                </a:lnTo>
                <a:close/>
              </a:path>
            </a:pathLst>
          </a:custGeom>
          <a:solidFill>
            <a:srgbClr val="000000"/>
          </a:solidFill>
        </p:spPr>
        <p:txBody>
          <a:bodyPr wrap="square" lIns="0" tIns="0" rIns="0" bIns="0" rtlCol="0">
            <a:noAutofit/>
          </a:bodyPr>
          <a:lstStyle/>
          <a:p>
            <a:endParaRPr/>
          </a:p>
        </p:txBody>
      </p:sp>
      <p:sp>
        <p:nvSpPr>
          <p:cNvPr id="35" name="object 35"/>
          <p:cNvSpPr/>
          <p:nvPr/>
        </p:nvSpPr>
        <p:spPr>
          <a:xfrm>
            <a:off x="8133715" y="4931792"/>
            <a:ext cx="1619884" cy="1316609"/>
          </a:xfrm>
          <a:prstGeom prst="rect">
            <a:avLst/>
          </a:prstGeom>
          <a:blipFill>
            <a:blip r:embed="rId9" cstate="print"/>
            <a:stretch>
              <a:fillRect/>
            </a:stretch>
          </a:blipFill>
        </p:spPr>
        <p:txBody>
          <a:bodyPr wrap="square" lIns="0" tIns="0" rIns="0" bIns="0" rtlCol="0">
            <a:noAutofit/>
          </a:bodyPr>
          <a:lstStyle/>
          <a:p>
            <a:endParaRPr/>
          </a:p>
        </p:txBody>
      </p:sp>
      <p:sp>
        <p:nvSpPr>
          <p:cNvPr id="36" name="object 36"/>
          <p:cNvSpPr/>
          <p:nvPr/>
        </p:nvSpPr>
        <p:spPr>
          <a:xfrm>
            <a:off x="8133715" y="4931792"/>
            <a:ext cx="1619884" cy="1316609"/>
          </a:xfrm>
          <a:custGeom>
            <a:avLst/>
            <a:gdLst/>
            <a:ahLst/>
            <a:cxnLst/>
            <a:rect l="l" t="t" r="r" b="b"/>
            <a:pathLst>
              <a:path w="1619884" h="1316609">
                <a:moveTo>
                  <a:pt x="0" y="1316609"/>
                </a:moveTo>
                <a:lnTo>
                  <a:pt x="1619884" y="1316609"/>
                </a:lnTo>
                <a:lnTo>
                  <a:pt x="1619884" y="0"/>
                </a:lnTo>
                <a:lnTo>
                  <a:pt x="0" y="0"/>
                </a:lnTo>
                <a:lnTo>
                  <a:pt x="0" y="1316609"/>
                </a:lnTo>
                <a:close/>
              </a:path>
            </a:pathLst>
          </a:custGeom>
          <a:ln w="25400">
            <a:solidFill>
              <a:srgbClr val="000000"/>
            </a:solidFill>
          </a:ln>
        </p:spPr>
        <p:txBody>
          <a:bodyPr wrap="square" lIns="0" tIns="0" rIns="0" bIns="0" rtlCol="0">
            <a:noAutofit/>
          </a:bodyPr>
          <a:lstStyle/>
          <a:p>
            <a:endParaRPr/>
          </a:p>
        </p:txBody>
      </p:sp>
      <p:sp>
        <p:nvSpPr>
          <p:cNvPr id="37" name="object 37"/>
          <p:cNvSpPr/>
          <p:nvPr/>
        </p:nvSpPr>
        <p:spPr>
          <a:xfrm>
            <a:off x="8263383" y="5328666"/>
            <a:ext cx="1360551" cy="0"/>
          </a:xfrm>
          <a:custGeom>
            <a:avLst/>
            <a:gdLst/>
            <a:ahLst/>
            <a:cxnLst/>
            <a:rect l="l" t="t" r="r" b="b"/>
            <a:pathLst>
              <a:path w="1360551">
                <a:moveTo>
                  <a:pt x="0" y="0"/>
                </a:moveTo>
                <a:lnTo>
                  <a:pt x="1360551" y="0"/>
                </a:lnTo>
              </a:path>
            </a:pathLst>
          </a:custGeom>
          <a:ln w="25400">
            <a:solidFill>
              <a:srgbClr val="000000"/>
            </a:solidFill>
          </a:ln>
        </p:spPr>
        <p:txBody>
          <a:bodyPr wrap="square" lIns="0" tIns="0" rIns="0" bIns="0" rtlCol="0">
            <a:noAutofit/>
          </a:bodyPr>
          <a:lstStyle/>
          <a:p>
            <a:endParaRPr/>
          </a:p>
        </p:txBody>
      </p:sp>
      <p:sp>
        <p:nvSpPr>
          <p:cNvPr id="38" name="object 38"/>
          <p:cNvSpPr/>
          <p:nvPr/>
        </p:nvSpPr>
        <p:spPr>
          <a:xfrm>
            <a:off x="8942832" y="5328666"/>
            <a:ext cx="0" cy="817206"/>
          </a:xfrm>
          <a:custGeom>
            <a:avLst/>
            <a:gdLst/>
            <a:ahLst/>
            <a:cxnLst/>
            <a:rect l="l" t="t" r="r" b="b"/>
            <a:pathLst>
              <a:path h="817206">
                <a:moveTo>
                  <a:pt x="0" y="0"/>
                </a:moveTo>
                <a:lnTo>
                  <a:pt x="0" y="817206"/>
                </a:lnTo>
              </a:path>
            </a:pathLst>
          </a:custGeom>
          <a:ln w="25400">
            <a:solidFill>
              <a:srgbClr val="000000"/>
            </a:solidFill>
          </a:ln>
        </p:spPr>
        <p:txBody>
          <a:bodyPr wrap="square" lIns="0" tIns="0" rIns="0" bIns="0" rtlCol="0">
            <a:noAutofit/>
          </a:bodyPr>
          <a:lstStyle/>
          <a:p>
            <a:endParaRPr/>
          </a:p>
        </p:txBody>
      </p:sp>
      <p:sp>
        <p:nvSpPr>
          <p:cNvPr id="39" name="object 39"/>
          <p:cNvSpPr/>
          <p:nvPr/>
        </p:nvSpPr>
        <p:spPr>
          <a:xfrm>
            <a:off x="5756529" y="3421000"/>
            <a:ext cx="2976372" cy="1498981"/>
          </a:xfrm>
          <a:custGeom>
            <a:avLst/>
            <a:gdLst/>
            <a:ahLst/>
            <a:cxnLst/>
            <a:rect l="l" t="t" r="r" b="b"/>
            <a:pathLst>
              <a:path w="2976372" h="1498980">
                <a:moveTo>
                  <a:pt x="2839847" y="1431036"/>
                </a:moveTo>
                <a:lnTo>
                  <a:pt x="2828544" y="1453769"/>
                </a:lnTo>
                <a:lnTo>
                  <a:pt x="2976372" y="1498981"/>
                </a:lnTo>
                <a:lnTo>
                  <a:pt x="2851150" y="1408302"/>
                </a:lnTo>
                <a:lnTo>
                  <a:pt x="2839847" y="1431036"/>
                </a:lnTo>
                <a:close/>
              </a:path>
              <a:path w="2976372" h="1498980">
                <a:moveTo>
                  <a:pt x="2976372" y="1498981"/>
                </a:moveTo>
                <a:lnTo>
                  <a:pt x="2782951" y="1317625"/>
                </a:lnTo>
                <a:lnTo>
                  <a:pt x="2820882" y="1393232"/>
                </a:lnTo>
                <a:lnTo>
                  <a:pt x="22606" y="0"/>
                </a:lnTo>
                <a:lnTo>
                  <a:pt x="0" y="45465"/>
                </a:lnTo>
                <a:lnTo>
                  <a:pt x="2798263" y="1438692"/>
                </a:lnTo>
                <a:lnTo>
                  <a:pt x="2715005" y="1454023"/>
                </a:lnTo>
                <a:lnTo>
                  <a:pt x="2976372" y="1498981"/>
                </a:lnTo>
                <a:lnTo>
                  <a:pt x="2828544" y="1453769"/>
                </a:lnTo>
                <a:lnTo>
                  <a:pt x="2839847" y="1431036"/>
                </a:lnTo>
                <a:lnTo>
                  <a:pt x="2851150" y="1408302"/>
                </a:lnTo>
                <a:lnTo>
                  <a:pt x="2976372" y="1498981"/>
                </a:lnTo>
                <a:close/>
              </a:path>
            </a:pathLst>
          </a:custGeom>
          <a:solidFill>
            <a:srgbClr val="000000"/>
          </a:solidFill>
        </p:spPr>
        <p:txBody>
          <a:bodyPr wrap="square" lIns="0" tIns="0" rIns="0" bIns="0" rtlCol="0">
            <a:noAutofit/>
          </a:bodyPr>
          <a:lstStyle/>
          <a:p>
            <a:endParaRPr/>
          </a:p>
        </p:txBody>
      </p:sp>
      <p:sp>
        <p:nvSpPr>
          <p:cNvPr id="40" name="object 40"/>
          <p:cNvSpPr/>
          <p:nvPr/>
        </p:nvSpPr>
        <p:spPr>
          <a:xfrm>
            <a:off x="4899563" y="2409189"/>
            <a:ext cx="0" cy="1190298"/>
          </a:xfrm>
          <a:custGeom>
            <a:avLst/>
            <a:gdLst/>
            <a:ahLst/>
            <a:cxnLst/>
            <a:rect l="l" t="t" r="r" b="b"/>
            <a:pathLst>
              <a:path h="1190298">
                <a:moveTo>
                  <a:pt x="0" y="1190298"/>
                </a:moveTo>
                <a:lnTo>
                  <a:pt x="0" y="0"/>
                </a:lnTo>
                <a:lnTo>
                  <a:pt x="0" y="1190298"/>
                </a:lnTo>
                <a:close/>
              </a:path>
            </a:pathLst>
          </a:custGeom>
          <a:solidFill>
            <a:srgbClr val="FFFFFF"/>
          </a:solidFill>
        </p:spPr>
        <p:txBody>
          <a:bodyPr wrap="square" lIns="0" tIns="0" rIns="0" bIns="0" rtlCol="0">
            <a:noAutofit/>
          </a:bodyPr>
          <a:lstStyle/>
          <a:p>
            <a:endParaRPr/>
          </a:p>
        </p:txBody>
      </p:sp>
      <p:sp>
        <p:nvSpPr>
          <p:cNvPr id="41" name="object 41"/>
          <p:cNvSpPr/>
          <p:nvPr/>
        </p:nvSpPr>
        <p:spPr>
          <a:xfrm>
            <a:off x="4899564" y="2409189"/>
            <a:ext cx="1938953" cy="1190298"/>
          </a:xfrm>
          <a:custGeom>
            <a:avLst/>
            <a:gdLst/>
            <a:ahLst/>
            <a:cxnLst/>
            <a:rect l="l" t="t" r="r" b="b"/>
            <a:pathLst>
              <a:path w="1938953" h="1190298">
                <a:moveTo>
                  <a:pt x="0" y="1190298"/>
                </a:moveTo>
                <a:lnTo>
                  <a:pt x="1938953" y="1190298"/>
                </a:lnTo>
                <a:lnTo>
                  <a:pt x="1938953" y="0"/>
                </a:lnTo>
                <a:lnTo>
                  <a:pt x="0" y="0"/>
                </a:lnTo>
                <a:lnTo>
                  <a:pt x="0" y="1190298"/>
                </a:lnTo>
                <a:close/>
              </a:path>
            </a:pathLst>
          </a:custGeom>
          <a:solidFill>
            <a:srgbClr val="FFFFFF"/>
          </a:solidFill>
        </p:spPr>
        <p:txBody>
          <a:bodyPr wrap="square" lIns="0" tIns="0" rIns="0" bIns="0" rtlCol="0">
            <a:noAutofit/>
          </a:bodyPr>
          <a:lstStyle/>
          <a:p>
            <a:endParaRPr/>
          </a:p>
        </p:txBody>
      </p:sp>
      <p:sp>
        <p:nvSpPr>
          <p:cNvPr id="42" name="object 42"/>
          <p:cNvSpPr/>
          <p:nvPr/>
        </p:nvSpPr>
        <p:spPr>
          <a:xfrm>
            <a:off x="4899563" y="2409194"/>
            <a:ext cx="1938960" cy="1190292"/>
          </a:xfrm>
          <a:custGeom>
            <a:avLst/>
            <a:gdLst/>
            <a:ahLst/>
            <a:cxnLst/>
            <a:rect l="l" t="t" r="r" b="b"/>
            <a:pathLst>
              <a:path w="1938960" h="1190292">
                <a:moveTo>
                  <a:pt x="1938960" y="1190292"/>
                </a:moveTo>
                <a:lnTo>
                  <a:pt x="0" y="1190292"/>
                </a:lnTo>
                <a:lnTo>
                  <a:pt x="0" y="0"/>
                </a:lnTo>
                <a:lnTo>
                  <a:pt x="1938960" y="0"/>
                </a:lnTo>
                <a:lnTo>
                  <a:pt x="1938960" y="1190292"/>
                </a:lnTo>
              </a:path>
            </a:pathLst>
          </a:custGeom>
          <a:ln w="2822">
            <a:solidFill>
              <a:srgbClr val="000000"/>
            </a:solidFill>
          </a:ln>
        </p:spPr>
        <p:txBody>
          <a:bodyPr wrap="square" lIns="0" tIns="0" rIns="0" bIns="0" rtlCol="0">
            <a:noAutofit/>
          </a:bodyPr>
          <a:lstStyle/>
          <a:p>
            <a:endParaRPr/>
          </a:p>
        </p:txBody>
      </p:sp>
      <p:sp>
        <p:nvSpPr>
          <p:cNvPr id="43" name="object 43"/>
          <p:cNvSpPr/>
          <p:nvPr/>
        </p:nvSpPr>
        <p:spPr>
          <a:xfrm>
            <a:off x="6183034" y="2410527"/>
            <a:ext cx="655489" cy="539832"/>
          </a:xfrm>
          <a:custGeom>
            <a:avLst/>
            <a:gdLst/>
            <a:ahLst/>
            <a:cxnLst/>
            <a:rect l="l" t="t" r="r" b="b"/>
            <a:pathLst>
              <a:path w="655489" h="539832">
                <a:moveTo>
                  <a:pt x="655489" y="539832"/>
                </a:moveTo>
                <a:lnTo>
                  <a:pt x="655489" y="525170"/>
                </a:lnTo>
                <a:lnTo>
                  <a:pt x="653870" y="510508"/>
                </a:lnTo>
                <a:lnTo>
                  <a:pt x="652252" y="497179"/>
                </a:lnTo>
                <a:lnTo>
                  <a:pt x="649015" y="482517"/>
                </a:lnTo>
                <a:lnTo>
                  <a:pt x="644159" y="469188"/>
                </a:lnTo>
                <a:lnTo>
                  <a:pt x="640922" y="454525"/>
                </a:lnTo>
                <a:lnTo>
                  <a:pt x="634448" y="441196"/>
                </a:lnTo>
                <a:lnTo>
                  <a:pt x="629593" y="429200"/>
                </a:lnTo>
                <a:lnTo>
                  <a:pt x="621501" y="415871"/>
                </a:lnTo>
                <a:lnTo>
                  <a:pt x="613408" y="403874"/>
                </a:lnTo>
                <a:lnTo>
                  <a:pt x="605316" y="391878"/>
                </a:lnTo>
                <a:lnTo>
                  <a:pt x="597223" y="379882"/>
                </a:lnTo>
                <a:lnTo>
                  <a:pt x="587512" y="369219"/>
                </a:lnTo>
                <a:lnTo>
                  <a:pt x="576183" y="358555"/>
                </a:lnTo>
                <a:lnTo>
                  <a:pt x="564853" y="349225"/>
                </a:lnTo>
                <a:lnTo>
                  <a:pt x="553524" y="339894"/>
                </a:lnTo>
                <a:lnTo>
                  <a:pt x="535720" y="327898"/>
                </a:lnTo>
                <a:lnTo>
                  <a:pt x="516299" y="317235"/>
                </a:lnTo>
                <a:lnTo>
                  <a:pt x="506588" y="311903"/>
                </a:lnTo>
                <a:lnTo>
                  <a:pt x="496877" y="307904"/>
                </a:lnTo>
                <a:lnTo>
                  <a:pt x="475836" y="299907"/>
                </a:lnTo>
                <a:lnTo>
                  <a:pt x="454796" y="294575"/>
                </a:lnTo>
                <a:lnTo>
                  <a:pt x="430518" y="289243"/>
                </a:lnTo>
                <a:lnTo>
                  <a:pt x="419189" y="287910"/>
                </a:lnTo>
                <a:lnTo>
                  <a:pt x="407860" y="286577"/>
                </a:lnTo>
                <a:lnTo>
                  <a:pt x="394912" y="286577"/>
                </a:lnTo>
                <a:lnTo>
                  <a:pt x="381964" y="286577"/>
                </a:lnTo>
                <a:lnTo>
                  <a:pt x="307513" y="286577"/>
                </a:lnTo>
                <a:lnTo>
                  <a:pt x="307513" y="225263"/>
                </a:lnTo>
                <a:lnTo>
                  <a:pt x="307513" y="213267"/>
                </a:lnTo>
                <a:lnTo>
                  <a:pt x="305895" y="202603"/>
                </a:lnTo>
                <a:lnTo>
                  <a:pt x="304276" y="191940"/>
                </a:lnTo>
                <a:lnTo>
                  <a:pt x="302658" y="181277"/>
                </a:lnTo>
                <a:lnTo>
                  <a:pt x="299421" y="170613"/>
                </a:lnTo>
                <a:lnTo>
                  <a:pt x="296184" y="161283"/>
                </a:lnTo>
                <a:lnTo>
                  <a:pt x="291328" y="150620"/>
                </a:lnTo>
                <a:lnTo>
                  <a:pt x="288091" y="141289"/>
                </a:lnTo>
                <a:lnTo>
                  <a:pt x="281617" y="131959"/>
                </a:lnTo>
                <a:lnTo>
                  <a:pt x="276762" y="122628"/>
                </a:lnTo>
                <a:lnTo>
                  <a:pt x="270288" y="114631"/>
                </a:lnTo>
                <a:lnTo>
                  <a:pt x="263814" y="105300"/>
                </a:lnTo>
                <a:lnTo>
                  <a:pt x="257340" y="97303"/>
                </a:lnTo>
                <a:lnTo>
                  <a:pt x="249247" y="89305"/>
                </a:lnTo>
                <a:lnTo>
                  <a:pt x="233062" y="74643"/>
                </a:lnTo>
                <a:lnTo>
                  <a:pt x="221733" y="66646"/>
                </a:lnTo>
                <a:lnTo>
                  <a:pt x="208785" y="57315"/>
                </a:lnTo>
                <a:lnTo>
                  <a:pt x="197456" y="50650"/>
                </a:lnTo>
                <a:lnTo>
                  <a:pt x="184508" y="42653"/>
                </a:lnTo>
                <a:lnTo>
                  <a:pt x="169941" y="35988"/>
                </a:lnTo>
                <a:lnTo>
                  <a:pt x="156993" y="29324"/>
                </a:lnTo>
                <a:lnTo>
                  <a:pt x="142427" y="23992"/>
                </a:lnTo>
                <a:lnTo>
                  <a:pt x="127860" y="18660"/>
                </a:lnTo>
                <a:lnTo>
                  <a:pt x="111675" y="14662"/>
                </a:lnTo>
                <a:lnTo>
                  <a:pt x="97109" y="10663"/>
                </a:lnTo>
                <a:lnTo>
                  <a:pt x="80924" y="6664"/>
                </a:lnTo>
                <a:lnTo>
                  <a:pt x="64739" y="3998"/>
                </a:lnTo>
                <a:lnTo>
                  <a:pt x="48554" y="2665"/>
                </a:lnTo>
                <a:lnTo>
                  <a:pt x="32369" y="1332"/>
                </a:lnTo>
                <a:lnTo>
                  <a:pt x="16184" y="0"/>
                </a:lnTo>
                <a:lnTo>
                  <a:pt x="0" y="0"/>
                </a:lnTo>
              </a:path>
            </a:pathLst>
          </a:custGeom>
          <a:ln w="2896">
            <a:solidFill>
              <a:srgbClr val="000000"/>
            </a:solidFill>
          </a:ln>
        </p:spPr>
        <p:txBody>
          <a:bodyPr wrap="square" lIns="0" tIns="0" rIns="0" bIns="0" rtlCol="0">
            <a:noAutofit/>
          </a:bodyPr>
          <a:lstStyle/>
          <a:p>
            <a:endParaRPr/>
          </a:p>
        </p:txBody>
      </p:sp>
      <p:sp>
        <p:nvSpPr>
          <p:cNvPr id="44" name="object 44"/>
          <p:cNvSpPr/>
          <p:nvPr/>
        </p:nvSpPr>
        <p:spPr>
          <a:xfrm>
            <a:off x="6461415" y="2522492"/>
            <a:ext cx="273525" cy="226596"/>
          </a:xfrm>
          <a:custGeom>
            <a:avLst/>
            <a:gdLst/>
            <a:ahLst/>
            <a:cxnLst/>
            <a:rect l="l" t="t" r="r" b="b"/>
            <a:pathLst>
              <a:path w="273525" h="226596">
                <a:moveTo>
                  <a:pt x="0" y="0"/>
                </a:moveTo>
                <a:lnTo>
                  <a:pt x="273525" y="226596"/>
                </a:lnTo>
              </a:path>
            </a:pathLst>
          </a:custGeom>
          <a:ln w="2898">
            <a:solidFill>
              <a:srgbClr val="000000"/>
            </a:solidFill>
          </a:ln>
        </p:spPr>
        <p:txBody>
          <a:bodyPr wrap="square" lIns="0" tIns="0" rIns="0" bIns="0" rtlCol="0">
            <a:noAutofit/>
          </a:bodyPr>
          <a:lstStyle/>
          <a:p>
            <a:endParaRPr/>
          </a:p>
        </p:txBody>
      </p:sp>
      <p:sp>
        <p:nvSpPr>
          <p:cNvPr id="12" name="object 12"/>
          <p:cNvSpPr txBox="1"/>
          <p:nvPr/>
        </p:nvSpPr>
        <p:spPr>
          <a:xfrm>
            <a:off x="4534027" y="5328666"/>
            <a:ext cx="679450" cy="817206"/>
          </a:xfrm>
          <a:prstGeom prst="rect">
            <a:avLst/>
          </a:prstGeom>
        </p:spPr>
        <p:txBody>
          <a:bodyPr wrap="square" lIns="0" tIns="0" rIns="0" bIns="0" rtlCol="0">
            <a:noAutofit/>
          </a:bodyPr>
          <a:lstStyle/>
          <a:p>
            <a:pPr marL="25400">
              <a:lnSpc>
                <a:spcPts val="1000"/>
              </a:lnSpc>
            </a:pPr>
            <a:endParaRPr sz="1000"/>
          </a:p>
        </p:txBody>
      </p:sp>
      <p:sp>
        <p:nvSpPr>
          <p:cNvPr id="11" name="object 11"/>
          <p:cNvSpPr txBox="1"/>
          <p:nvPr/>
        </p:nvSpPr>
        <p:spPr>
          <a:xfrm>
            <a:off x="5213477" y="5328666"/>
            <a:ext cx="680974" cy="817206"/>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8263382" y="5328666"/>
            <a:ext cx="679450" cy="817206"/>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8942833" y="5328666"/>
            <a:ext cx="681101" cy="817206"/>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6399403" y="5328666"/>
            <a:ext cx="679576" cy="817206"/>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7078980" y="5328666"/>
            <a:ext cx="679450" cy="817206"/>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8133715" y="4931792"/>
            <a:ext cx="1619884" cy="1316609"/>
          </a:xfrm>
          <a:prstGeom prst="rect">
            <a:avLst/>
          </a:prstGeom>
        </p:spPr>
        <p:txBody>
          <a:bodyPr wrap="square" lIns="0" tIns="0" rIns="0" bIns="0" rtlCol="0">
            <a:noAutofit/>
          </a:bodyPr>
          <a:lstStyle/>
          <a:p>
            <a:pPr>
              <a:lnSpc>
                <a:spcPts val="750"/>
              </a:lnSpc>
              <a:spcBef>
                <a:spcPts val="42"/>
              </a:spcBef>
            </a:pPr>
            <a:endParaRPr sz="750"/>
          </a:p>
          <a:p>
            <a:pPr marL="569153" marR="566668" algn="ctr">
              <a:lnSpc>
                <a:spcPct val="95825"/>
              </a:lnSpc>
            </a:pPr>
            <a:r>
              <a:rPr sz="2000" b="1" spc="-144" dirty="0">
                <a:latin typeface="Arial"/>
                <a:cs typeface="Arial"/>
              </a:rPr>
              <a:t>T</a:t>
            </a:r>
            <a:r>
              <a:rPr sz="2000" b="1" dirty="0">
                <a:latin typeface="Arial"/>
                <a:cs typeface="Arial"/>
              </a:rPr>
              <a:t>ax</a:t>
            </a:r>
            <a:endParaRPr sz="2000">
              <a:latin typeface="Arial"/>
              <a:cs typeface="Arial"/>
            </a:endParaRPr>
          </a:p>
          <a:p>
            <a:pPr marR="214247" algn="r">
              <a:lnSpc>
                <a:spcPct val="95825"/>
              </a:lnSpc>
              <a:spcBef>
                <a:spcPts val="2139"/>
              </a:spcBef>
            </a:pPr>
            <a:r>
              <a:rPr sz="2000" b="1" dirty="0">
                <a:latin typeface="Arial"/>
                <a:cs typeface="Arial"/>
              </a:rPr>
              <a:t>14</a:t>
            </a:r>
            <a:endParaRPr sz="2000">
              <a:latin typeface="Arial"/>
              <a:cs typeface="Arial"/>
            </a:endParaRPr>
          </a:p>
        </p:txBody>
      </p:sp>
      <p:sp>
        <p:nvSpPr>
          <p:cNvPr id="5" name="object 5"/>
          <p:cNvSpPr txBox="1"/>
          <p:nvPr/>
        </p:nvSpPr>
        <p:spPr>
          <a:xfrm>
            <a:off x="6269737" y="4931792"/>
            <a:ext cx="1619885" cy="1316609"/>
          </a:xfrm>
          <a:prstGeom prst="rect">
            <a:avLst/>
          </a:prstGeom>
        </p:spPr>
        <p:txBody>
          <a:bodyPr wrap="square" lIns="0" tIns="0" rIns="0" bIns="0" rtlCol="0">
            <a:noAutofit/>
          </a:bodyPr>
          <a:lstStyle/>
          <a:p>
            <a:pPr>
              <a:lnSpc>
                <a:spcPts val="750"/>
              </a:lnSpc>
              <a:spcBef>
                <a:spcPts val="42"/>
              </a:spcBef>
            </a:pPr>
            <a:endParaRPr sz="750"/>
          </a:p>
          <a:p>
            <a:pPr marL="280669">
              <a:lnSpc>
                <a:spcPct val="95825"/>
              </a:lnSpc>
            </a:pPr>
            <a:r>
              <a:rPr sz="2000" b="1" dirty="0">
                <a:latin typeface="Arial"/>
                <a:cs typeface="Arial"/>
              </a:rPr>
              <a:t>Re</a:t>
            </a:r>
            <a:r>
              <a:rPr sz="2000" b="1" spc="-19" dirty="0">
                <a:latin typeface="Arial"/>
                <a:cs typeface="Arial"/>
              </a:rPr>
              <a:t>v</a:t>
            </a:r>
            <a:r>
              <a:rPr sz="2000" b="1" dirty="0">
                <a:latin typeface="Arial"/>
                <a:cs typeface="Arial"/>
              </a:rPr>
              <a:t>enue</a:t>
            </a:r>
            <a:endParaRPr sz="2000">
              <a:latin typeface="Arial"/>
              <a:cs typeface="Arial"/>
            </a:endParaRPr>
          </a:p>
          <a:p>
            <a:pPr marL="1050289">
              <a:lnSpc>
                <a:spcPct val="95825"/>
              </a:lnSpc>
              <a:spcBef>
                <a:spcPts val="2139"/>
              </a:spcBef>
            </a:pPr>
            <a:r>
              <a:rPr sz="2000" b="1" dirty="0">
                <a:latin typeface="Arial"/>
                <a:cs typeface="Arial"/>
              </a:rPr>
              <a:t>100</a:t>
            </a:r>
            <a:endParaRPr sz="2000">
              <a:latin typeface="Arial"/>
              <a:cs typeface="Arial"/>
            </a:endParaRPr>
          </a:p>
        </p:txBody>
      </p:sp>
      <p:sp>
        <p:nvSpPr>
          <p:cNvPr id="4" name="object 4"/>
          <p:cNvSpPr txBox="1"/>
          <p:nvPr/>
        </p:nvSpPr>
        <p:spPr>
          <a:xfrm>
            <a:off x="4405884" y="4931792"/>
            <a:ext cx="1619884" cy="1316609"/>
          </a:xfrm>
          <a:prstGeom prst="rect">
            <a:avLst/>
          </a:prstGeom>
        </p:spPr>
        <p:txBody>
          <a:bodyPr wrap="square" lIns="0" tIns="0" rIns="0" bIns="0" rtlCol="0">
            <a:noAutofit/>
          </a:bodyPr>
          <a:lstStyle/>
          <a:p>
            <a:pPr>
              <a:lnSpc>
                <a:spcPts val="750"/>
              </a:lnSpc>
              <a:spcBef>
                <a:spcPts val="42"/>
              </a:spcBef>
            </a:pPr>
            <a:endParaRPr sz="750"/>
          </a:p>
          <a:p>
            <a:pPr marL="75946">
              <a:lnSpc>
                <a:spcPct val="95825"/>
              </a:lnSpc>
            </a:pPr>
            <a:r>
              <a:rPr sz="2000" b="1" dirty="0">
                <a:latin typeface="Arial"/>
                <a:cs typeface="Arial"/>
              </a:rPr>
              <a:t>Recei</a:t>
            </a:r>
            <a:r>
              <a:rPr sz="2000" b="1" spc="-25" dirty="0">
                <a:latin typeface="Arial"/>
                <a:cs typeface="Arial"/>
              </a:rPr>
              <a:t>v</a:t>
            </a:r>
            <a:r>
              <a:rPr sz="2000" b="1" dirty="0">
                <a:latin typeface="Arial"/>
                <a:cs typeface="Arial"/>
              </a:rPr>
              <a:t>ab</a:t>
            </a:r>
            <a:r>
              <a:rPr sz="2000" b="1" spc="-9" dirty="0">
                <a:latin typeface="Arial"/>
                <a:cs typeface="Arial"/>
              </a:rPr>
              <a:t>l</a:t>
            </a:r>
            <a:r>
              <a:rPr sz="2000" b="1" dirty="0">
                <a:latin typeface="Arial"/>
                <a:cs typeface="Arial"/>
              </a:rPr>
              <a:t>es</a:t>
            </a:r>
            <a:endParaRPr sz="2000">
              <a:latin typeface="Arial"/>
              <a:cs typeface="Arial"/>
            </a:endParaRPr>
          </a:p>
          <a:p>
            <a:pPr marL="214630">
              <a:lnSpc>
                <a:spcPct val="95825"/>
              </a:lnSpc>
              <a:spcBef>
                <a:spcPts val="2139"/>
              </a:spcBef>
            </a:pPr>
            <a:r>
              <a:rPr sz="2000" b="1" spc="-104" dirty="0">
                <a:latin typeface="Arial"/>
                <a:cs typeface="Arial"/>
              </a:rPr>
              <a:t>1</a:t>
            </a:r>
            <a:r>
              <a:rPr sz="2000" b="1" dirty="0">
                <a:latin typeface="Arial"/>
                <a:cs typeface="Arial"/>
              </a:rPr>
              <a:t>14</a:t>
            </a:r>
            <a:endParaRPr sz="2000">
              <a:latin typeface="Arial"/>
              <a:cs typeface="Arial"/>
            </a:endParaRPr>
          </a:p>
        </p:txBody>
      </p:sp>
      <p:sp>
        <p:nvSpPr>
          <p:cNvPr id="3" name="object 3"/>
          <p:cNvSpPr txBox="1"/>
          <p:nvPr/>
        </p:nvSpPr>
        <p:spPr>
          <a:xfrm>
            <a:off x="2212975" y="4931792"/>
            <a:ext cx="1471676" cy="1316609"/>
          </a:xfrm>
          <a:prstGeom prst="rect">
            <a:avLst/>
          </a:prstGeom>
        </p:spPr>
        <p:txBody>
          <a:bodyPr wrap="square" lIns="0" tIns="0" rIns="0" bIns="0" rtlCol="0">
            <a:noAutofit/>
          </a:bodyPr>
          <a:lstStyle/>
          <a:p>
            <a:pPr>
              <a:lnSpc>
                <a:spcPts val="750"/>
              </a:lnSpc>
              <a:spcBef>
                <a:spcPts val="42"/>
              </a:spcBef>
            </a:pPr>
            <a:endParaRPr sz="750"/>
          </a:p>
          <a:p>
            <a:pPr marL="74385" marR="138867" algn="ctr">
              <a:lnSpc>
                <a:spcPts val="2295"/>
              </a:lnSpc>
              <a:spcBef>
                <a:spcPts val="114"/>
              </a:spcBef>
            </a:pPr>
            <a:r>
              <a:rPr sz="3000" b="1" baseline="-1449" dirty="0">
                <a:solidFill>
                  <a:srgbClr val="FFFFFF"/>
                </a:solidFill>
                <a:latin typeface="Arial"/>
                <a:cs typeface="Arial"/>
              </a:rPr>
              <a:t>Customer</a:t>
            </a:r>
            <a:endParaRPr sz="2000">
              <a:latin typeface="Arial"/>
              <a:cs typeface="Arial"/>
            </a:endParaRPr>
          </a:p>
          <a:p>
            <a:pPr marL="366763" marR="367144" algn="ctr">
              <a:lnSpc>
                <a:spcPts val="2045"/>
              </a:lnSpc>
            </a:pPr>
            <a:r>
              <a:rPr sz="2000" b="1" dirty="0">
                <a:solidFill>
                  <a:srgbClr val="FFFFFF"/>
                </a:solidFill>
                <a:latin typeface="Arial"/>
                <a:cs typeface="Arial"/>
              </a:rPr>
              <a:t>Pa</a:t>
            </a:r>
            <a:r>
              <a:rPr sz="2000" b="1" spc="-39" dirty="0">
                <a:solidFill>
                  <a:srgbClr val="FFFFFF"/>
                </a:solidFill>
                <a:latin typeface="Arial"/>
                <a:cs typeface="Arial"/>
              </a:rPr>
              <a:t>y</a:t>
            </a:r>
            <a:r>
              <a:rPr sz="2000" b="1" dirty="0">
                <a:solidFill>
                  <a:srgbClr val="FFFFFF"/>
                </a:solidFill>
                <a:latin typeface="Arial"/>
                <a:cs typeface="Arial"/>
              </a:rPr>
              <a:t>s:</a:t>
            </a:r>
            <a:endParaRPr sz="2000">
              <a:latin typeface="Arial"/>
              <a:cs typeface="Arial"/>
            </a:endParaRPr>
          </a:p>
          <a:p>
            <a:pPr marL="427723" marR="427585" algn="ctr">
              <a:lnSpc>
                <a:spcPct val="95825"/>
              </a:lnSpc>
              <a:spcBef>
                <a:spcPts val="2037"/>
              </a:spcBef>
            </a:pPr>
            <a:r>
              <a:rPr sz="2000" b="1" dirty="0">
                <a:solidFill>
                  <a:srgbClr val="FFFFFF"/>
                </a:solidFill>
                <a:latin typeface="Arial"/>
                <a:cs typeface="Arial"/>
              </a:rPr>
              <a:t>$</a:t>
            </a:r>
            <a:r>
              <a:rPr sz="2000" b="1" spc="-104" dirty="0">
                <a:solidFill>
                  <a:srgbClr val="FFFFFF"/>
                </a:solidFill>
                <a:latin typeface="Arial"/>
                <a:cs typeface="Arial"/>
              </a:rPr>
              <a:t>1</a:t>
            </a:r>
            <a:r>
              <a:rPr sz="2000" b="1" dirty="0">
                <a:solidFill>
                  <a:srgbClr val="FFFFFF"/>
                </a:solidFill>
                <a:latin typeface="Arial"/>
                <a:cs typeface="Arial"/>
              </a:rPr>
              <a:t>14</a:t>
            </a:r>
            <a:endParaRPr sz="2000">
              <a:latin typeface="Arial"/>
              <a:cs typeface="Arial"/>
            </a:endParaRPr>
          </a:p>
        </p:txBody>
      </p:sp>
      <p:sp>
        <p:nvSpPr>
          <p:cNvPr id="2" name="object 2"/>
          <p:cNvSpPr txBox="1"/>
          <p:nvPr/>
        </p:nvSpPr>
        <p:spPr>
          <a:xfrm>
            <a:off x="4899563" y="2409194"/>
            <a:ext cx="1938960" cy="1190292"/>
          </a:xfrm>
          <a:prstGeom prst="rect">
            <a:avLst/>
          </a:prstGeom>
        </p:spPr>
        <p:txBody>
          <a:bodyPr wrap="square" lIns="0" tIns="0" rIns="0" bIns="0" rtlCol="0">
            <a:noAutofit/>
          </a:bodyPr>
          <a:lstStyle/>
          <a:p>
            <a:pPr>
              <a:lnSpc>
                <a:spcPts val="900"/>
              </a:lnSpc>
              <a:spcBef>
                <a:spcPts val="36"/>
              </a:spcBef>
            </a:pPr>
            <a:endParaRPr sz="900"/>
          </a:p>
          <a:p>
            <a:pPr marL="463646">
              <a:lnSpc>
                <a:spcPct val="95825"/>
              </a:lnSpc>
              <a:spcBef>
                <a:spcPts val="1000"/>
              </a:spcBef>
            </a:pPr>
            <a:r>
              <a:rPr sz="2000" b="1" dirty="0">
                <a:latin typeface="Arial"/>
                <a:cs typeface="Arial"/>
              </a:rPr>
              <a:t>Bil</a:t>
            </a:r>
            <a:r>
              <a:rPr sz="2000" b="1" spc="-9" dirty="0">
                <a:latin typeface="Arial"/>
                <a:cs typeface="Arial"/>
              </a:rPr>
              <a:t>l</a:t>
            </a:r>
            <a:r>
              <a:rPr sz="2000" b="1" dirty="0">
                <a:latin typeface="Arial"/>
                <a:cs typeface="Arial"/>
              </a:rPr>
              <a:t>ing</a:t>
            </a:r>
            <a:endParaRPr sz="2000">
              <a:latin typeface="Arial"/>
              <a:cs typeface="Arial"/>
            </a:endParaRPr>
          </a:p>
          <a:p>
            <a:pPr marL="463646">
              <a:lnSpc>
                <a:spcPct val="95825"/>
              </a:lnSpc>
              <a:spcBef>
                <a:spcPts val="100"/>
              </a:spcBef>
            </a:pPr>
            <a:r>
              <a:rPr sz="2000" b="1" dirty="0">
                <a:latin typeface="Arial"/>
                <a:cs typeface="Arial"/>
              </a:rPr>
              <a:t>Docu</a:t>
            </a:r>
            <a:r>
              <a:rPr sz="2000" b="1" spc="-9" dirty="0">
                <a:latin typeface="Arial"/>
                <a:cs typeface="Arial"/>
              </a:rPr>
              <a:t>m</a:t>
            </a:r>
            <a:r>
              <a:rPr sz="2000" b="1" dirty="0">
                <a:latin typeface="Arial"/>
                <a:cs typeface="Arial"/>
              </a:rPr>
              <a:t>ent</a:t>
            </a:r>
            <a:endParaRPr sz="2000">
              <a:latin typeface="Arial"/>
              <a:cs typeface="Arial"/>
            </a:endParaRPr>
          </a:p>
        </p:txBody>
      </p:sp>
      <p:sp>
        <p:nvSpPr>
          <p:cNvPr id="47" name="TextBox 46"/>
          <p:cNvSpPr txBox="1"/>
          <p:nvPr/>
        </p:nvSpPr>
        <p:spPr>
          <a:xfrm>
            <a:off x="227351" y="957692"/>
            <a:ext cx="9666014" cy="1400383"/>
          </a:xfrm>
          <a:prstGeom prst="rect">
            <a:avLst/>
          </a:prstGeom>
          <a:noFill/>
        </p:spPr>
        <p:txBody>
          <a:bodyPr wrap="square" rtlCol="0">
            <a:spAutoFit/>
          </a:bodyPr>
          <a:lstStyle/>
          <a:p>
            <a:pPr marL="402386" marR="1036738" indent="-285750">
              <a:lnSpc>
                <a:spcPct val="100041"/>
              </a:lnSpc>
              <a:spcBef>
                <a:spcPts val="1394"/>
              </a:spcBef>
              <a:buClr>
                <a:srgbClr val="00B0F0"/>
              </a:buClr>
              <a:buFont typeface="Wingdings" panose="05000000000000000000" pitchFamily="2" charset="2"/>
              <a:buChar char="§"/>
            </a:pPr>
            <a:r>
              <a:rPr lang="en-US" sz="1600" dirty="0">
                <a:cs typeface="Arial"/>
              </a:rPr>
              <a:t>During</a:t>
            </a:r>
            <a:r>
              <a:rPr lang="en-US" sz="1600" spc="-46" dirty="0">
                <a:cs typeface="Arial"/>
              </a:rPr>
              <a:t> </a:t>
            </a:r>
            <a:r>
              <a:rPr lang="en-US" sz="1600" dirty="0">
                <a:cs typeface="Arial"/>
              </a:rPr>
              <a:t>billi</a:t>
            </a:r>
            <a:r>
              <a:rPr lang="en-US" sz="1600" spc="-4" dirty="0">
                <a:cs typeface="Arial"/>
              </a:rPr>
              <a:t>n</a:t>
            </a:r>
            <a:r>
              <a:rPr lang="en-US" sz="1600" dirty="0">
                <a:cs typeface="Arial"/>
              </a:rPr>
              <a:t>g,</a:t>
            </a:r>
            <a:r>
              <a:rPr lang="en-US" sz="1600" spc="15" dirty="0">
                <a:cs typeface="Arial"/>
              </a:rPr>
              <a:t> </a:t>
            </a:r>
            <a:r>
              <a:rPr lang="en-US" sz="1600" dirty="0">
                <a:cs typeface="Arial"/>
              </a:rPr>
              <a:t>t</a:t>
            </a:r>
            <a:r>
              <a:rPr lang="en-US" sz="1600" spc="-4" dirty="0">
                <a:cs typeface="Arial"/>
              </a:rPr>
              <a:t>h</a:t>
            </a:r>
            <a:r>
              <a:rPr lang="en-US" sz="1600" dirty="0">
                <a:cs typeface="Arial"/>
              </a:rPr>
              <a:t>e da</a:t>
            </a:r>
            <a:r>
              <a:rPr lang="en-US" sz="1600" spc="-4" dirty="0">
                <a:cs typeface="Arial"/>
              </a:rPr>
              <a:t>t</a:t>
            </a:r>
            <a:r>
              <a:rPr lang="en-US" sz="1600" dirty="0">
                <a:cs typeface="Arial"/>
              </a:rPr>
              <a:t>a</a:t>
            </a:r>
            <a:r>
              <a:rPr lang="en-US" sz="1600" spc="-22" dirty="0">
                <a:cs typeface="Arial"/>
              </a:rPr>
              <a:t> </a:t>
            </a:r>
            <a:r>
              <a:rPr lang="en-US" sz="1600" dirty="0">
                <a:cs typeface="Arial"/>
              </a:rPr>
              <a:t>rele</a:t>
            </a:r>
            <a:r>
              <a:rPr lang="en-US" sz="1600" spc="-29" dirty="0">
                <a:cs typeface="Arial"/>
              </a:rPr>
              <a:t>v</a:t>
            </a:r>
            <a:r>
              <a:rPr lang="en-US" sz="1600" dirty="0">
                <a:cs typeface="Arial"/>
              </a:rPr>
              <a:t>a</a:t>
            </a:r>
            <a:r>
              <a:rPr lang="en-US" sz="1600" spc="9" dirty="0">
                <a:cs typeface="Arial"/>
              </a:rPr>
              <a:t>n</a:t>
            </a:r>
            <a:r>
              <a:rPr lang="en-US" sz="1600" dirty="0">
                <a:cs typeface="Arial"/>
              </a:rPr>
              <a:t>t</a:t>
            </a:r>
            <a:r>
              <a:rPr lang="en-US" sz="1600" spc="-16" dirty="0">
                <a:cs typeface="Arial"/>
              </a:rPr>
              <a:t> </a:t>
            </a:r>
            <a:r>
              <a:rPr lang="en-US" sz="1600" dirty="0">
                <a:cs typeface="Arial"/>
              </a:rPr>
              <a:t>f</a:t>
            </a:r>
            <a:r>
              <a:rPr lang="en-US" sz="1600" spc="-4" dirty="0">
                <a:cs typeface="Arial"/>
              </a:rPr>
              <a:t>o</a:t>
            </a:r>
            <a:r>
              <a:rPr lang="en-US" sz="1600" dirty="0">
                <a:cs typeface="Arial"/>
              </a:rPr>
              <a:t>r</a:t>
            </a:r>
            <a:r>
              <a:rPr lang="en-US" sz="1600" spc="3" dirty="0">
                <a:cs typeface="Arial"/>
              </a:rPr>
              <a:t> </a:t>
            </a:r>
            <a:r>
              <a:rPr lang="en-US" sz="1600" dirty="0">
                <a:cs typeface="Arial"/>
              </a:rPr>
              <a:t>accou</a:t>
            </a:r>
            <a:r>
              <a:rPr lang="en-US" sz="1600" spc="-9" dirty="0">
                <a:cs typeface="Arial"/>
              </a:rPr>
              <a:t>n</a:t>
            </a:r>
            <a:r>
              <a:rPr lang="en-US" sz="1600" dirty="0">
                <a:cs typeface="Arial"/>
              </a:rPr>
              <a:t>ti</a:t>
            </a:r>
            <a:r>
              <a:rPr lang="en-US" sz="1600" spc="-4" dirty="0">
                <a:cs typeface="Arial"/>
              </a:rPr>
              <a:t>n</a:t>
            </a:r>
            <a:r>
              <a:rPr lang="en-US" sz="1600" dirty="0">
                <a:cs typeface="Arial"/>
              </a:rPr>
              <a:t>g</a:t>
            </a:r>
            <a:r>
              <a:rPr lang="en-US" sz="1600" spc="-55" dirty="0">
                <a:cs typeface="Arial"/>
              </a:rPr>
              <a:t> </a:t>
            </a:r>
            <a:r>
              <a:rPr lang="en-US" sz="1600" dirty="0">
                <a:cs typeface="Arial"/>
              </a:rPr>
              <a:t>is</a:t>
            </a:r>
            <a:r>
              <a:rPr lang="en-US" sz="1600" spc="-3" dirty="0">
                <a:cs typeface="Arial"/>
              </a:rPr>
              <a:t> </a:t>
            </a:r>
            <a:r>
              <a:rPr lang="en-US" sz="1600" dirty="0">
                <a:cs typeface="Arial"/>
              </a:rPr>
              <a:t>passed</a:t>
            </a:r>
            <a:r>
              <a:rPr lang="en-US" sz="1600" spc="-50" dirty="0">
                <a:cs typeface="Arial"/>
              </a:rPr>
              <a:t> </a:t>
            </a:r>
            <a:r>
              <a:rPr lang="en-US" sz="1600" dirty="0">
                <a:cs typeface="Arial"/>
              </a:rPr>
              <a:t>on</a:t>
            </a:r>
            <a:r>
              <a:rPr lang="en-US" sz="1600" spc="-14" dirty="0">
                <a:cs typeface="Arial"/>
              </a:rPr>
              <a:t> </a:t>
            </a:r>
            <a:r>
              <a:rPr lang="en-US" sz="1600" dirty="0">
                <a:cs typeface="Arial"/>
              </a:rPr>
              <a:t>to</a:t>
            </a:r>
            <a:r>
              <a:rPr lang="en-US" sz="1600" spc="-10" dirty="0">
                <a:cs typeface="Arial"/>
              </a:rPr>
              <a:t> </a:t>
            </a:r>
            <a:r>
              <a:rPr lang="en-US" sz="1600" dirty="0">
                <a:cs typeface="Arial"/>
              </a:rPr>
              <a:t>fi</a:t>
            </a:r>
            <a:r>
              <a:rPr lang="en-US" sz="1600" spc="-4" dirty="0">
                <a:cs typeface="Arial"/>
              </a:rPr>
              <a:t>n</a:t>
            </a:r>
            <a:r>
              <a:rPr lang="en-US" sz="1600" dirty="0">
                <a:cs typeface="Arial"/>
              </a:rPr>
              <a:t>ancial accou</a:t>
            </a:r>
            <a:r>
              <a:rPr lang="en-US" sz="1600" spc="-9" dirty="0">
                <a:cs typeface="Arial"/>
              </a:rPr>
              <a:t>n</a:t>
            </a:r>
            <a:r>
              <a:rPr lang="en-US" sz="1600" dirty="0">
                <a:cs typeface="Arial"/>
              </a:rPr>
              <a:t>ti</a:t>
            </a:r>
            <a:r>
              <a:rPr lang="en-US" sz="1600" spc="-4" dirty="0">
                <a:cs typeface="Arial"/>
              </a:rPr>
              <a:t>n</a:t>
            </a:r>
            <a:r>
              <a:rPr lang="en-US" sz="1600" dirty="0">
                <a:cs typeface="Arial"/>
              </a:rPr>
              <a:t>g</a:t>
            </a:r>
            <a:r>
              <a:rPr lang="en-US" sz="1600" spc="-65" dirty="0">
                <a:cs typeface="Arial"/>
              </a:rPr>
              <a:t> </a:t>
            </a:r>
            <a:r>
              <a:rPr lang="en-US" sz="1600" dirty="0">
                <a:cs typeface="Arial"/>
              </a:rPr>
              <a:t>and</a:t>
            </a:r>
            <a:r>
              <a:rPr lang="en-US" sz="1600" spc="-23" dirty="0">
                <a:cs typeface="Arial"/>
              </a:rPr>
              <a:t> </a:t>
            </a:r>
            <a:r>
              <a:rPr lang="en-US" sz="1600" dirty="0">
                <a:cs typeface="Arial"/>
              </a:rPr>
              <a:t>p</a:t>
            </a:r>
            <a:r>
              <a:rPr lang="en-US" sz="1600" spc="-4" dirty="0">
                <a:cs typeface="Arial"/>
              </a:rPr>
              <a:t>o</a:t>
            </a:r>
            <a:r>
              <a:rPr lang="en-US" sz="1600" dirty="0">
                <a:cs typeface="Arial"/>
              </a:rPr>
              <a:t>sted</a:t>
            </a:r>
            <a:r>
              <a:rPr lang="en-US" sz="1600" spc="-32" dirty="0">
                <a:cs typeface="Arial"/>
              </a:rPr>
              <a:t> </a:t>
            </a:r>
            <a:r>
              <a:rPr lang="en-US" sz="1600" dirty="0">
                <a:cs typeface="Arial"/>
              </a:rPr>
              <a:t>to</a:t>
            </a:r>
            <a:r>
              <a:rPr lang="en-US" sz="1600" spc="-10" dirty="0">
                <a:cs typeface="Arial"/>
              </a:rPr>
              <a:t> </a:t>
            </a:r>
            <a:r>
              <a:rPr lang="en-US" sz="1600" dirty="0">
                <a:cs typeface="Arial"/>
              </a:rPr>
              <a:t>t</a:t>
            </a:r>
            <a:r>
              <a:rPr lang="en-US" sz="1600" spc="-4" dirty="0">
                <a:cs typeface="Arial"/>
              </a:rPr>
              <a:t>h</a:t>
            </a:r>
            <a:r>
              <a:rPr lang="en-US" sz="1600" dirty="0">
                <a:cs typeface="Arial"/>
              </a:rPr>
              <a:t>e corre</a:t>
            </a:r>
            <a:r>
              <a:rPr lang="en-US" sz="1600" spc="4" dirty="0">
                <a:cs typeface="Arial"/>
              </a:rPr>
              <a:t>s</a:t>
            </a:r>
            <a:r>
              <a:rPr lang="en-US" sz="1600" dirty="0">
                <a:cs typeface="Arial"/>
              </a:rPr>
              <a:t>p</a:t>
            </a:r>
            <a:r>
              <a:rPr lang="en-US" sz="1600" spc="-4" dirty="0">
                <a:cs typeface="Arial"/>
              </a:rPr>
              <a:t>o</a:t>
            </a:r>
            <a:r>
              <a:rPr lang="en-US" sz="1600" dirty="0">
                <a:cs typeface="Arial"/>
              </a:rPr>
              <a:t>n</a:t>
            </a:r>
            <a:r>
              <a:rPr lang="en-US" sz="1600" spc="-4" dirty="0">
                <a:cs typeface="Arial"/>
              </a:rPr>
              <a:t>d</a:t>
            </a:r>
            <a:r>
              <a:rPr lang="en-US" sz="1600" dirty="0">
                <a:cs typeface="Arial"/>
              </a:rPr>
              <a:t>ing</a:t>
            </a:r>
            <a:r>
              <a:rPr lang="en-US" sz="1600" spc="-81" dirty="0">
                <a:cs typeface="Arial"/>
              </a:rPr>
              <a:t> </a:t>
            </a:r>
            <a:r>
              <a:rPr lang="en-US" sz="1600" dirty="0">
                <a:cs typeface="Arial"/>
              </a:rPr>
              <a:t>accou</a:t>
            </a:r>
            <a:r>
              <a:rPr lang="en-US" sz="1600" spc="-9" dirty="0">
                <a:cs typeface="Arial"/>
              </a:rPr>
              <a:t>n</a:t>
            </a:r>
            <a:r>
              <a:rPr lang="en-US" sz="1600" dirty="0">
                <a:cs typeface="Arial"/>
              </a:rPr>
              <a:t>ts.</a:t>
            </a:r>
          </a:p>
          <a:p>
            <a:pPr marL="402386" marR="868300" indent="-285750">
              <a:lnSpc>
                <a:spcPct val="100041"/>
              </a:lnSpc>
              <a:spcBef>
                <a:spcPts val="577"/>
              </a:spcBef>
              <a:buClr>
                <a:srgbClr val="00B0F0"/>
              </a:buClr>
              <a:buFont typeface="Wingdings" panose="05000000000000000000" pitchFamily="2" charset="2"/>
              <a:buChar char="§"/>
            </a:pPr>
            <a:r>
              <a:rPr lang="en-US" sz="1600" dirty="0">
                <a:cs typeface="Arial"/>
              </a:rPr>
              <a:t>T</a:t>
            </a:r>
            <a:r>
              <a:rPr lang="en-US" sz="1600" spc="-4" dirty="0">
                <a:cs typeface="Arial"/>
              </a:rPr>
              <a:t>h</a:t>
            </a:r>
            <a:r>
              <a:rPr lang="en-US" sz="1600" dirty="0">
                <a:cs typeface="Arial"/>
              </a:rPr>
              <a:t>ese</a:t>
            </a:r>
            <a:r>
              <a:rPr lang="en-US" sz="1600" spc="-46" dirty="0">
                <a:cs typeface="Arial"/>
              </a:rPr>
              <a:t> </a:t>
            </a:r>
            <a:r>
              <a:rPr lang="en-US" sz="1600" dirty="0">
                <a:cs typeface="Arial"/>
              </a:rPr>
              <a:t>accou</a:t>
            </a:r>
            <a:r>
              <a:rPr lang="en-US" sz="1600" spc="-4" dirty="0">
                <a:cs typeface="Arial"/>
              </a:rPr>
              <a:t>n</a:t>
            </a:r>
            <a:r>
              <a:rPr lang="en-US" sz="1600" dirty="0">
                <a:cs typeface="Arial"/>
              </a:rPr>
              <a:t>ts</a:t>
            </a:r>
            <a:r>
              <a:rPr lang="en-US" sz="1600" spc="-50" dirty="0">
                <a:cs typeface="Arial"/>
              </a:rPr>
              <a:t> </a:t>
            </a:r>
            <a:r>
              <a:rPr lang="en-US" sz="1600" dirty="0">
                <a:cs typeface="Arial"/>
              </a:rPr>
              <a:t>are</a:t>
            </a:r>
            <a:r>
              <a:rPr lang="en-US" sz="1600" spc="-23" dirty="0">
                <a:cs typeface="Arial"/>
              </a:rPr>
              <a:t> </a:t>
            </a:r>
            <a:r>
              <a:rPr lang="en-US" sz="1600" dirty="0">
                <a:cs typeface="Arial"/>
              </a:rPr>
              <a:t>determined</a:t>
            </a:r>
            <a:r>
              <a:rPr lang="en-US" sz="1600" spc="-46" dirty="0">
                <a:cs typeface="Arial"/>
              </a:rPr>
              <a:t> </a:t>
            </a:r>
            <a:r>
              <a:rPr lang="en-US" sz="1600" dirty="0">
                <a:cs typeface="Arial"/>
              </a:rPr>
              <a:t>au</a:t>
            </a:r>
            <a:r>
              <a:rPr lang="en-US" sz="1600" spc="-4" dirty="0">
                <a:cs typeface="Arial"/>
              </a:rPr>
              <a:t>t</a:t>
            </a:r>
            <a:r>
              <a:rPr lang="en-US" sz="1600" dirty="0">
                <a:cs typeface="Arial"/>
              </a:rPr>
              <a:t>o</a:t>
            </a:r>
            <a:r>
              <a:rPr lang="en-US" sz="1600" spc="-4" dirty="0">
                <a:cs typeface="Arial"/>
              </a:rPr>
              <a:t>m</a:t>
            </a:r>
            <a:r>
              <a:rPr lang="en-US" sz="1600" dirty="0">
                <a:cs typeface="Arial"/>
              </a:rPr>
              <a:t>atical</a:t>
            </a:r>
            <a:r>
              <a:rPr lang="en-US" sz="1600" spc="9" dirty="0">
                <a:cs typeface="Arial"/>
              </a:rPr>
              <a:t>l</a:t>
            </a:r>
            <a:r>
              <a:rPr lang="en-US" sz="1600" dirty="0">
                <a:cs typeface="Arial"/>
              </a:rPr>
              <a:t>y</a:t>
            </a:r>
            <a:r>
              <a:rPr lang="en-US" sz="1600" spc="-67" dirty="0">
                <a:cs typeface="Arial"/>
              </a:rPr>
              <a:t> </a:t>
            </a:r>
            <a:r>
              <a:rPr lang="en-US" sz="1600" dirty="0">
                <a:cs typeface="Arial"/>
              </a:rPr>
              <a:t>on</a:t>
            </a:r>
            <a:r>
              <a:rPr lang="en-US" sz="1600" spc="-14" dirty="0">
                <a:cs typeface="Arial"/>
              </a:rPr>
              <a:t> </a:t>
            </a:r>
            <a:r>
              <a:rPr lang="en-US" sz="1600" dirty="0">
                <a:cs typeface="Arial"/>
              </a:rPr>
              <a:t>t</a:t>
            </a:r>
            <a:r>
              <a:rPr lang="en-US" sz="1600" spc="-4" dirty="0">
                <a:cs typeface="Arial"/>
              </a:rPr>
              <a:t>h</a:t>
            </a:r>
            <a:r>
              <a:rPr lang="en-US" sz="1600" dirty="0">
                <a:cs typeface="Arial"/>
              </a:rPr>
              <a:t>e basis</a:t>
            </a:r>
            <a:r>
              <a:rPr lang="en-US" sz="1600" spc="-30" dirty="0">
                <a:cs typeface="Arial"/>
              </a:rPr>
              <a:t> </a:t>
            </a:r>
            <a:r>
              <a:rPr lang="en-US" sz="1600" dirty="0">
                <a:cs typeface="Arial"/>
              </a:rPr>
              <a:t>of</a:t>
            </a:r>
            <a:r>
              <a:rPr lang="en-US" sz="1600" spc="-10" dirty="0">
                <a:cs typeface="Arial"/>
              </a:rPr>
              <a:t> </a:t>
            </a:r>
            <a:r>
              <a:rPr lang="en-US" sz="1600" dirty="0">
                <a:cs typeface="Arial"/>
              </a:rPr>
              <a:t>t</a:t>
            </a:r>
            <a:r>
              <a:rPr lang="en-US" sz="1600" spc="-4" dirty="0">
                <a:cs typeface="Arial"/>
              </a:rPr>
              <a:t>h</a:t>
            </a:r>
            <a:r>
              <a:rPr lang="en-US" sz="1600" dirty="0">
                <a:cs typeface="Arial"/>
              </a:rPr>
              <a:t>e accou</a:t>
            </a:r>
            <a:r>
              <a:rPr lang="en-US" sz="1600" spc="-9" dirty="0">
                <a:cs typeface="Arial"/>
              </a:rPr>
              <a:t>n</a:t>
            </a:r>
            <a:r>
              <a:rPr lang="en-US" sz="1600" dirty="0">
                <a:cs typeface="Arial"/>
              </a:rPr>
              <a:t>t de</a:t>
            </a:r>
            <a:r>
              <a:rPr lang="en-US" sz="1600" spc="-4" dirty="0">
                <a:cs typeface="Arial"/>
              </a:rPr>
              <a:t>t</a:t>
            </a:r>
            <a:r>
              <a:rPr lang="en-US" sz="1600" dirty="0">
                <a:cs typeface="Arial"/>
              </a:rPr>
              <a:t>erminati</a:t>
            </a:r>
            <a:r>
              <a:rPr lang="en-US" sz="1600" spc="-9" dirty="0">
                <a:cs typeface="Arial"/>
              </a:rPr>
              <a:t>o</a:t>
            </a:r>
            <a:r>
              <a:rPr lang="en-US" sz="1600" dirty="0">
                <a:cs typeface="Arial"/>
              </a:rPr>
              <a:t>n</a:t>
            </a:r>
            <a:r>
              <a:rPr lang="en-US" sz="1600" spc="-60" dirty="0">
                <a:cs typeface="Arial"/>
              </a:rPr>
              <a:t> </a:t>
            </a:r>
            <a:r>
              <a:rPr lang="en-US" sz="1600" dirty="0">
                <a:cs typeface="Arial"/>
              </a:rPr>
              <a:t>criteria</a:t>
            </a:r>
            <a:r>
              <a:rPr lang="en-US" sz="1600" spc="-28" dirty="0">
                <a:cs typeface="Arial"/>
              </a:rPr>
              <a:t> </a:t>
            </a:r>
            <a:r>
              <a:rPr lang="en-US" sz="1600" dirty="0">
                <a:cs typeface="Arial"/>
              </a:rPr>
              <a:t>in</a:t>
            </a:r>
            <a:r>
              <a:rPr lang="en-US" sz="1600" spc="-4" dirty="0">
                <a:cs typeface="Arial"/>
              </a:rPr>
              <a:t> </a:t>
            </a:r>
            <a:r>
              <a:rPr lang="en-US" sz="1600" dirty="0">
                <a:cs typeface="Arial"/>
              </a:rPr>
              <a:t>t</a:t>
            </a:r>
            <a:r>
              <a:rPr lang="en-US" sz="1600" spc="-4" dirty="0">
                <a:cs typeface="Arial"/>
              </a:rPr>
              <a:t>h</a:t>
            </a:r>
            <a:r>
              <a:rPr lang="en-US" sz="1600" dirty="0">
                <a:cs typeface="Arial"/>
              </a:rPr>
              <a:t>e billi</a:t>
            </a:r>
            <a:r>
              <a:rPr lang="en-US" sz="1600" spc="-4" dirty="0">
                <a:cs typeface="Arial"/>
              </a:rPr>
              <a:t>n</a:t>
            </a:r>
            <a:r>
              <a:rPr lang="en-US" sz="1600" dirty="0">
                <a:cs typeface="Arial"/>
              </a:rPr>
              <a:t>g</a:t>
            </a:r>
            <a:r>
              <a:rPr lang="en-US" sz="1600" spc="20" dirty="0">
                <a:cs typeface="Arial"/>
              </a:rPr>
              <a:t> </a:t>
            </a:r>
            <a:r>
              <a:rPr lang="en-US" sz="1600" dirty="0">
                <a:cs typeface="Arial"/>
              </a:rPr>
              <a:t>d</a:t>
            </a:r>
            <a:r>
              <a:rPr lang="en-US" sz="1600" spc="-4" dirty="0">
                <a:cs typeface="Arial"/>
              </a:rPr>
              <a:t>o</a:t>
            </a:r>
            <a:r>
              <a:rPr lang="en-US" sz="1600" dirty="0">
                <a:cs typeface="Arial"/>
              </a:rPr>
              <a:t>cu</a:t>
            </a:r>
            <a:r>
              <a:rPr lang="en-US" sz="1600" spc="-4" dirty="0">
                <a:cs typeface="Arial"/>
              </a:rPr>
              <a:t>m</a:t>
            </a:r>
            <a:r>
              <a:rPr lang="en-US" sz="1600" dirty="0">
                <a:cs typeface="Arial"/>
              </a:rPr>
              <a:t>en</a:t>
            </a:r>
            <a:r>
              <a:rPr lang="en-US" sz="1600" spc="-4" dirty="0">
                <a:cs typeface="Arial"/>
              </a:rPr>
              <a:t>t</a:t>
            </a:r>
            <a:r>
              <a:rPr lang="en-US" sz="1600" dirty="0">
                <a:cs typeface="Arial"/>
              </a:rPr>
              <a:t>.</a:t>
            </a:r>
          </a:p>
          <a:p>
            <a:endParaRPr lang="en-US" sz="1600" dirty="0"/>
          </a:p>
        </p:txBody>
      </p:sp>
      <p:sp>
        <p:nvSpPr>
          <p:cNvPr id="13" name="Title 12"/>
          <p:cNvSpPr>
            <a:spLocks noGrp="1"/>
          </p:cNvSpPr>
          <p:nvPr>
            <p:ph type="title"/>
          </p:nvPr>
        </p:nvSpPr>
        <p:spPr/>
        <p:txBody>
          <a:bodyPr>
            <a:normAutofit fontScale="90000"/>
          </a:bodyPr>
          <a:lstStyle/>
          <a:p>
            <a:r>
              <a:rPr lang="en-US" sz="2400" dirty="0">
                <a:latin typeface="Arial"/>
                <a:cs typeface="Arial"/>
              </a:rPr>
              <a:t>Interface</a:t>
            </a:r>
            <a:r>
              <a:rPr lang="en-US" sz="2400" spc="-151" dirty="0">
                <a:latin typeface="Arial"/>
                <a:cs typeface="Arial"/>
              </a:rPr>
              <a:t> </a:t>
            </a:r>
            <a:r>
              <a:rPr lang="en-US" sz="2400" dirty="0">
                <a:latin typeface="Arial"/>
                <a:cs typeface="Arial"/>
              </a:rPr>
              <a:t>to Fina</a:t>
            </a:r>
            <a:r>
              <a:rPr lang="en-US" sz="2400" spc="-9" dirty="0">
                <a:latin typeface="Arial"/>
                <a:cs typeface="Arial"/>
              </a:rPr>
              <a:t>n</a:t>
            </a:r>
            <a:r>
              <a:rPr lang="en-US" sz="2400" dirty="0">
                <a:latin typeface="Arial"/>
                <a:cs typeface="Arial"/>
              </a:rPr>
              <a:t>cial Accou</a:t>
            </a:r>
            <a:r>
              <a:rPr lang="en-US" sz="2400" spc="-9" dirty="0">
                <a:latin typeface="Arial"/>
                <a:cs typeface="Arial"/>
              </a:rPr>
              <a:t>n</a:t>
            </a:r>
            <a:r>
              <a:rPr lang="en-US" sz="2400" dirty="0">
                <a:latin typeface="Arial"/>
                <a:cs typeface="Arial"/>
              </a:rPr>
              <a:t>ting</a:t>
            </a:r>
            <a:br>
              <a:rPr lang="en-US" sz="2800" dirty="0">
                <a:latin typeface="Arial"/>
                <a:cs typeface="Arial"/>
              </a:rPr>
            </a:b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3443351" y="1701801"/>
            <a:ext cx="1950974" cy="269875"/>
          </a:xfrm>
          <a:prstGeom prst="rect">
            <a:avLst/>
          </a:prstGeom>
          <a:blipFill>
            <a:blip r:embed="rId2" cstate="print"/>
            <a:stretch>
              <a:fillRect/>
            </a:stretch>
          </a:blipFill>
        </p:spPr>
        <p:txBody>
          <a:bodyPr wrap="square" lIns="0" tIns="0" rIns="0" bIns="0" rtlCol="0">
            <a:noAutofit/>
          </a:bodyPr>
          <a:lstStyle/>
          <a:p>
            <a:endParaRPr/>
          </a:p>
        </p:txBody>
      </p:sp>
      <p:sp>
        <p:nvSpPr>
          <p:cNvPr id="59" name="object 59"/>
          <p:cNvSpPr/>
          <p:nvPr/>
        </p:nvSpPr>
        <p:spPr>
          <a:xfrm>
            <a:off x="3443351" y="1701801"/>
            <a:ext cx="1950974" cy="269875"/>
          </a:xfrm>
          <a:custGeom>
            <a:avLst/>
            <a:gdLst/>
            <a:ahLst/>
            <a:cxnLst/>
            <a:rect l="l" t="t" r="r" b="b"/>
            <a:pathLst>
              <a:path w="1950974" h="269875">
                <a:moveTo>
                  <a:pt x="0" y="0"/>
                </a:moveTo>
                <a:lnTo>
                  <a:pt x="1598295" y="0"/>
                </a:lnTo>
                <a:lnTo>
                  <a:pt x="1950974" y="135000"/>
                </a:lnTo>
                <a:lnTo>
                  <a:pt x="1598295" y="269875"/>
                </a:lnTo>
                <a:lnTo>
                  <a:pt x="0" y="269875"/>
                </a:lnTo>
                <a:lnTo>
                  <a:pt x="0" y="0"/>
                </a:lnTo>
                <a:close/>
              </a:path>
            </a:pathLst>
          </a:custGeom>
          <a:ln w="25400">
            <a:solidFill>
              <a:srgbClr val="000000"/>
            </a:solidFill>
          </a:ln>
        </p:spPr>
        <p:txBody>
          <a:bodyPr wrap="square" lIns="0" tIns="0" rIns="0" bIns="0" rtlCol="0">
            <a:noAutofit/>
          </a:bodyPr>
          <a:lstStyle/>
          <a:p>
            <a:endParaRPr/>
          </a:p>
        </p:txBody>
      </p:sp>
      <p:sp>
        <p:nvSpPr>
          <p:cNvPr id="60" name="object 60"/>
          <p:cNvSpPr/>
          <p:nvPr/>
        </p:nvSpPr>
        <p:spPr>
          <a:xfrm>
            <a:off x="2133600" y="1601851"/>
            <a:ext cx="2284476" cy="520700"/>
          </a:xfrm>
          <a:prstGeom prst="rect">
            <a:avLst/>
          </a:prstGeom>
          <a:blipFill>
            <a:blip r:embed="rId3" cstate="print"/>
            <a:stretch>
              <a:fillRect/>
            </a:stretch>
          </a:blipFill>
        </p:spPr>
        <p:txBody>
          <a:bodyPr wrap="square" lIns="0" tIns="0" rIns="0" bIns="0" rtlCol="0">
            <a:noAutofit/>
          </a:bodyPr>
          <a:lstStyle/>
          <a:p>
            <a:endParaRPr/>
          </a:p>
        </p:txBody>
      </p:sp>
      <p:sp>
        <p:nvSpPr>
          <p:cNvPr id="61" name="object 61"/>
          <p:cNvSpPr/>
          <p:nvPr/>
        </p:nvSpPr>
        <p:spPr>
          <a:xfrm>
            <a:off x="2133600" y="1601851"/>
            <a:ext cx="2284476" cy="520700"/>
          </a:xfrm>
          <a:custGeom>
            <a:avLst/>
            <a:gdLst/>
            <a:ahLst/>
            <a:cxnLst/>
            <a:rect l="l" t="t" r="r" b="b"/>
            <a:pathLst>
              <a:path w="2284476" h="520700">
                <a:moveTo>
                  <a:pt x="0" y="520700"/>
                </a:moveTo>
                <a:lnTo>
                  <a:pt x="2284476" y="520700"/>
                </a:lnTo>
                <a:lnTo>
                  <a:pt x="2284476" y="0"/>
                </a:lnTo>
                <a:lnTo>
                  <a:pt x="0" y="0"/>
                </a:lnTo>
                <a:lnTo>
                  <a:pt x="0" y="520700"/>
                </a:lnTo>
                <a:close/>
              </a:path>
            </a:pathLst>
          </a:custGeom>
          <a:ln w="25399">
            <a:solidFill>
              <a:srgbClr val="000000"/>
            </a:solidFill>
          </a:ln>
        </p:spPr>
        <p:txBody>
          <a:bodyPr wrap="square" lIns="0" tIns="0" rIns="0" bIns="0" rtlCol="0">
            <a:noAutofit/>
          </a:bodyPr>
          <a:lstStyle/>
          <a:p>
            <a:endParaRPr/>
          </a:p>
        </p:txBody>
      </p:sp>
      <p:sp>
        <p:nvSpPr>
          <p:cNvPr id="62" name="object 62"/>
          <p:cNvSpPr/>
          <p:nvPr/>
        </p:nvSpPr>
        <p:spPr>
          <a:xfrm>
            <a:off x="2286000" y="1603248"/>
            <a:ext cx="2007108" cy="461772"/>
          </a:xfrm>
          <a:prstGeom prst="rect">
            <a:avLst/>
          </a:prstGeom>
          <a:blipFill>
            <a:blip r:embed="rId4" cstate="print"/>
            <a:stretch>
              <a:fillRect/>
            </a:stretch>
          </a:blipFill>
        </p:spPr>
        <p:txBody>
          <a:bodyPr wrap="square" lIns="0" tIns="0" rIns="0" bIns="0" rtlCol="0">
            <a:noAutofit/>
          </a:bodyPr>
          <a:lstStyle/>
          <a:p>
            <a:endParaRPr/>
          </a:p>
        </p:txBody>
      </p:sp>
      <p:sp>
        <p:nvSpPr>
          <p:cNvPr id="63" name="object 63"/>
          <p:cNvSpPr/>
          <p:nvPr/>
        </p:nvSpPr>
        <p:spPr>
          <a:xfrm>
            <a:off x="3915157" y="1603248"/>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38" name="object 38"/>
          <p:cNvSpPr/>
          <p:nvPr/>
        </p:nvSpPr>
        <p:spPr>
          <a:xfrm>
            <a:off x="2871851" y="2379727"/>
            <a:ext cx="831850" cy="3014599"/>
          </a:xfrm>
          <a:prstGeom prst="rect">
            <a:avLst/>
          </a:prstGeom>
          <a:blipFill>
            <a:blip r:embed="rId6" cstate="print"/>
            <a:stretch>
              <a:fillRect/>
            </a:stretch>
          </a:blipFill>
        </p:spPr>
        <p:txBody>
          <a:bodyPr wrap="square" lIns="0" tIns="0" rIns="0" bIns="0" rtlCol="0">
            <a:noAutofit/>
          </a:bodyPr>
          <a:lstStyle/>
          <a:p>
            <a:endParaRPr/>
          </a:p>
        </p:txBody>
      </p:sp>
      <p:sp>
        <p:nvSpPr>
          <p:cNvPr id="39" name="object 39"/>
          <p:cNvSpPr/>
          <p:nvPr/>
        </p:nvSpPr>
        <p:spPr>
          <a:xfrm>
            <a:off x="2871851" y="2379727"/>
            <a:ext cx="831850" cy="3014599"/>
          </a:xfrm>
          <a:custGeom>
            <a:avLst/>
            <a:gdLst/>
            <a:ahLst/>
            <a:cxnLst/>
            <a:rect l="l" t="t" r="r" b="b"/>
            <a:pathLst>
              <a:path w="831850" h="3014599">
                <a:moveTo>
                  <a:pt x="0" y="3014599"/>
                </a:moveTo>
                <a:lnTo>
                  <a:pt x="831850" y="3014599"/>
                </a:lnTo>
                <a:lnTo>
                  <a:pt x="831850" y="0"/>
                </a:lnTo>
                <a:lnTo>
                  <a:pt x="0" y="0"/>
                </a:lnTo>
                <a:lnTo>
                  <a:pt x="0" y="3014599"/>
                </a:lnTo>
                <a:close/>
              </a:path>
            </a:pathLst>
          </a:custGeom>
          <a:ln w="25400">
            <a:solidFill>
              <a:srgbClr val="000000"/>
            </a:solidFill>
          </a:ln>
        </p:spPr>
        <p:txBody>
          <a:bodyPr wrap="square" lIns="0" tIns="0" rIns="0" bIns="0" rtlCol="0">
            <a:noAutofit/>
          </a:bodyPr>
          <a:lstStyle/>
          <a:p>
            <a:endParaRPr/>
          </a:p>
        </p:txBody>
      </p:sp>
      <p:sp>
        <p:nvSpPr>
          <p:cNvPr id="40" name="object 40"/>
          <p:cNvSpPr/>
          <p:nvPr/>
        </p:nvSpPr>
        <p:spPr>
          <a:xfrm>
            <a:off x="3443351" y="3833876"/>
            <a:ext cx="1950974" cy="269748"/>
          </a:xfrm>
          <a:prstGeom prst="rect">
            <a:avLst/>
          </a:prstGeom>
          <a:blipFill>
            <a:blip r:embed="rId7" cstate="print"/>
            <a:stretch>
              <a:fillRect/>
            </a:stretch>
          </a:blipFill>
        </p:spPr>
        <p:txBody>
          <a:bodyPr wrap="square" lIns="0" tIns="0" rIns="0" bIns="0" rtlCol="0">
            <a:noAutofit/>
          </a:bodyPr>
          <a:lstStyle/>
          <a:p>
            <a:endParaRPr/>
          </a:p>
        </p:txBody>
      </p:sp>
      <p:sp>
        <p:nvSpPr>
          <p:cNvPr id="41" name="object 41"/>
          <p:cNvSpPr/>
          <p:nvPr/>
        </p:nvSpPr>
        <p:spPr>
          <a:xfrm>
            <a:off x="3443351" y="3833876"/>
            <a:ext cx="1950974" cy="269748"/>
          </a:xfrm>
          <a:custGeom>
            <a:avLst/>
            <a:gdLst/>
            <a:ahLst/>
            <a:cxnLst/>
            <a:rect l="l" t="t" r="r" b="b"/>
            <a:pathLst>
              <a:path w="1950974" h="269748">
                <a:moveTo>
                  <a:pt x="0" y="0"/>
                </a:moveTo>
                <a:lnTo>
                  <a:pt x="1598295" y="0"/>
                </a:lnTo>
                <a:lnTo>
                  <a:pt x="1950974" y="134874"/>
                </a:lnTo>
                <a:lnTo>
                  <a:pt x="1598295" y="269748"/>
                </a:lnTo>
                <a:lnTo>
                  <a:pt x="0" y="269748"/>
                </a:lnTo>
                <a:lnTo>
                  <a:pt x="0" y="0"/>
                </a:lnTo>
                <a:close/>
              </a:path>
            </a:pathLst>
          </a:custGeom>
          <a:ln w="25400">
            <a:solidFill>
              <a:srgbClr val="000000"/>
            </a:solidFill>
          </a:ln>
        </p:spPr>
        <p:txBody>
          <a:bodyPr wrap="square" lIns="0" tIns="0" rIns="0" bIns="0" rtlCol="0">
            <a:noAutofit/>
          </a:bodyPr>
          <a:lstStyle/>
          <a:p>
            <a:endParaRPr/>
          </a:p>
        </p:txBody>
      </p:sp>
      <p:sp>
        <p:nvSpPr>
          <p:cNvPr id="42" name="object 42"/>
          <p:cNvSpPr/>
          <p:nvPr/>
        </p:nvSpPr>
        <p:spPr>
          <a:xfrm>
            <a:off x="3443351" y="4643375"/>
            <a:ext cx="1950974" cy="269875"/>
          </a:xfrm>
          <a:prstGeom prst="rect">
            <a:avLst/>
          </a:prstGeom>
          <a:blipFill>
            <a:blip r:embed="rId8" cstate="print"/>
            <a:stretch>
              <a:fillRect/>
            </a:stretch>
          </a:blipFill>
        </p:spPr>
        <p:txBody>
          <a:bodyPr wrap="square" lIns="0" tIns="0" rIns="0" bIns="0" rtlCol="0">
            <a:noAutofit/>
          </a:bodyPr>
          <a:lstStyle/>
          <a:p>
            <a:endParaRPr/>
          </a:p>
        </p:txBody>
      </p:sp>
      <p:sp>
        <p:nvSpPr>
          <p:cNvPr id="43" name="object 43"/>
          <p:cNvSpPr/>
          <p:nvPr/>
        </p:nvSpPr>
        <p:spPr>
          <a:xfrm>
            <a:off x="3443351" y="4643375"/>
            <a:ext cx="1950974" cy="269875"/>
          </a:xfrm>
          <a:custGeom>
            <a:avLst/>
            <a:gdLst/>
            <a:ahLst/>
            <a:cxnLst/>
            <a:rect l="l" t="t" r="r" b="b"/>
            <a:pathLst>
              <a:path w="1950974" h="269875">
                <a:moveTo>
                  <a:pt x="0" y="0"/>
                </a:moveTo>
                <a:lnTo>
                  <a:pt x="1598295" y="0"/>
                </a:lnTo>
                <a:lnTo>
                  <a:pt x="1950974" y="135000"/>
                </a:lnTo>
                <a:lnTo>
                  <a:pt x="1598295" y="269875"/>
                </a:lnTo>
                <a:lnTo>
                  <a:pt x="0" y="269875"/>
                </a:lnTo>
                <a:lnTo>
                  <a:pt x="0" y="0"/>
                </a:lnTo>
                <a:close/>
              </a:path>
            </a:pathLst>
          </a:custGeom>
          <a:ln w="25400">
            <a:solidFill>
              <a:srgbClr val="000000"/>
            </a:solidFill>
          </a:ln>
        </p:spPr>
        <p:txBody>
          <a:bodyPr wrap="square" lIns="0" tIns="0" rIns="0" bIns="0" rtlCol="0">
            <a:noAutofit/>
          </a:bodyPr>
          <a:lstStyle/>
          <a:p>
            <a:endParaRPr/>
          </a:p>
        </p:txBody>
      </p:sp>
      <p:sp>
        <p:nvSpPr>
          <p:cNvPr id="44" name="object 44"/>
          <p:cNvSpPr/>
          <p:nvPr/>
        </p:nvSpPr>
        <p:spPr>
          <a:xfrm>
            <a:off x="2443162" y="3709924"/>
            <a:ext cx="1665224" cy="520700"/>
          </a:xfrm>
          <a:prstGeom prst="rect">
            <a:avLst/>
          </a:prstGeom>
          <a:blipFill>
            <a:blip r:embed="rId9" cstate="print"/>
            <a:stretch>
              <a:fillRect/>
            </a:stretch>
          </a:blipFill>
        </p:spPr>
        <p:txBody>
          <a:bodyPr wrap="square" lIns="0" tIns="0" rIns="0" bIns="0" rtlCol="0">
            <a:noAutofit/>
          </a:bodyPr>
          <a:lstStyle/>
          <a:p>
            <a:endParaRPr/>
          </a:p>
        </p:txBody>
      </p:sp>
      <p:sp>
        <p:nvSpPr>
          <p:cNvPr id="45" name="object 45"/>
          <p:cNvSpPr/>
          <p:nvPr/>
        </p:nvSpPr>
        <p:spPr>
          <a:xfrm>
            <a:off x="2443162" y="3709924"/>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46" name="object 46"/>
          <p:cNvSpPr/>
          <p:nvPr/>
        </p:nvSpPr>
        <p:spPr>
          <a:xfrm>
            <a:off x="2619757" y="3710940"/>
            <a:ext cx="1339595" cy="461772"/>
          </a:xfrm>
          <a:prstGeom prst="rect">
            <a:avLst/>
          </a:prstGeom>
          <a:blipFill>
            <a:blip r:embed="rId10" cstate="print"/>
            <a:stretch>
              <a:fillRect/>
            </a:stretch>
          </a:blipFill>
        </p:spPr>
        <p:txBody>
          <a:bodyPr wrap="square" lIns="0" tIns="0" rIns="0" bIns="0" rtlCol="0">
            <a:noAutofit/>
          </a:bodyPr>
          <a:lstStyle/>
          <a:p>
            <a:endParaRPr/>
          </a:p>
        </p:txBody>
      </p:sp>
      <p:sp>
        <p:nvSpPr>
          <p:cNvPr id="47" name="object 47"/>
          <p:cNvSpPr/>
          <p:nvPr/>
        </p:nvSpPr>
        <p:spPr>
          <a:xfrm>
            <a:off x="3581401" y="3710940"/>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48" name="object 48"/>
          <p:cNvSpPr/>
          <p:nvPr/>
        </p:nvSpPr>
        <p:spPr>
          <a:xfrm>
            <a:off x="2443162" y="4519549"/>
            <a:ext cx="1665224" cy="520700"/>
          </a:xfrm>
          <a:prstGeom prst="rect">
            <a:avLst/>
          </a:prstGeom>
          <a:blipFill>
            <a:blip r:embed="rId11" cstate="print"/>
            <a:stretch>
              <a:fillRect/>
            </a:stretch>
          </a:blipFill>
        </p:spPr>
        <p:txBody>
          <a:bodyPr wrap="square" lIns="0" tIns="0" rIns="0" bIns="0" rtlCol="0">
            <a:noAutofit/>
          </a:bodyPr>
          <a:lstStyle/>
          <a:p>
            <a:endParaRPr/>
          </a:p>
        </p:txBody>
      </p:sp>
      <p:sp>
        <p:nvSpPr>
          <p:cNvPr id="49" name="object 49"/>
          <p:cNvSpPr/>
          <p:nvPr/>
        </p:nvSpPr>
        <p:spPr>
          <a:xfrm>
            <a:off x="2443162" y="4519549"/>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50" name="object 50"/>
          <p:cNvSpPr/>
          <p:nvPr/>
        </p:nvSpPr>
        <p:spPr>
          <a:xfrm>
            <a:off x="2619757" y="4521709"/>
            <a:ext cx="1339595" cy="461771"/>
          </a:xfrm>
          <a:prstGeom prst="rect">
            <a:avLst/>
          </a:prstGeom>
          <a:blipFill>
            <a:blip r:embed="rId12" cstate="print"/>
            <a:stretch>
              <a:fillRect/>
            </a:stretch>
          </a:blipFill>
        </p:spPr>
        <p:txBody>
          <a:bodyPr wrap="square" lIns="0" tIns="0" rIns="0" bIns="0" rtlCol="0">
            <a:noAutofit/>
          </a:bodyPr>
          <a:lstStyle/>
          <a:p>
            <a:endParaRPr/>
          </a:p>
        </p:txBody>
      </p:sp>
      <p:sp>
        <p:nvSpPr>
          <p:cNvPr id="51" name="object 51"/>
          <p:cNvSpPr/>
          <p:nvPr/>
        </p:nvSpPr>
        <p:spPr>
          <a:xfrm>
            <a:off x="3581401" y="4521709"/>
            <a:ext cx="455675" cy="461771"/>
          </a:xfrm>
          <a:prstGeom prst="rect">
            <a:avLst/>
          </a:prstGeom>
          <a:blipFill>
            <a:blip r:embed="rId5" cstate="print"/>
            <a:stretch>
              <a:fillRect/>
            </a:stretch>
          </a:blipFill>
        </p:spPr>
        <p:txBody>
          <a:bodyPr wrap="square" lIns="0" tIns="0" rIns="0" bIns="0" rtlCol="0">
            <a:noAutofit/>
          </a:bodyPr>
          <a:lstStyle/>
          <a:p>
            <a:endParaRPr/>
          </a:p>
        </p:txBody>
      </p:sp>
      <p:sp>
        <p:nvSpPr>
          <p:cNvPr id="52" name="object 52"/>
          <p:cNvSpPr/>
          <p:nvPr/>
        </p:nvSpPr>
        <p:spPr>
          <a:xfrm>
            <a:off x="3443351" y="5453127"/>
            <a:ext cx="1950974" cy="269811"/>
          </a:xfrm>
          <a:prstGeom prst="rect">
            <a:avLst/>
          </a:prstGeom>
          <a:blipFill>
            <a:blip r:embed="rId13" cstate="print"/>
            <a:stretch>
              <a:fillRect/>
            </a:stretch>
          </a:blipFill>
        </p:spPr>
        <p:txBody>
          <a:bodyPr wrap="square" lIns="0" tIns="0" rIns="0" bIns="0" rtlCol="0">
            <a:noAutofit/>
          </a:bodyPr>
          <a:lstStyle/>
          <a:p>
            <a:endParaRPr/>
          </a:p>
        </p:txBody>
      </p:sp>
      <p:sp>
        <p:nvSpPr>
          <p:cNvPr id="53" name="object 53"/>
          <p:cNvSpPr/>
          <p:nvPr/>
        </p:nvSpPr>
        <p:spPr>
          <a:xfrm>
            <a:off x="3443351" y="5453127"/>
            <a:ext cx="1950974" cy="269811"/>
          </a:xfrm>
          <a:custGeom>
            <a:avLst/>
            <a:gdLst/>
            <a:ahLst/>
            <a:cxnLst/>
            <a:rect l="l" t="t" r="r" b="b"/>
            <a:pathLst>
              <a:path w="1950974" h="269811">
                <a:moveTo>
                  <a:pt x="0" y="0"/>
                </a:moveTo>
                <a:lnTo>
                  <a:pt x="1598295" y="0"/>
                </a:lnTo>
                <a:lnTo>
                  <a:pt x="1950974" y="134874"/>
                </a:lnTo>
                <a:lnTo>
                  <a:pt x="1598295" y="269811"/>
                </a:lnTo>
                <a:lnTo>
                  <a:pt x="0" y="269811"/>
                </a:lnTo>
                <a:lnTo>
                  <a:pt x="0" y="0"/>
                </a:lnTo>
                <a:close/>
              </a:path>
            </a:pathLst>
          </a:custGeom>
          <a:ln w="25400">
            <a:solidFill>
              <a:srgbClr val="000000"/>
            </a:solidFill>
          </a:ln>
        </p:spPr>
        <p:txBody>
          <a:bodyPr wrap="square" lIns="0" tIns="0" rIns="0" bIns="0" rtlCol="0">
            <a:noAutofit/>
          </a:bodyPr>
          <a:lstStyle/>
          <a:p>
            <a:endParaRPr/>
          </a:p>
        </p:txBody>
      </p:sp>
      <p:sp>
        <p:nvSpPr>
          <p:cNvPr id="54" name="object 54"/>
          <p:cNvSpPr/>
          <p:nvPr/>
        </p:nvSpPr>
        <p:spPr>
          <a:xfrm>
            <a:off x="2443162" y="5329237"/>
            <a:ext cx="1665224" cy="520700"/>
          </a:xfrm>
          <a:prstGeom prst="rect">
            <a:avLst/>
          </a:prstGeom>
          <a:blipFill>
            <a:blip r:embed="rId14" cstate="print"/>
            <a:stretch>
              <a:fillRect/>
            </a:stretch>
          </a:blipFill>
        </p:spPr>
        <p:txBody>
          <a:bodyPr wrap="square" lIns="0" tIns="0" rIns="0" bIns="0" rtlCol="0">
            <a:noAutofit/>
          </a:bodyPr>
          <a:lstStyle/>
          <a:p>
            <a:endParaRPr/>
          </a:p>
        </p:txBody>
      </p:sp>
      <p:sp>
        <p:nvSpPr>
          <p:cNvPr id="55" name="object 55"/>
          <p:cNvSpPr/>
          <p:nvPr/>
        </p:nvSpPr>
        <p:spPr>
          <a:xfrm>
            <a:off x="2443162" y="5329237"/>
            <a:ext cx="1665224" cy="520700"/>
          </a:xfrm>
          <a:custGeom>
            <a:avLst/>
            <a:gdLst/>
            <a:ahLst/>
            <a:cxnLst/>
            <a:rect l="l" t="t" r="r" b="b"/>
            <a:pathLst>
              <a:path w="1665224" h="520700">
                <a:moveTo>
                  <a:pt x="0" y="520700"/>
                </a:moveTo>
                <a:lnTo>
                  <a:pt x="1665224" y="520700"/>
                </a:lnTo>
                <a:lnTo>
                  <a:pt x="1665224" y="0"/>
                </a:lnTo>
                <a:lnTo>
                  <a:pt x="0" y="0"/>
                </a:lnTo>
                <a:lnTo>
                  <a:pt x="0" y="520700"/>
                </a:lnTo>
                <a:close/>
              </a:path>
            </a:pathLst>
          </a:custGeom>
          <a:ln w="25400">
            <a:solidFill>
              <a:srgbClr val="000000"/>
            </a:solidFill>
          </a:ln>
        </p:spPr>
        <p:txBody>
          <a:bodyPr wrap="square" lIns="0" tIns="0" rIns="0" bIns="0" rtlCol="0">
            <a:noAutofit/>
          </a:bodyPr>
          <a:lstStyle/>
          <a:p>
            <a:endParaRPr/>
          </a:p>
        </p:txBody>
      </p:sp>
      <p:sp>
        <p:nvSpPr>
          <p:cNvPr id="56" name="object 56"/>
          <p:cNvSpPr/>
          <p:nvPr/>
        </p:nvSpPr>
        <p:spPr>
          <a:xfrm>
            <a:off x="2619757" y="5330952"/>
            <a:ext cx="1339595" cy="461772"/>
          </a:xfrm>
          <a:prstGeom prst="rect">
            <a:avLst/>
          </a:prstGeom>
          <a:blipFill>
            <a:blip r:embed="rId15" cstate="print"/>
            <a:stretch>
              <a:fillRect/>
            </a:stretch>
          </a:blipFill>
        </p:spPr>
        <p:txBody>
          <a:bodyPr wrap="square" lIns="0" tIns="0" rIns="0" bIns="0" rtlCol="0">
            <a:noAutofit/>
          </a:bodyPr>
          <a:lstStyle/>
          <a:p>
            <a:endParaRPr/>
          </a:p>
        </p:txBody>
      </p:sp>
      <p:sp>
        <p:nvSpPr>
          <p:cNvPr id="57" name="object 57"/>
          <p:cNvSpPr/>
          <p:nvPr/>
        </p:nvSpPr>
        <p:spPr>
          <a:xfrm>
            <a:off x="3581401" y="5330952"/>
            <a:ext cx="455675" cy="461772"/>
          </a:xfrm>
          <a:prstGeom prst="rect">
            <a:avLst/>
          </a:prstGeom>
          <a:blipFill>
            <a:blip r:embed="rId5" cstate="print"/>
            <a:stretch>
              <a:fillRect/>
            </a:stretch>
          </a:blipFill>
        </p:spPr>
        <p:txBody>
          <a:bodyPr wrap="square" lIns="0" tIns="0" rIns="0" bIns="0" rtlCol="0">
            <a:noAutofit/>
          </a:bodyPr>
          <a:lstStyle/>
          <a:p>
            <a:endParaRPr/>
          </a:p>
        </p:txBody>
      </p:sp>
      <p:sp>
        <p:nvSpPr>
          <p:cNvPr id="36" name="object 36"/>
          <p:cNvSpPr/>
          <p:nvPr/>
        </p:nvSpPr>
        <p:spPr>
          <a:xfrm>
            <a:off x="5549900" y="1143000"/>
            <a:ext cx="4889500" cy="2286000"/>
          </a:xfrm>
          <a:custGeom>
            <a:avLst/>
            <a:gdLst/>
            <a:ahLst/>
            <a:cxnLst/>
            <a:rect l="l" t="t" r="r" b="b"/>
            <a:pathLst>
              <a:path w="4889500" h="2286000">
                <a:moveTo>
                  <a:pt x="0" y="2286000"/>
                </a:moveTo>
                <a:lnTo>
                  <a:pt x="4889500" y="2286000"/>
                </a:lnTo>
                <a:lnTo>
                  <a:pt x="4889500" y="0"/>
                </a:lnTo>
                <a:lnTo>
                  <a:pt x="0" y="0"/>
                </a:lnTo>
                <a:lnTo>
                  <a:pt x="0" y="2286000"/>
                </a:lnTo>
                <a:close/>
              </a:path>
            </a:pathLst>
          </a:custGeom>
          <a:solidFill>
            <a:srgbClr val="FDC5FD"/>
          </a:solidFill>
        </p:spPr>
        <p:txBody>
          <a:bodyPr wrap="square" lIns="0" tIns="0" rIns="0" bIns="0" rtlCol="0">
            <a:noAutofit/>
          </a:bodyPr>
          <a:lstStyle/>
          <a:p>
            <a:endParaRPr/>
          </a:p>
        </p:txBody>
      </p:sp>
      <p:sp>
        <p:nvSpPr>
          <p:cNvPr id="37" name="object 37"/>
          <p:cNvSpPr/>
          <p:nvPr/>
        </p:nvSpPr>
        <p:spPr>
          <a:xfrm>
            <a:off x="5549900" y="1143000"/>
            <a:ext cx="4889500" cy="2286000"/>
          </a:xfrm>
          <a:custGeom>
            <a:avLst/>
            <a:gdLst/>
            <a:ahLst/>
            <a:cxnLst/>
            <a:rect l="l" t="t" r="r" b="b"/>
            <a:pathLst>
              <a:path w="4889500" h="2286000">
                <a:moveTo>
                  <a:pt x="0" y="2286000"/>
                </a:moveTo>
                <a:lnTo>
                  <a:pt x="4889500" y="2286000"/>
                </a:lnTo>
                <a:lnTo>
                  <a:pt x="4889500" y="0"/>
                </a:lnTo>
                <a:lnTo>
                  <a:pt x="0" y="0"/>
                </a:lnTo>
                <a:lnTo>
                  <a:pt x="0" y="2286000"/>
                </a:lnTo>
                <a:close/>
              </a:path>
            </a:pathLst>
          </a:custGeom>
          <a:ln w="25400">
            <a:solidFill>
              <a:srgbClr val="000000"/>
            </a:solidFill>
          </a:ln>
        </p:spPr>
        <p:txBody>
          <a:bodyPr wrap="square" lIns="0" tIns="0" rIns="0" bIns="0" rtlCol="0">
            <a:noAutofit/>
          </a:bodyPr>
          <a:lstStyle/>
          <a:p>
            <a:endParaRPr/>
          </a:p>
        </p:txBody>
      </p:sp>
      <p:sp>
        <p:nvSpPr>
          <p:cNvPr id="34" name="object 34"/>
          <p:cNvSpPr/>
          <p:nvPr/>
        </p:nvSpPr>
        <p:spPr>
          <a:xfrm>
            <a:off x="5562600" y="3657600"/>
            <a:ext cx="4800600" cy="2362200"/>
          </a:xfrm>
          <a:custGeom>
            <a:avLst/>
            <a:gdLst/>
            <a:ahLst/>
            <a:cxnLst/>
            <a:rect l="l" t="t" r="r" b="b"/>
            <a:pathLst>
              <a:path w="4800600" h="2362200">
                <a:moveTo>
                  <a:pt x="0" y="2362200"/>
                </a:moveTo>
                <a:lnTo>
                  <a:pt x="4800600" y="2362200"/>
                </a:lnTo>
                <a:lnTo>
                  <a:pt x="4800600" y="0"/>
                </a:lnTo>
                <a:lnTo>
                  <a:pt x="0" y="0"/>
                </a:lnTo>
                <a:lnTo>
                  <a:pt x="0" y="2362200"/>
                </a:lnTo>
                <a:close/>
              </a:path>
            </a:pathLst>
          </a:custGeom>
          <a:solidFill>
            <a:srgbClr val="FDC5FD"/>
          </a:solidFill>
        </p:spPr>
        <p:txBody>
          <a:bodyPr wrap="square" lIns="0" tIns="0" rIns="0" bIns="0" rtlCol="0">
            <a:noAutofit/>
          </a:bodyPr>
          <a:lstStyle/>
          <a:p>
            <a:endParaRPr/>
          </a:p>
        </p:txBody>
      </p:sp>
      <p:sp>
        <p:nvSpPr>
          <p:cNvPr id="35" name="object 35"/>
          <p:cNvSpPr/>
          <p:nvPr/>
        </p:nvSpPr>
        <p:spPr>
          <a:xfrm>
            <a:off x="5562600" y="3657600"/>
            <a:ext cx="4800600" cy="2362200"/>
          </a:xfrm>
          <a:custGeom>
            <a:avLst/>
            <a:gdLst/>
            <a:ahLst/>
            <a:cxnLst/>
            <a:rect l="l" t="t" r="r" b="b"/>
            <a:pathLst>
              <a:path w="4800600" h="2362200">
                <a:moveTo>
                  <a:pt x="0" y="2362200"/>
                </a:moveTo>
                <a:lnTo>
                  <a:pt x="4800600" y="2362200"/>
                </a:lnTo>
                <a:lnTo>
                  <a:pt x="4800600" y="0"/>
                </a:lnTo>
                <a:lnTo>
                  <a:pt x="0" y="0"/>
                </a:lnTo>
                <a:lnTo>
                  <a:pt x="0" y="2362200"/>
                </a:lnTo>
                <a:close/>
              </a:path>
            </a:pathLst>
          </a:custGeom>
          <a:ln w="25400">
            <a:solidFill>
              <a:srgbClr val="000000"/>
            </a:solidFill>
          </a:ln>
        </p:spPr>
        <p:txBody>
          <a:bodyPr wrap="square" lIns="0" tIns="0" rIns="0" bIns="0" rtlCol="0">
            <a:noAutofit/>
          </a:bodyPr>
          <a:lstStyle/>
          <a:p>
            <a:endParaRPr/>
          </a:p>
        </p:txBody>
      </p:sp>
      <p:sp>
        <p:nvSpPr>
          <p:cNvPr id="29" name="object 29"/>
          <p:cNvSpPr txBox="1"/>
          <p:nvPr/>
        </p:nvSpPr>
        <p:spPr>
          <a:xfrm>
            <a:off x="2860102" y="3836231"/>
            <a:ext cx="563103"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tem</a:t>
            </a:r>
            <a:endParaRPr sz="2200">
              <a:latin typeface="Arial"/>
              <a:cs typeface="Arial"/>
            </a:endParaRPr>
          </a:p>
        </p:txBody>
      </p:sp>
      <p:sp>
        <p:nvSpPr>
          <p:cNvPr id="28" name="object 28"/>
          <p:cNvSpPr txBox="1"/>
          <p:nvPr/>
        </p:nvSpPr>
        <p:spPr>
          <a:xfrm>
            <a:off x="3432947" y="3836231"/>
            <a:ext cx="377361"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10</a:t>
            </a:r>
            <a:endParaRPr sz="2200">
              <a:latin typeface="Arial"/>
              <a:cs typeface="Arial"/>
            </a:endParaRPr>
          </a:p>
        </p:txBody>
      </p:sp>
      <p:sp>
        <p:nvSpPr>
          <p:cNvPr id="27" name="object 27"/>
          <p:cNvSpPr txBox="1"/>
          <p:nvPr/>
        </p:nvSpPr>
        <p:spPr>
          <a:xfrm>
            <a:off x="2860102" y="4645729"/>
            <a:ext cx="563103"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tem</a:t>
            </a:r>
            <a:endParaRPr sz="2200">
              <a:latin typeface="Arial"/>
              <a:cs typeface="Arial"/>
            </a:endParaRPr>
          </a:p>
        </p:txBody>
      </p:sp>
      <p:sp>
        <p:nvSpPr>
          <p:cNvPr id="26" name="object 26"/>
          <p:cNvSpPr txBox="1"/>
          <p:nvPr/>
        </p:nvSpPr>
        <p:spPr>
          <a:xfrm>
            <a:off x="3432947" y="4645729"/>
            <a:ext cx="377361" cy="304292"/>
          </a:xfrm>
          <a:prstGeom prst="rect">
            <a:avLst/>
          </a:prstGeom>
        </p:spPr>
        <p:txBody>
          <a:bodyPr wrap="square" lIns="0" tIns="0" rIns="0" bIns="0" rtlCol="0">
            <a:noAutofit/>
          </a:bodyPr>
          <a:lstStyle/>
          <a:p>
            <a:pPr marL="12700">
              <a:lnSpc>
                <a:spcPts val="2345"/>
              </a:lnSpc>
              <a:spcBef>
                <a:spcPts val="117"/>
              </a:spcBef>
            </a:pPr>
            <a:r>
              <a:rPr sz="2200" b="1" dirty="0">
                <a:solidFill>
                  <a:srgbClr val="FFFFFF"/>
                </a:solidFill>
                <a:latin typeface="Arial"/>
                <a:cs typeface="Arial"/>
              </a:rPr>
              <a:t>20</a:t>
            </a:r>
            <a:endParaRPr sz="2200">
              <a:latin typeface="Arial"/>
              <a:cs typeface="Arial"/>
            </a:endParaRPr>
          </a:p>
        </p:txBody>
      </p:sp>
      <p:sp>
        <p:nvSpPr>
          <p:cNvPr id="23" name="object 23"/>
          <p:cNvSpPr txBox="1"/>
          <p:nvPr/>
        </p:nvSpPr>
        <p:spPr>
          <a:xfrm>
            <a:off x="5562600" y="3657600"/>
            <a:ext cx="4800600" cy="2362200"/>
          </a:xfrm>
          <a:prstGeom prst="rect">
            <a:avLst/>
          </a:prstGeom>
        </p:spPr>
        <p:txBody>
          <a:bodyPr wrap="square" lIns="0" tIns="0" rIns="0" bIns="0" rtlCol="0">
            <a:noAutofit/>
          </a:bodyPr>
          <a:lstStyle/>
          <a:p>
            <a:pPr marL="435483" indent="-342900">
              <a:lnSpc>
                <a:spcPct val="95825"/>
              </a:lnSpc>
              <a:spcBef>
                <a:spcPts val="190"/>
              </a:spcBef>
              <a:buClr>
                <a:srgbClr val="00B0F0"/>
              </a:buClr>
              <a:buFont typeface="Wingdings" panose="05000000000000000000" pitchFamily="2" charset="2"/>
              <a:buChar char="§"/>
            </a:pPr>
            <a:r>
              <a:rPr sz="1600" spc="-109" dirty="0">
                <a:cs typeface="Arial"/>
              </a:rPr>
              <a:t>Valid for Each Item:</a:t>
            </a:r>
          </a:p>
          <a:p>
            <a:pPr marL="892683" lvl="1" indent="-342900">
              <a:spcBef>
                <a:spcPts val="230"/>
              </a:spcBef>
              <a:buClr>
                <a:srgbClr val="C00000"/>
              </a:buClr>
              <a:buFont typeface="Wingdings" panose="05000000000000000000" pitchFamily="2" charset="2"/>
              <a:buChar char="§"/>
            </a:pPr>
            <a:r>
              <a:rPr sz="1600" dirty="0">
                <a:cs typeface="Arial"/>
              </a:rPr>
              <a:t>Material number</a:t>
            </a:r>
            <a:endParaRPr lang="en-US" sz="1600" dirty="0">
              <a:cs typeface="Arial"/>
            </a:endParaRPr>
          </a:p>
          <a:p>
            <a:pPr marL="892683" lvl="1" indent="-342900">
              <a:spcBef>
                <a:spcPts val="230"/>
              </a:spcBef>
              <a:buClr>
                <a:srgbClr val="C00000"/>
              </a:buClr>
              <a:buFont typeface="Wingdings" panose="05000000000000000000" pitchFamily="2" charset="2"/>
              <a:buChar char="§"/>
            </a:pPr>
            <a:r>
              <a:rPr sz="1600" dirty="0">
                <a:cs typeface="Arial"/>
              </a:rPr>
              <a:t>Billing Quantity</a:t>
            </a:r>
          </a:p>
          <a:p>
            <a:pPr marL="892683" lvl="1" indent="-342900">
              <a:spcBef>
                <a:spcPts val="100"/>
              </a:spcBef>
              <a:buClr>
                <a:srgbClr val="C00000"/>
              </a:buClr>
              <a:buFont typeface="Wingdings" panose="05000000000000000000" pitchFamily="2" charset="2"/>
              <a:buChar char="§"/>
            </a:pPr>
            <a:r>
              <a:rPr sz="1600" dirty="0">
                <a:cs typeface="Arial"/>
              </a:rPr>
              <a:t>Pricing for an individual item</a:t>
            </a:r>
          </a:p>
          <a:p>
            <a:pPr marL="892683" lvl="1" indent="-342900">
              <a:spcBef>
                <a:spcPts val="100"/>
              </a:spcBef>
              <a:buClr>
                <a:srgbClr val="C00000"/>
              </a:buClr>
              <a:buFont typeface="Wingdings" panose="05000000000000000000" pitchFamily="2" charset="2"/>
              <a:buChar char="§"/>
            </a:pPr>
            <a:r>
              <a:rPr sz="1600" dirty="0">
                <a:cs typeface="Arial"/>
              </a:rPr>
              <a:t>Weight and Volume</a:t>
            </a:r>
          </a:p>
          <a:p>
            <a:pPr marL="892683" lvl="1" indent="-342900">
              <a:spcBef>
                <a:spcPts val="100"/>
              </a:spcBef>
              <a:buClr>
                <a:srgbClr val="C00000"/>
              </a:buClr>
              <a:buFont typeface="Wingdings" panose="05000000000000000000" pitchFamily="2" charset="2"/>
              <a:buChar char="§"/>
            </a:pPr>
            <a:r>
              <a:rPr sz="1600" dirty="0">
                <a:cs typeface="Arial"/>
              </a:rPr>
              <a:t>Number of reference document</a:t>
            </a:r>
            <a:r>
              <a:rPr lang="en-US" sz="1600" dirty="0">
                <a:cs typeface="Arial"/>
              </a:rPr>
              <a:t> for billing document</a:t>
            </a:r>
            <a:endParaRPr sz="1600" dirty="0">
              <a:cs typeface="Arial"/>
            </a:endParaRPr>
          </a:p>
        </p:txBody>
      </p:sp>
      <p:sp>
        <p:nvSpPr>
          <p:cNvPr id="22" name="object 22"/>
          <p:cNvSpPr txBox="1"/>
          <p:nvPr/>
        </p:nvSpPr>
        <p:spPr>
          <a:xfrm>
            <a:off x="2443162" y="2379726"/>
            <a:ext cx="428688" cy="1330198"/>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2871851" y="2379726"/>
            <a:ext cx="831850" cy="1330198"/>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3703702" y="2379726"/>
            <a:ext cx="404685" cy="1330198"/>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2443162" y="3709924"/>
            <a:ext cx="522510" cy="520700"/>
          </a:xfrm>
          <a:prstGeom prst="rect">
            <a:avLst/>
          </a:prstGeom>
        </p:spPr>
        <p:txBody>
          <a:bodyPr wrap="square" lIns="0" tIns="0" rIns="0" bIns="0" rtlCol="0">
            <a:noAutofit/>
          </a:bodyPr>
          <a:lstStyle/>
          <a:p>
            <a:pPr marR="93822">
              <a:lnSpc>
                <a:spcPts val="800"/>
              </a:lnSpc>
              <a:spcBef>
                <a:spcPts val="10"/>
              </a:spcBef>
            </a:pPr>
            <a:endParaRPr sz="800"/>
          </a:p>
          <a:p>
            <a:pPr algn="r">
              <a:lnSpc>
                <a:spcPct val="95825"/>
              </a:lnSpc>
            </a:pPr>
            <a:r>
              <a:rPr sz="2200" b="1" dirty="0">
                <a:solidFill>
                  <a:srgbClr val="FFFFFF"/>
                </a:solidFill>
                <a:latin typeface="Arial"/>
                <a:cs typeface="Arial"/>
              </a:rPr>
              <a:t>I</a:t>
            </a:r>
            <a:endParaRPr sz="2200">
              <a:latin typeface="Arial"/>
              <a:cs typeface="Arial"/>
            </a:endParaRPr>
          </a:p>
        </p:txBody>
      </p:sp>
      <p:sp>
        <p:nvSpPr>
          <p:cNvPr id="18" name="object 18"/>
          <p:cNvSpPr txBox="1"/>
          <p:nvPr/>
        </p:nvSpPr>
        <p:spPr>
          <a:xfrm>
            <a:off x="2871851" y="3709924"/>
            <a:ext cx="831850" cy="520700"/>
          </a:xfrm>
          <a:prstGeom prst="rect">
            <a:avLst/>
          </a:prstGeom>
        </p:spPr>
        <p:txBody>
          <a:bodyPr wrap="square" lIns="0" tIns="0" rIns="0" bIns="0" rtlCol="0">
            <a:noAutofit/>
          </a:bodyPr>
          <a:lstStyle/>
          <a:p>
            <a:pPr>
              <a:lnSpc>
                <a:spcPts val="800"/>
              </a:lnSpc>
              <a:spcBef>
                <a:spcPts val="10"/>
              </a:spcBef>
            </a:pPr>
            <a:endParaRPr sz="800"/>
          </a:p>
          <a:p>
            <a:pPr marL="950">
              <a:lnSpc>
                <a:spcPct val="95825"/>
              </a:lnSpc>
            </a:pPr>
            <a:r>
              <a:rPr sz="2200" b="1" dirty="0">
                <a:solidFill>
                  <a:srgbClr val="FFFFFF"/>
                </a:solidFill>
                <a:latin typeface="Arial"/>
                <a:cs typeface="Arial"/>
              </a:rPr>
              <a:t>tem</a:t>
            </a:r>
            <a:endParaRPr sz="2200">
              <a:latin typeface="Arial"/>
              <a:cs typeface="Arial"/>
            </a:endParaRPr>
          </a:p>
        </p:txBody>
      </p:sp>
      <p:sp>
        <p:nvSpPr>
          <p:cNvPr id="17" name="object 17"/>
          <p:cNvSpPr txBox="1"/>
          <p:nvPr/>
        </p:nvSpPr>
        <p:spPr>
          <a:xfrm>
            <a:off x="3703702" y="3709924"/>
            <a:ext cx="404685" cy="520700"/>
          </a:xfrm>
          <a:prstGeom prst="rect">
            <a:avLst/>
          </a:prstGeom>
        </p:spPr>
        <p:txBody>
          <a:bodyPr wrap="square" lIns="0" tIns="0" rIns="0" bIns="0" rtlCol="0">
            <a:noAutofit/>
          </a:bodyPr>
          <a:lstStyle/>
          <a:p>
            <a:pPr marL="25400">
              <a:lnSpc>
                <a:spcPts val="1000"/>
              </a:lnSpc>
            </a:pPr>
            <a:endParaRPr sz="1000"/>
          </a:p>
        </p:txBody>
      </p:sp>
      <p:sp>
        <p:nvSpPr>
          <p:cNvPr id="16" name="object 16"/>
          <p:cNvSpPr txBox="1"/>
          <p:nvPr/>
        </p:nvSpPr>
        <p:spPr>
          <a:xfrm>
            <a:off x="2443162" y="4230625"/>
            <a:ext cx="428688" cy="288925"/>
          </a:xfrm>
          <a:prstGeom prst="rect">
            <a:avLst/>
          </a:prstGeom>
        </p:spPr>
        <p:txBody>
          <a:bodyPr wrap="square" lIns="0" tIns="0" rIns="0" bIns="0" rtlCol="0">
            <a:noAutofit/>
          </a:bodyPr>
          <a:lstStyle/>
          <a:p>
            <a:pPr marL="25400">
              <a:lnSpc>
                <a:spcPts val="1000"/>
              </a:lnSpc>
            </a:pPr>
            <a:endParaRPr sz="1000"/>
          </a:p>
        </p:txBody>
      </p:sp>
      <p:sp>
        <p:nvSpPr>
          <p:cNvPr id="15" name="object 15"/>
          <p:cNvSpPr txBox="1"/>
          <p:nvPr/>
        </p:nvSpPr>
        <p:spPr>
          <a:xfrm>
            <a:off x="2871851" y="4230625"/>
            <a:ext cx="831850" cy="288925"/>
          </a:xfrm>
          <a:prstGeom prst="rect">
            <a:avLst/>
          </a:prstGeom>
        </p:spPr>
        <p:txBody>
          <a:bodyPr wrap="square" lIns="0" tIns="0" rIns="0" bIns="0" rtlCol="0">
            <a:noAutofit/>
          </a:bodyPr>
          <a:lstStyle/>
          <a:p>
            <a:pPr marL="25400">
              <a:lnSpc>
                <a:spcPts val="1000"/>
              </a:lnSpc>
            </a:pPr>
            <a:endParaRPr sz="1000"/>
          </a:p>
        </p:txBody>
      </p:sp>
      <p:sp>
        <p:nvSpPr>
          <p:cNvPr id="14" name="object 14"/>
          <p:cNvSpPr txBox="1"/>
          <p:nvPr/>
        </p:nvSpPr>
        <p:spPr>
          <a:xfrm>
            <a:off x="3703702" y="4230625"/>
            <a:ext cx="404685" cy="288925"/>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2443162" y="4519549"/>
            <a:ext cx="522510" cy="520700"/>
          </a:xfrm>
          <a:prstGeom prst="rect">
            <a:avLst/>
          </a:prstGeom>
        </p:spPr>
        <p:txBody>
          <a:bodyPr wrap="square" lIns="0" tIns="0" rIns="0" bIns="0" rtlCol="0">
            <a:noAutofit/>
          </a:bodyPr>
          <a:lstStyle/>
          <a:p>
            <a:pPr marR="93822">
              <a:lnSpc>
                <a:spcPts val="800"/>
              </a:lnSpc>
              <a:spcBef>
                <a:spcPts val="9"/>
              </a:spcBef>
            </a:pPr>
            <a:endParaRPr sz="800"/>
          </a:p>
          <a:p>
            <a:pPr algn="r">
              <a:lnSpc>
                <a:spcPct val="95825"/>
              </a:lnSpc>
            </a:pPr>
            <a:r>
              <a:rPr sz="2200" b="1" dirty="0">
                <a:solidFill>
                  <a:srgbClr val="FFFFFF"/>
                </a:solidFill>
                <a:latin typeface="Arial"/>
                <a:cs typeface="Arial"/>
              </a:rPr>
              <a:t>I</a:t>
            </a:r>
            <a:endParaRPr sz="2200">
              <a:latin typeface="Arial"/>
              <a:cs typeface="Arial"/>
            </a:endParaRPr>
          </a:p>
        </p:txBody>
      </p:sp>
      <p:sp>
        <p:nvSpPr>
          <p:cNvPr id="12" name="object 12"/>
          <p:cNvSpPr txBox="1"/>
          <p:nvPr/>
        </p:nvSpPr>
        <p:spPr>
          <a:xfrm>
            <a:off x="2871851" y="4519549"/>
            <a:ext cx="831850" cy="520700"/>
          </a:xfrm>
          <a:prstGeom prst="rect">
            <a:avLst/>
          </a:prstGeom>
        </p:spPr>
        <p:txBody>
          <a:bodyPr wrap="square" lIns="0" tIns="0" rIns="0" bIns="0" rtlCol="0">
            <a:noAutofit/>
          </a:bodyPr>
          <a:lstStyle/>
          <a:p>
            <a:pPr>
              <a:lnSpc>
                <a:spcPts val="800"/>
              </a:lnSpc>
              <a:spcBef>
                <a:spcPts val="9"/>
              </a:spcBef>
            </a:pPr>
            <a:endParaRPr sz="800"/>
          </a:p>
          <a:p>
            <a:pPr marL="950">
              <a:lnSpc>
                <a:spcPct val="95825"/>
              </a:lnSpc>
            </a:pPr>
            <a:r>
              <a:rPr sz="2200" b="1" dirty="0">
                <a:solidFill>
                  <a:srgbClr val="FFFFFF"/>
                </a:solidFill>
                <a:latin typeface="Arial"/>
                <a:cs typeface="Arial"/>
              </a:rPr>
              <a:t>tem</a:t>
            </a:r>
            <a:endParaRPr sz="2200">
              <a:latin typeface="Arial"/>
              <a:cs typeface="Arial"/>
            </a:endParaRPr>
          </a:p>
        </p:txBody>
      </p:sp>
      <p:sp>
        <p:nvSpPr>
          <p:cNvPr id="11" name="object 11"/>
          <p:cNvSpPr txBox="1"/>
          <p:nvPr/>
        </p:nvSpPr>
        <p:spPr>
          <a:xfrm>
            <a:off x="3703702" y="4519549"/>
            <a:ext cx="404685" cy="520700"/>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2443162" y="5040249"/>
            <a:ext cx="428688" cy="288988"/>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2871851" y="5040249"/>
            <a:ext cx="831850" cy="288988"/>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3703702" y="5040249"/>
            <a:ext cx="404685" cy="288988"/>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2443162" y="5329238"/>
            <a:ext cx="428688"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6" name="object 6"/>
          <p:cNvSpPr txBox="1"/>
          <p:nvPr/>
        </p:nvSpPr>
        <p:spPr>
          <a:xfrm>
            <a:off x="2871851" y="5329238"/>
            <a:ext cx="831850"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5" name="object 5"/>
          <p:cNvSpPr txBox="1"/>
          <p:nvPr/>
        </p:nvSpPr>
        <p:spPr>
          <a:xfrm>
            <a:off x="3703702" y="5329238"/>
            <a:ext cx="404685" cy="65087"/>
          </a:xfrm>
          <a:prstGeom prst="rect">
            <a:avLst/>
          </a:prstGeom>
        </p:spPr>
        <p:txBody>
          <a:bodyPr wrap="square" lIns="0" tIns="0" rIns="0" bIns="0" rtlCol="0">
            <a:noAutofit/>
          </a:bodyPr>
          <a:lstStyle/>
          <a:p>
            <a:pPr marL="25400">
              <a:lnSpc>
                <a:spcPts val="500"/>
              </a:lnSpc>
              <a:spcBef>
                <a:spcPts val="12"/>
              </a:spcBef>
            </a:pPr>
            <a:endParaRPr sz="500"/>
          </a:p>
        </p:txBody>
      </p:sp>
      <p:sp>
        <p:nvSpPr>
          <p:cNvPr id="4" name="object 4"/>
          <p:cNvSpPr txBox="1"/>
          <p:nvPr/>
        </p:nvSpPr>
        <p:spPr>
          <a:xfrm>
            <a:off x="2443162" y="5394325"/>
            <a:ext cx="1665224" cy="455612"/>
          </a:xfrm>
          <a:prstGeom prst="rect">
            <a:avLst/>
          </a:prstGeom>
        </p:spPr>
        <p:txBody>
          <a:bodyPr wrap="square" lIns="0" tIns="0" rIns="0" bIns="0" rtlCol="0">
            <a:noAutofit/>
          </a:bodyPr>
          <a:lstStyle/>
          <a:p>
            <a:pPr marL="352107">
              <a:lnSpc>
                <a:spcPct val="95825"/>
              </a:lnSpc>
              <a:spcBef>
                <a:spcPts val="295"/>
              </a:spcBef>
            </a:pPr>
            <a:r>
              <a:rPr sz="2200" b="1" dirty="0">
                <a:solidFill>
                  <a:srgbClr val="FFFFFF"/>
                </a:solidFill>
                <a:latin typeface="Arial"/>
                <a:cs typeface="Arial"/>
              </a:rPr>
              <a:t>Item</a:t>
            </a:r>
            <a:r>
              <a:rPr sz="2200" b="1" spc="-45" dirty="0">
                <a:solidFill>
                  <a:srgbClr val="FFFFFF"/>
                </a:solidFill>
                <a:latin typeface="Arial"/>
                <a:cs typeface="Arial"/>
              </a:rPr>
              <a:t> </a:t>
            </a:r>
            <a:r>
              <a:rPr sz="2200" b="1" dirty="0">
                <a:solidFill>
                  <a:srgbClr val="FFFFFF"/>
                </a:solidFill>
                <a:latin typeface="Arial"/>
                <a:cs typeface="Arial"/>
              </a:rPr>
              <a:t>30</a:t>
            </a:r>
            <a:endParaRPr sz="2200">
              <a:latin typeface="Arial"/>
              <a:cs typeface="Arial"/>
            </a:endParaRPr>
          </a:p>
        </p:txBody>
      </p:sp>
      <p:sp>
        <p:nvSpPr>
          <p:cNvPr id="3" name="object 3"/>
          <p:cNvSpPr txBox="1"/>
          <p:nvPr/>
        </p:nvSpPr>
        <p:spPr>
          <a:xfrm>
            <a:off x="2133600" y="1601851"/>
            <a:ext cx="2284476" cy="520700"/>
          </a:xfrm>
          <a:prstGeom prst="rect">
            <a:avLst/>
          </a:prstGeom>
        </p:spPr>
        <p:txBody>
          <a:bodyPr wrap="square" lIns="0" tIns="0" rIns="0" bIns="0" rtlCol="0">
            <a:noAutofit/>
          </a:bodyPr>
          <a:lstStyle/>
          <a:p>
            <a:pPr>
              <a:lnSpc>
                <a:spcPts val="800"/>
              </a:lnSpc>
              <a:spcBef>
                <a:spcPts val="5"/>
              </a:spcBef>
            </a:pPr>
            <a:endParaRPr sz="800"/>
          </a:p>
          <a:p>
            <a:pPr marL="326745">
              <a:lnSpc>
                <a:spcPct val="95825"/>
              </a:lnSpc>
            </a:pPr>
            <a:r>
              <a:rPr sz="2200" b="1" dirty="0">
                <a:solidFill>
                  <a:srgbClr val="FFFFFF"/>
                </a:solidFill>
                <a:latin typeface="Arial"/>
                <a:cs typeface="Arial"/>
              </a:rPr>
              <a:t>Header</a:t>
            </a:r>
            <a:r>
              <a:rPr sz="2200" b="1" spc="-74" dirty="0">
                <a:solidFill>
                  <a:srgbClr val="FFFFFF"/>
                </a:solidFill>
                <a:latin typeface="Arial"/>
                <a:cs typeface="Arial"/>
              </a:rPr>
              <a:t> </a:t>
            </a:r>
            <a:r>
              <a:rPr sz="2200" b="1" dirty="0">
                <a:solidFill>
                  <a:srgbClr val="FFFFFF"/>
                </a:solidFill>
                <a:latin typeface="Arial"/>
                <a:cs typeface="Arial"/>
              </a:rPr>
              <a:t>Data</a:t>
            </a:r>
            <a:endParaRPr sz="2200">
              <a:latin typeface="Arial"/>
              <a:cs typeface="Arial"/>
            </a:endParaRPr>
          </a:p>
        </p:txBody>
      </p:sp>
      <p:sp>
        <p:nvSpPr>
          <p:cNvPr id="2" name="object 2"/>
          <p:cNvSpPr txBox="1"/>
          <p:nvPr/>
        </p:nvSpPr>
        <p:spPr>
          <a:xfrm>
            <a:off x="5549900" y="1143000"/>
            <a:ext cx="4889500" cy="2286000"/>
          </a:xfrm>
          <a:prstGeom prst="rect">
            <a:avLst/>
          </a:prstGeom>
        </p:spPr>
        <p:txBody>
          <a:bodyPr wrap="square" lIns="0" tIns="0" rIns="0" bIns="0" rtlCol="0">
            <a:noAutofit/>
          </a:bodyPr>
          <a:lstStyle/>
          <a:p>
            <a:pPr marL="435483" indent="-342900">
              <a:lnSpc>
                <a:spcPct val="95825"/>
              </a:lnSpc>
              <a:spcBef>
                <a:spcPts val="190"/>
              </a:spcBef>
              <a:buClr>
                <a:srgbClr val="00B0F0"/>
              </a:buClr>
              <a:buFont typeface="Wingdings" panose="05000000000000000000" pitchFamily="2" charset="2"/>
              <a:buChar char="§"/>
            </a:pPr>
            <a:r>
              <a:rPr sz="1600" spc="-109" dirty="0">
                <a:cs typeface="Arial"/>
              </a:rPr>
              <a:t>V</a:t>
            </a:r>
            <a:r>
              <a:rPr sz="1600" dirty="0">
                <a:cs typeface="Arial"/>
              </a:rPr>
              <a:t>al</a:t>
            </a:r>
            <a:r>
              <a:rPr sz="1600" spc="-4" dirty="0">
                <a:cs typeface="Arial"/>
              </a:rPr>
              <a:t>i</a:t>
            </a:r>
            <a:r>
              <a:rPr sz="1600" dirty="0">
                <a:cs typeface="Arial"/>
              </a:rPr>
              <a:t>d</a:t>
            </a:r>
            <a:r>
              <a:rPr sz="1600" spc="-14" dirty="0">
                <a:cs typeface="Arial"/>
              </a:rPr>
              <a:t> </a:t>
            </a:r>
            <a:r>
              <a:rPr sz="1600" dirty="0">
                <a:cs typeface="Arial"/>
              </a:rPr>
              <a:t>f</a:t>
            </a:r>
            <a:r>
              <a:rPr sz="1600" spc="4" dirty="0">
                <a:cs typeface="Arial"/>
              </a:rPr>
              <a:t>o</a:t>
            </a:r>
            <a:r>
              <a:rPr sz="1600" dirty="0">
                <a:cs typeface="Arial"/>
              </a:rPr>
              <a:t>r</a:t>
            </a:r>
            <a:r>
              <a:rPr sz="1600" spc="-24" dirty="0">
                <a:cs typeface="Arial"/>
              </a:rPr>
              <a:t> </a:t>
            </a:r>
            <a:r>
              <a:rPr sz="1600" dirty="0">
                <a:cs typeface="Arial"/>
              </a:rPr>
              <a:t>Entire</a:t>
            </a:r>
            <a:r>
              <a:rPr sz="1600" spc="-9" dirty="0">
                <a:cs typeface="Arial"/>
              </a:rPr>
              <a:t> </a:t>
            </a:r>
            <a:r>
              <a:rPr sz="1600" spc="4" dirty="0">
                <a:cs typeface="Arial"/>
              </a:rPr>
              <a:t>D</a:t>
            </a:r>
            <a:r>
              <a:rPr sz="1600" dirty="0">
                <a:cs typeface="Arial"/>
              </a:rPr>
              <a:t>o</a:t>
            </a:r>
            <a:r>
              <a:rPr sz="1600" spc="4" dirty="0">
                <a:cs typeface="Arial"/>
              </a:rPr>
              <a:t>c</a:t>
            </a:r>
            <a:r>
              <a:rPr sz="1600" dirty="0">
                <a:cs typeface="Arial"/>
              </a:rPr>
              <a:t>umen</a:t>
            </a:r>
            <a:r>
              <a:rPr sz="1600" spc="9" dirty="0">
                <a:cs typeface="Arial"/>
              </a:rPr>
              <a:t>t</a:t>
            </a:r>
            <a:r>
              <a:rPr sz="1600" dirty="0">
                <a:cs typeface="Arial"/>
              </a:rPr>
              <a:t>:</a:t>
            </a:r>
          </a:p>
          <a:p>
            <a:pPr marL="892683" lvl="1" indent="-342900">
              <a:lnSpc>
                <a:spcPct val="95825"/>
              </a:lnSpc>
              <a:spcBef>
                <a:spcPts val="700"/>
              </a:spcBef>
              <a:buClr>
                <a:srgbClr val="C00000"/>
              </a:buClr>
              <a:buFont typeface="Wingdings" panose="05000000000000000000" pitchFamily="2" charset="2"/>
              <a:buChar char="§"/>
            </a:pPr>
            <a:r>
              <a:rPr sz="1600" dirty="0">
                <a:cs typeface="Arial"/>
              </a:rPr>
              <a:t>Iden</a:t>
            </a:r>
            <a:r>
              <a:rPr sz="1600" spc="4" dirty="0">
                <a:cs typeface="Arial"/>
              </a:rPr>
              <a:t>t</a:t>
            </a:r>
            <a:r>
              <a:rPr sz="1600" dirty="0">
                <a:cs typeface="Arial"/>
              </a:rPr>
              <a:t>ifica</a:t>
            </a:r>
            <a:r>
              <a:rPr sz="1600" spc="4" dirty="0">
                <a:cs typeface="Arial"/>
              </a:rPr>
              <a:t>t</a:t>
            </a:r>
            <a:r>
              <a:rPr sz="1600" dirty="0">
                <a:cs typeface="Arial"/>
              </a:rPr>
              <a:t>ion</a:t>
            </a:r>
            <a:r>
              <a:rPr sz="1600" spc="-50" dirty="0">
                <a:cs typeface="Arial"/>
              </a:rPr>
              <a:t> </a:t>
            </a:r>
            <a:r>
              <a:rPr sz="1600" dirty="0">
                <a:cs typeface="Arial"/>
              </a:rPr>
              <a:t>numb</a:t>
            </a:r>
            <a:r>
              <a:rPr sz="1600" spc="4" dirty="0">
                <a:cs typeface="Arial"/>
              </a:rPr>
              <a:t>e</a:t>
            </a:r>
            <a:r>
              <a:rPr sz="1600" dirty="0">
                <a:cs typeface="Arial"/>
              </a:rPr>
              <a:t>r</a:t>
            </a:r>
            <a:r>
              <a:rPr sz="1600" spc="-14" dirty="0">
                <a:cs typeface="Arial"/>
              </a:rPr>
              <a:t> </a:t>
            </a:r>
            <a:r>
              <a:rPr sz="1600" dirty="0">
                <a:cs typeface="Arial"/>
              </a:rPr>
              <a:t>of</a:t>
            </a:r>
            <a:r>
              <a:rPr sz="1600" spc="-9" dirty="0">
                <a:cs typeface="Arial"/>
              </a:rPr>
              <a:t> </a:t>
            </a:r>
            <a:r>
              <a:rPr sz="1600" dirty="0">
                <a:cs typeface="Arial"/>
              </a:rPr>
              <a:t>Pa</a:t>
            </a:r>
            <a:r>
              <a:rPr sz="1600" spc="-29" dirty="0">
                <a:cs typeface="Arial"/>
              </a:rPr>
              <a:t>y</a:t>
            </a:r>
            <a:r>
              <a:rPr sz="1600" dirty="0">
                <a:cs typeface="Arial"/>
              </a:rPr>
              <a:t>er</a:t>
            </a:r>
          </a:p>
          <a:p>
            <a:pPr marL="892683" lvl="1" indent="-342900">
              <a:lnSpc>
                <a:spcPct val="95825"/>
              </a:lnSpc>
              <a:spcBef>
                <a:spcPts val="100"/>
              </a:spcBef>
              <a:buClr>
                <a:srgbClr val="C00000"/>
              </a:buClr>
              <a:buFont typeface="Wingdings" panose="05000000000000000000" pitchFamily="2" charset="2"/>
              <a:buChar char="§"/>
            </a:pPr>
            <a:r>
              <a:rPr sz="1600" spc="4" dirty="0">
                <a:cs typeface="Arial"/>
              </a:rPr>
              <a:t>B</a:t>
            </a:r>
            <a:r>
              <a:rPr sz="1600" dirty="0">
                <a:cs typeface="Arial"/>
              </a:rPr>
              <a:t>i</a:t>
            </a:r>
            <a:r>
              <a:rPr sz="1600" spc="-9" dirty="0">
                <a:cs typeface="Arial"/>
              </a:rPr>
              <a:t>l</a:t>
            </a:r>
            <a:r>
              <a:rPr sz="1600" dirty="0">
                <a:cs typeface="Arial"/>
              </a:rPr>
              <a:t>l</a:t>
            </a:r>
            <a:r>
              <a:rPr sz="1600" spc="-9" dirty="0">
                <a:cs typeface="Arial"/>
              </a:rPr>
              <a:t>i</a:t>
            </a:r>
            <a:r>
              <a:rPr sz="1600" dirty="0">
                <a:cs typeface="Arial"/>
              </a:rPr>
              <a:t>ng</a:t>
            </a:r>
            <a:r>
              <a:rPr sz="1600" spc="-9" dirty="0">
                <a:cs typeface="Arial"/>
              </a:rPr>
              <a:t> </a:t>
            </a:r>
            <a:r>
              <a:rPr sz="1600" spc="4" dirty="0">
                <a:cs typeface="Arial"/>
              </a:rPr>
              <a:t>D</a:t>
            </a:r>
            <a:r>
              <a:rPr sz="1600" dirty="0">
                <a:cs typeface="Arial"/>
              </a:rPr>
              <a:t>a</a:t>
            </a:r>
            <a:r>
              <a:rPr sz="1600" spc="4" dirty="0">
                <a:cs typeface="Arial"/>
              </a:rPr>
              <a:t>t</a:t>
            </a:r>
            <a:r>
              <a:rPr sz="1600" dirty="0">
                <a:cs typeface="Arial"/>
              </a:rPr>
              <a:t>e</a:t>
            </a:r>
          </a:p>
          <a:p>
            <a:pPr marL="892683" lvl="1" indent="-342900">
              <a:lnSpc>
                <a:spcPct val="95825"/>
              </a:lnSpc>
              <a:spcBef>
                <a:spcPts val="100"/>
              </a:spcBef>
              <a:buClr>
                <a:srgbClr val="C00000"/>
              </a:buClr>
              <a:buFont typeface="Wingdings" panose="05000000000000000000" pitchFamily="2" charset="2"/>
              <a:buChar char="§"/>
            </a:pPr>
            <a:r>
              <a:rPr sz="1600" dirty="0">
                <a:cs typeface="Arial"/>
              </a:rPr>
              <a:t>N</a:t>
            </a:r>
            <a:r>
              <a:rPr sz="1600" spc="4" dirty="0">
                <a:cs typeface="Arial"/>
              </a:rPr>
              <a:t>e</a:t>
            </a:r>
            <a:r>
              <a:rPr sz="1600" dirty="0">
                <a:cs typeface="Arial"/>
              </a:rPr>
              <a:t>t</a:t>
            </a:r>
            <a:r>
              <a:rPr sz="1600" spc="-19" dirty="0">
                <a:cs typeface="Arial"/>
              </a:rPr>
              <a:t> </a:t>
            </a:r>
            <a:r>
              <a:rPr sz="1600" spc="-109" dirty="0">
                <a:cs typeface="Arial"/>
              </a:rPr>
              <a:t>V</a:t>
            </a:r>
            <a:r>
              <a:rPr sz="1600" dirty="0">
                <a:cs typeface="Arial"/>
              </a:rPr>
              <a:t>alue of</a:t>
            </a:r>
            <a:r>
              <a:rPr sz="1600" spc="-14" dirty="0">
                <a:cs typeface="Arial"/>
              </a:rPr>
              <a:t> </a:t>
            </a:r>
            <a:r>
              <a:rPr sz="1600" dirty="0">
                <a:cs typeface="Arial"/>
              </a:rPr>
              <a:t>en</a:t>
            </a:r>
            <a:r>
              <a:rPr sz="1600" spc="4" dirty="0">
                <a:cs typeface="Arial"/>
              </a:rPr>
              <a:t>t</a:t>
            </a:r>
            <a:r>
              <a:rPr sz="1600" dirty="0">
                <a:cs typeface="Arial"/>
              </a:rPr>
              <a:t>i</a:t>
            </a:r>
            <a:r>
              <a:rPr sz="1600" spc="-4" dirty="0">
                <a:cs typeface="Arial"/>
              </a:rPr>
              <a:t>r</a:t>
            </a:r>
            <a:r>
              <a:rPr sz="1600" dirty="0">
                <a:cs typeface="Arial"/>
              </a:rPr>
              <a:t>e</a:t>
            </a:r>
            <a:r>
              <a:rPr sz="1600" spc="-19" dirty="0">
                <a:cs typeface="Arial"/>
              </a:rPr>
              <a:t> </a:t>
            </a:r>
            <a:r>
              <a:rPr sz="1600" dirty="0">
                <a:cs typeface="Arial"/>
              </a:rPr>
              <a:t>Bil</a:t>
            </a:r>
            <a:r>
              <a:rPr sz="1600" spc="-9" dirty="0">
                <a:cs typeface="Arial"/>
              </a:rPr>
              <a:t>l</a:t>
            </a:r>
            <a:r>
              <a:rPr sz="1600" dirty="0">
                <a:cs typeface="Arial"/>
              </a:rPr>
              <a:t>ing</a:t>
            </a:r>
            <a:r>
              <a:rPr sz="1600" spc="-19" dirty="0">
                <a:cs typeface="Arial"/>
              </a:rPr>
              <a:t> </a:t>
            </a:r>
            <a:r>
              <a:rPr sz="1600" dirty="0">
                <a:cs typeface="Arial"/>
              </a:rPr>
              <a:t>D</a:t>
            </a:r>
            <a:r>
              <a:rPr sz="1600" spc="4" dirty="0">
                <a:cs typeface="Arial"/>
              </a:rPr>
              <a:t>o</a:t>
            </a:r>
            <a:r>
              <a:rPr sz="1600" dirty="0">
                <a:cs typeface="Arial"/>
              </a:rPr>
              <a:t>cument</a:t>
            </a:r>
          </a:p>
          <a:p>
            <a:pPr marL="892683" lvl="1" indent="-342900">
              <a:lnSpc>
                <a:spcPct val="95825"/>
              </a:lnSpc>
              <a:spcBef>
                <a:spcPts val="100"/>
              </a:spcBef>
              <a:buClr>
                <a:srgbClr val="C00000"/>
              </a:buClr>
              <a:buFont typeface="Wingdings" panose="05000000000000000000" pitchFamily="2" charset="2"/>
              <a:buChar char="§"/>
            </a:pPr>
            <a:r>
              <a:rPr sz="1600" spc="-139" dirty="0">
                <a:cs typeface="Arial"/>
              </a:rPr>
              <a:t>T</a:t>
            </a:r>
            <a:r>
              <a:rPr sz="1600" dirty="0">
                <a:cs typeface="Arial"/>
              </a:rPr>
              <a:t>erms</a:t>
            </a:r>
            <a:r>
              <a:rPr sz="1600" spc="-19" dirty="0">
                <a:cs typeface="Arial"/>
              </a:rPr>
              <a:t> </a:t>
            </a:r>
            <a:r>
              <a:rPr sz="1600" dirty="0">
                <a:cs typeface="Arial"/>
              </a:rPr>
              <a:t>of</a:t>
            </a:r>
            <a:r>
              <a:rPr sz="1600" spc="-9" dirty="0">
                <a:cs typeface="Arial"/>
              </a:rPr>
              <a:t> </a:t>
            </a:r>
            <a:r>
              <a:rPr sz="1600" dirty="0">
                <a:cs typeface="Arial"/>
              </a:rPr>
              <a:t>Pa</a:t>
            </a:r>
            <a:r>
              <a:rPr sz="1600" spc="-29" dirty="0">
                <a:cs typeface="Arial"/>
              </a:rPr>
              <a:t>y</a:t>
            </a:r>
            <a:r>
              <a:rPr sz="1600" dirty="0">
                <a:cs typeface="Arial"/>
              </a:rPr>
              <a:t>ment</a:t>
            </a:r>
            <a:r>
              <a:rPr sz="1600" spc="24" dirty="0">
                <a:cs typeface="Arial"/>
              </a:rPr>
              <a:t> </a:t>
            </a:r>
            <a:r>
              <a:rPr sz="1600" dirty="0">
                <a:cs typeface="Arial"/>
              </a:rPr>
              <a:t>a</a:t>
            </a:r>
            <a:r>
              <a:rPr sz="1600" spc="4" dirty="0">
                <a:cs typeface="Arial"/>
              </a:rPr>
              <a:t>n</a:t>
            </a:r>
            <a:r>
              <a:rPr sz="1600" dirty="0">
                <a:cs typeface="Arial"/>
              </a:rPr>
              <a:t>d </a:t>
            </a:r>
            <a:r>
              <a:rPr sz="1600" spc="-9" dirty="0">
                <a:cs typeface="Arial"/>
              </a:rPr>
              <a:t>I</a:t>
            </a:r>
            <a:r>
              <a:rPr sz="1600" dirty="0">
                <a:cs typeface="Arial"/>
              </a:rPr>
              <a:t>n</a:t>
            </a:r>
            <a:r>
              <a:rPr sz="1600" spc="4" dirty="0">
                <a:cs typeface="Arial"/>
              </a:rPr>
              <a:t>c</a:t>
            </a:r>
            <a:r>
              <a:rPr sz="1600" dirty="0">
                <a:cs typeface="Arial"/>
              </a:rPr>
              <a:t>o</a:t>
            </a:r>
            <a:r>
              <a:rPr sz="1600" spc="-14" dirty="0">
                <a:cs typeface="Arial"/>
              </a:rPr>
              <a:t> </a:t>
            </a:r>
            <a:r>
              <a:rPr sz="1600" dirty="0">
                <a:cs typeface="Arial"/>
              </a:rPr>
              <a:t>t</a:t>
            </a:r>
            <a:r>
              <a:rPr sz="1600" spc="4" dirty="0">
                <a:cs typeface="Arial"/>
              </a:rPr>
              <a:t>e</a:t>
            </a:r>
            <a:r>
              <a:rPr sz="1600" dirty="0">
                <a:cs typeface="Arial"/>
              </a:rPr>
              <a:t>rms</a:t>
            </a:r>
          </a:p>
          <a:p>
            <a:pPr marL="892683" lvl="1" indent="-342900">
              <a:lnSpc>
                <a:spcPct val="95825"/>
              </a:lnSpc>
              <a:spcBef>
                <a:spcPts val="100"/>
              </a:spcBef>
              <a:buClr>
                <a:srgbClr val="C00000"/>
              </a:buClr>
              <a:buFont typeface="Wingdings" panose="05000000000000000000" pitchFamily="2" charset="2"/>
              <a:buChar char="§"/>
            </a:pPr>
            <a:r>
              <a:rPr sz="1600" dirty="0">
                <a:cs typeface="Arial"/>
              </a:rPr>
              <a:t>Pr</a:t>
            </a:r>
            <a:r>
              <a:rPr sz="1600" spc="-4" dirty="0">
                <a:cs typeface="Arial"/>
              </a:rPr>
              <a:t>i</a:t>
            </a:r>
            <a:r>
              <a:rPr sz="1600" dirty="0">
                <a:cs typeface="Arial"/>
              </a:rPr>
              <a:t>cing</a:t>
            </a:r>
            <a:r>
              <a:rPr sz="1600" spc="-9" dirty="0">
                <a:cs typeface="Arial"/>
              </a:rPr>
              <a:t> </a:t>
            </a:r>
            <a:r>
              <a:rPr sz="1600" dirty="0">
                <a:cs typeface="Arial"/>
              </a:rPr>
              <a:t>E</a:t>
            </a:r>
            <a:r>
              <a:rPr sz="1600" spc="-9" dirty="0">
                <a:cs typeface="Arial"/>
              </a:rPr>
              <a:t>l</a:t>
            </a:r>
            <a:r>
              <a:rPr sz="1600" dirty="0">
                <a:cs typeface="Arial"/>
              </a:rPr>
              <a:t>eme</a:t>
            </a:r>
            <a:r>
              <a:rPr sz="1600" spc="4" dirty="0">
                <a:cs typeface="Arial"/>
              </a:rPr>
              <a:t>n</a:t>
            </a:r>
            <a:r>
              <a:rPr sz="1600" dirty="0">
                <a:cs typeface="Arial"/>
              </a:rPr>
              <a:t>ts</a:t>
            </a:r>
          </a:p>
          <a:p>
            <a:pPr marL="892683" lvl="1" indent="-342900">
              <a:lnSpc>
                <a:spcPct val="95825"/>
              </a:lnSpc>
              <a:spcBef>
                <a:spcPts val="100"/>
              </a:spcBef>
              <a:buClr>
                <a:srgbClr val="C00000"/>
              </a:buClr>
              <a:buFont typeface="Wingdings" panose="05000000000000000000" pitchFamily="2" charset="2"/>
              <a:buChar char="§"/>
            </a:pPr>
            <a:r>
              <a:rPr sz="1600" spc="4" dirty="0">
                <a:cs typeface="Arial"/>
              </a:rPr>
              <a:t>D</a:t>
            </a:r>
            <a:r>
              <a:rPr sz="1600" dirty="0">
                <a:cs typeface="Arial"/>
              </a:rPr>
              <a:t>o</a:t>
            </a:r>
            <a:r>
              <a:rPr sz="1600" spc="4" dirty="0">
                <a:cs typeface="Arial"/>
              </a:rPr>
              <a:t>c</a:t>
            </a:r>
            <a:r>
              <a:rPr sz="1600" dirty="0">
                <a:cs typeface="Arial"/>
              </a:rPr>
              <a:t>ument</a:t>
            </a:r>
            <a:r>
              <a:rPr sz="1600" spc="-19" dirty="0">
                <a:cs typeface="Arial"/>
              </a:rPr>
              <a:t> </a:t>
            </a:r>
            <a:r>
              <a:rPr sz="1600" spc="4" dirty="0">
                <a:cs typeface="Arial"/>
              </a:rPr>
              <a:t>C</a:t>
            </a:r>
            <a:r>
              <a:rPr sz="1600" dirty="0">
                <a:cs typeface="Arial"/>
              </a:rPr>
              <a:t>urr</a:t>
            </a:r>
            <a:r>
              <a:rPr sz="1600" spc="4" dirty="0">
                <a:cs typeface="Arial"/>
              </a:rPr>
              <a:t>e</a:t>
            </a:r>
            <a:r>
              <a:rPr sz="1600" dirty="0">
                <a:cs typeface="Arial"/>
              </a:rPr>
              <a:t>n</a:t>
            </a:r>
            <a:r>
              <a:rPr sz="1600" spc="4" dirty="0">
                <a:cs typeface="Arial"/>
              </a:rPr>
              <a:t>c</a:t>
            </a:r>
            <a:r>
              <a:rPr sz="1600" dirty="0">
                <a:cs typeface="Arial"/>
              </a:rPr>
              <a:t>y</a:t>
            </a:r>
          </a:p>
        </p:txBody>
      </p:sp>
      <p:sp>
        <p:nvSpPr>
          <p:cNvPr id="24" name="Title 23"/>
          <p:cNvSpPr>
            <a:spLocks noGrp="1"/>
          </p:cNvSpPr>
          <p:nvPr>
            <p:ph type="title"/>
          </p:nvPr>
        </p:nvSpPr>
        <p:spPr/>
        <p:txBody>
          <a:bodyPr/>
          <a:lstStyle/>
          <a:p>
            <a:r>
              <a:rPr lang="en-US" sz="2400" dirty="0">
                <a:latin typeface="+mn-lt"/>
                <a:cs typeface="Arial"/>
              </a:rPr>
              <a:t>Billing Document Structure</a:t>
            </a:r>
            <a:br>
              <a:rPr lang="en-US" sz="2800" dirty="0">
                <a:latin typeface="Arial"/>
                <a:cs typeface="Arial"/>
              </a:rPr>
            </a:b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1A28922B-B702-46CB-83EC-324B86AD1D8F}"/>
              </a:ext>
            </a:extLst>
          </p:cNvPr>
          <p:cNvSpPr txBox="1">
            <a:spLocks/>
          </p:cNvSpPr>
          <p:nvPr/>
        </p:nvSpPr>
        <p:spPr>
          <a:xfrm>
            <a:off x="6096000" y="3200400"/>
            <a:ext cx="5419268" cy="1902287"/>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sz="2025" kern="1200">
                <a:solidFill>
                  <a:schemeClr val="bg1"/>
                </a:solidFill>
                <a:latin typeface="+mj-lt"/>
                <a:ea typeface="+mn-ea"/>
                <a:cs typeface="+mn-cs"/>
              </a:defRPr>
            </a:lvl1pPr>
            <a:lvl2pPr marL="257175" indent="0" algn="l" defTabSz="685800" rtl="0" eaLnBrk="1" latinLnBrk="0" hangingPunct="1">
              <a:lnSpc>
                <a:spcPct val="90000"/>
              </a:lnSpc>
              <a:spcBef>
                <a:spcPts val="375"/>
              </a:spcBef>
              <a:buClr>
                <a:schemeClr val="accent1"/>
              </a:buClr>
              <a:buFont typeface="Wingdings" panose="05000000000000000000" pitchFamily="2" charset="2"/>
              <a:buNone/>
              <a:defRPr sz="3375" kern="1200">
                <a:solidFill>
                  <a:schemeClr val="bg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05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solidFill>
                  <a:schemeClr val="tx1"/>
                </a:solidFill>
              </a:rPr>
              <a:t>Billing Method </a:t>
            </a:r>
            <a:endParaRPr lang="en-US" dirty="0">
              <a:solidFill>
                <a:schemeClr val="tx1"/>
              </a:solidFill>
            </a:endParaRPr>
          </a:p>
        </p:txBody>
      </p:sp>
    </p:spTree>
    <p:extLst>
      <p:ext uri="{BB962C8B-B14F-4D97-AF65-F5344CB8AC3E}">
        <p14:creationId xmlns:p14="http://schemas.microsoft.com/office/powerpoint/2010/main" val="156310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70" name="Rectangle 2"/>
          <p:cNvSpPr>
            <a:spLocks noGrp="1" noChangeArrowheads="1"/>
          </p:cNvSpPr>
          <p:nvPr>
            <p:ph type="title"/>
          </p:nvPr>
        </p:nvSpPr>
        <p:spPr/>
        <p:txBody>
          <a:bodyPr/>
          <a:lstStyle/>
          <a:p>
            <a:r>
              <a:rPr lang="en-US" dirty="0"/>
              <a:t>Billing Methods</a:t>
            </a:r>
          </a:p>
        </p:txBody>
      </p:sp>
      <p:sp>
        <p:nvSpPr>
          <p:cNvPr id="11" name="Text Box 20">
            <a:extLst>
              <a:ext uri="{FF2B5EF4-FFF2-40B4-BE49-F238E27FC236}">
                <a16:creationId xmlns:a16="http://schemas.microsoft.com/office/drawing/2014/main" id="{61B68528-8999-4BF0-BB86-F2989D043250}"/>
              </a:ext>
            </a:extLst>
          </p:cNvPr>
          <p:cNvSpPr txBox="1">
            <a:spLocks noChangeArrowheads="1"/>
          </p:cNvSpPr>
          <p:nvPr/>
        </p:nvSpPr>
        <p:spPr bwMode="auto">
          <a:xfrm>
            <a:off x="1694514" y="981075"/>
            <a:ext cx="8779657" cy="5508625"/>
          </a:xfrm>
          <a:prstGeom prst="rect">
            <a:avLst/>
          </a:prstGeom>
          <a:solidFill>
            <a:schemeClr val="bg1"/>
          </a:solidFill>
          <a:ln w="12700">
            <a:solidFill>
              <a:schemeClr val="bg1">
                <a:lumMod val="85000"/>
              </a:schemeClr>
            </a:solidFill>
            <a:miter lim="800000"/>
            <a:headEnd/>
            <a:tailEnd/>
          </a:ln>
          <a:effectLst>
            <a:outerShdw blurRad="50800" dist="38100" dir="2700000" algn="tl" rotWithShape="0">
              <a:prstClr val="black">
                <a:alpha val="40000"/>
              </a:prstClr>
            </a:outerShdw>
          </a:effectLst>
        </p:spPr>
        <p:txBody>
          <a:bodyPr wrap="square">
            <a:noAutofit/>
          </a:bodyPr>
          <a:lstStyle/>
          <a:p>
            <a:pPr marL="342900" indent="-342900" eaLnBrk="0" fontAlgn="base" hangingPunct="0">
              <a:spcBef>
                <a:spcPts val="600"/>
              </a:spcBef>
              <a:buClr>
                <a:schemeClr val="accent6"/>
              </a:buClr>
              <a:buFont typeface="+mj-lt"/>
              <a:buAutoNum type="arabicPeriod"/>
            </a:pPr>
            <a:r>
              <a:rPr lang="en-US" sz="1600" dirty="0">
                <a:latin typeface="+mj-lt"/>
                <a:cs typeface="Arial" pitchFamily="34" charset="0"/>
              </a:rPr>
              <a:t>Creating an individual billing document for every sales document</a:t>
            </a:r>
          </a:p>
          <a:p>
            <a:pPr marL="342900" indent="-342900" eaLnBrk="0" fontAlgn="base" hangingPunct="0">
              <a:spcBef>
                <a:spcPts val="600"/>
              </a:spcBef>
              <a:buClr>
                <a:schemeClr val="accent6"/>
              </a:buClr>
              <a:buFont typeface="+mj-lt"/>
              <a:buAutoNum type="arabicPeriod"/>
            </a:pPr>
            <a:r>
              <a:rPr lang="en-US" sz="1600" dirty="0">
                <a:latin typeface="+mj-lt"/>
                <a:cs typeface="Arial" pitchFamily="34" charset="0"/>
              </a:rPr>
              <a:t>Billing one or more SD documents with several billing documents </a:t>
            </a:r>
            <a:br>
              <a:rPr lang="en-US" sz="1600" dirty="0">
                <a:latin typeface="+mj-lt"/>
                <a:cs typeface="Arial" pitchFamily="34" charset="0"/>
              </a:rPr>
            </a:br>
            <a:r>
              <a:rPr lang="en-US" sz="1600" dirty="0">
                <a:latin typeface="+mj-lt"/>
                <a:cs typeface="Arial" pitchFamily="34" charset="0"/>
              </a:rPr>
              <a:t>(this is called an invoice split)</a:t>
            </a:r>
          </a:p>
          <a:p>
            <a:pPr marL="342900" indent="-342900" eaLnBrk="0" fontAlgn="base" hangingPunct="0">
              <a:spcBef>
                <a:spcPts val="600"/>
              </a:spcBef>
              <a:buClr>
                <a:schemeClr val="accent6"/>
              </a:buClr>
              <a:buFont typeface="+mj-lt"/>
              <a:buAutoNum type="arabicPeriod"/>
            </a:pPr>
            <a:r>
              <a:rPr lang="en-US" sz="1600" dirty="0">
                <a:latin typeface="+mj-lt"/>
                <a:cs typeface="Arial" pitchFamily="34" charset="0"/>
              </a:rPr>
              <a:t>Combining several SD documents into a collective billing document</a:t>
            </a:r>
          </a:p>
          <a:p>
            <a:pPr marL="342900" indent="-342900">
              <a:spcBef>
                <a:spcPts val="600"/>
              </a:spcBef>
              <a:buFont typeface="+mj-lt"/>
              <a:buAutoNum type="arabicPeriod"/>
            </a:pPr>
            <a:endParaRPr lang="en-US" sz="1600" dirty="0">
              <a:latin typeface="+mj-lt"/>
            </a:endParaRPr>
          </a:p>
          <a:p>
            <a:pPr marL="342900" indent="-342900">
              <a:spcBef>
                <a:spcPts val="600"/>
              </a:spcBef>
              <a:buFont typeface="+mj-lt"/>
              <a:buAutoNum type="arabicPeriod"/>
            </a:pPr>
            <a:endParaRPr lang="en-US" sz="1600" dirty="0">
              <a:latin typeface="+mj-lt"/>
            </a:endParaRPr>
          </a:p>
          <a:p>
            <a:pPr marL="342900" indent="-342900">
              <a:spcBef>
                <a:spcPts val="600"/>
              </a:spcBef>
              <a:buFont typeface="+mj-lt"/>
              <a:buAutoNum type="arabicPeriod"/>
            </a:pPr>
            <a:endParaRPr lang="en-US" sz="1600" dirty="0">
              <a:latin typeface="+mj-lt"/>
            </a:endParaRPr>
          </a:p>
        </p:txBody>
      </p:sp>
      <p:sp>
        <p:nvSpPr>
          <p:cNvPr id="6" name="Footer Placeholder 5"/>
          <p:cNvSpPr>
            <a:spLocks noGrp="1"/>
          </p:cNvSpPr>
          <p:nvPr>
            <p:ph type="ftr" sz="quarter" idx="10"/>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grpSp>
        <p:nvGrpSpPr>
          <p:cNvPr id="2" name="Group 1"/>
          <p:cNvGrpSpPr/>
          <p:nvPr/>
        </p:nvGrpSpPr>
        <p:grpSpPr>
          <a:xfrm>
            <a:off x="2257111" y="2565000"/>
            <a:ext cx="3647005" cy="1520650"/>
            <a:chOff x="733110" y="2483017"/>
            <a:chExt cx="3647005" cy="1520650"/>
          </a:xfrm>
        </p:grpSpPr>
        <p:sp>
          <p:nvSpPr>
            <p:cNvPr id="13" name="Rectangle 5">
              <a:extLst>
                <a:ext uri="{FF2B5EF4-FFF2-40B4-BE49-F238E27FC236}">
                  <a16:creationId xmlns:a16="http://schemas.microsoft.com/office/drawing/2014/main" id="{BF40C253-4BE1-45C1-9DA3-550B3563077D}"/>
                </a:ext>
              </a:extLst>
            </p:cNvPr>
            <p:cNvSpPr>
              <a:spLocks noChangeArrowheads="1"/>
            </p:cNvSpPr>
            <p:nvPr/>
          </p:nvSpPr>
          <p:spPr bwMode="auto">
            <a:xfrm>
              <a:off x="733110" y="2483017"/>
              <a:ext cx="3647005" cy="1520650"/>
            </a:xfrm>
            <a:prstGeom prst="rect">
              <a:avLst/>
            </a:prstGeom>
            <a:solidFill>
              <a:schemeClr val="accent5">
                <a:lumMod val="20000"/>
                <a:lumOff val="80000"/>
              </a:schemeClr>
            </a:solidFill>
            <a:ln w="9525">
              <a:solidFill>
                <a:schemeClr val="tx1"/>
              </a:solidFill>
              <a:miter lim="800000"/>
              <a:headEnd/>
              <a:tailEnd/>
            </a:ln>
            <a:effectLst/>
          </p:spPr>
          <p:txBody>
            <a:bodyPr wrap="none" lIns="152400" tIns="60325" rIns="152400" bIns="60325"/>
            <a:lstStyle/>
            <a:p>
              <a:pPr defTabSz="585788" eaLnBrk="0" hangingPunct="0"/>
              <a:endParaRPr lang="en-GB" sz="1600" b="1" dirty="0">
                <a:latin typeface="+mj-lt"/>
              </a:endParaRPr>
            </a:p>
          </p:txBody>
        </p:sp>
        <p:sp>
          <p:nvSpPr>
            <p:cNvPr id="14" name="Line 6">
              <a:extLst>
                <a:ext uri="{FF2B5EF4-FFF2-40B4-BE49-F238E27FC236}">
                  <a16:creationId xmlns:a16="http://schemas.microsoft.com/office/drawing/2014/main" id="{95AF69C2-7645-4B3D-A99F-EEDF296E35D1}"/>
                </a:ext>
              </a:extLst>
            </p:cNvPr>
            <p:cNvSpPr>
              <a:spLocks noChangeShapeType="1"/>
            </p:cNvSpPr>
            <p:nvPr/>
          </p:nvSpPr>
          <p:spPr bwMode="auto">
            <a:xfrm flipV="1">
              <a:off x="1721310" y="2883455"/>
              <a:ext cx="246245" cy="292725"/>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15" name="Line 7">
              <a:extLst>
                <a:ext uri="{FF2B5EF4-FFF2-40B4-BE49-F238E27FC236}">
                  <a16:creationId xmlns:a16="http://schemas.microsoft.com/office/drawing/2014/main" id="{F0A78BCA-8798-440A-9913-8970A4B6B6AB}"/>
                </a:ext>
              </a:extLst>
            </p:cNvPr>
            <p:cNvSpPr>
              <a:spLocks noChangeShapeType="1"/>
            </p:cNvSpPr>
            <p:nvPr/>
          </p:nvSpPr>
          <p:spPr bwMode="auto">
            <a:xfrm>
              <a:off x="1721310" y="3272488"/>
              <a:ext cx="246245" cy="292725"/>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16" name="Line 8">
              <a:extLst>
                <a:ext uri="{FF2B5EF4-FFF2-40B4-BE49-F238E27FC236}">
                  <a16:creationId xmlns:a16="http://schemas.microsoft.com/office/drawing/2014/main" id="{2FE0B2EB-0C58-46AE-B7F3-5DD46D7F8407}"/>
                </a:ext>
              </a:extLst>
            </p:cNvPr>
            <p:cNvSpPr>
              <a:spLocks noChangeShapeType="1"/>
            </p:cNvSpPr>
            <p:nvPr/>
          </p:nvSpPr>
          <p:spPr bwMode="auto">
            <a:xfrm>
              <a:off x="2894595" y="2884722"/>
              <a:ext cx="371783"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17" name="Line 9">
              <a:extLst>
                <a:ext uri="{FF2B5EF4-FFF2-40B4-BE49-F238E27FC236}">
                  <a16:creationId xmlns:a16="http://schemas.microsoft.com/office/drawing/2014/main" id="{0E08F555-1669-4237-9CCF-371111FCC4C4}"/>
                </a:ext>
              </a:extLst>
            </p:cNvPr>
            <p:cNvSpPr>
              <a:spLocks noChangeShapeType="1"/>
            </p:cNvSpPr>
            <p:nvPr/>
          </p:nvSpPr>
          <p:spPr bwMode="auto">
            <a:xfrm>
              <a:off x="2894595" y="3614634"/>
              <a:ext cx="371783"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22" name="Freeform 14">
              <a:extLst>
                <a:ext uri="{FF2B5EF4-FFF2-40B4-BE49-F238E27FC236}">
                  <a16:creationId xmlns:a16="http://schemas.microsoft.com/office/drawing/2014/main" id="{404F655C-8F84-4476-8D8F-8541AB106C27}"/>
                </a:ext>
              </a:extLst>
            </p:cNvPr>
            <p:cNvSpPr>
              <a:spLocks/>
            </p:cNvSpPr>
            <p:nvPr/>
          </p:nvSpPr>
          <p:spPr bwMode="auto">
            <a:xfrm>
              <a:off x="3267987" y="2591997"/>
              <a:ext cx="928651"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23" name="AutoShape 15">
              <a:extLst>
                <a:ext uri="{FF2B5EF4-FFF2-40B4-BE49-F238E27FC236}">
                  <a16:creationId xmlns:a16="http://schemas.microsoft.com/office/drawing/2014/main" id="{D796D6A6-611D-4549-ADBA-F76411362AE9}"/>
                </a:ext>
              </a:extLst>
            </p:cNvPr>
            <p:cNvSpPr>
              <a:spLocks noChangeArrowheads="1"/>
            </p:cNvSpPr>
            <p:nvPr/>
          </p:nvSpPr>
          <p:spPr bwMode="auto">
            <a:xfrm rot="13020000">
              <a:off x="3960049" y="2632547"/>
              <a:ext cx="21405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24" name="AutoShape 16">
              <a:extLst>
                <a:ext uri="{FF2B5EF4-FFF2-40B4-BE49-F238E27FC236}">
                  <a16:creationId xmlns:a16="http://schemas.microsoft.com/office/drawing/2014/main" id="{65F73A6C-9DF0-4D76-A30E-91EC5761406E}"/>
                </a:ext>
              </a:extLst>
            </p:cNvPr>
            <p:cNvSpPr>
              <a:spLocks noChangeArrowheads="1"/>
            </p:cNvSpPr>
            <p:nvPr/>
          </p:nvSpPr>
          <p:spPr bwMode="auto">
            <a:xfrm rot="13020000">
              <a:off x="3976143" y="2641418"/>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25" name="Rectangle 17">
              <a:extLst>
                <a:ext uri="{FF2B5EF4-FFF2-40B4-BE49-F238E27FC236}">
                  <a16:creationId xmlns:a16="http://schemas.microsoft.com/office/drawing/2014/main" id="{6F9A4A41-76E6-46D7-9A2C-D593C343F489}"/>
                </a:ext>
              </a:extLst>
            </p:cNvPr>
            <p:cNvSpPr>
              <a:spLocks noChangeArrowheads="1"/>
            </p:cNvSpPr>
            <p:nvPr/>
          </p:nvSpPr>
          <p:spPr bwMode="auto">
            <a:xfrm>
              <a:off x="3229360" y="2593264"/>
              <a:ext cx="737381"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26" name="Line 18">
              <a:extLst>
                <a:ext uri="{FF2B5EF4-FFF2-40B4-BE49-F238E27FC236}">
                  <a16:creationId xmlns:a16="http://schemas.microsoft.com/office/drawing/2014/main" id="{B090F583-6C75-4F73-9845-276CF9FE8698}"/>
                </a:ext>
              </a:extLst>
            </p:cNvPr>
            <p:cNvSpPr>
              <a:spLocks noChangeShapeType="1"/>
            </p:cNvSpPr>
            <p:nvPr/>
          </p:nvSpPr>
          <p:spPr bwMode="auto">
            <a:xfrm>
              <a:off x="3305005" y="2773208"/>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27" name="Freeform 19">
              <a:extLst>
                <a:ext uri="{FF2B5EF4-FFF2-40B4-BE49-F238E27FC236}">
                  <a16:creationId xmlns:a16="http://schemas.microsoft.com/office/drawing/2014/main" id="{B6A12E67-E49D-4DE4-8AB6-814FFC4A944B}"/>
                </a:ext>
              </a:extLst>
            </p:cNvPr>
            <p:cNvSpPr>
              <a:spLocks/>
            </p:cNvSpPr>
            <p:nvPr/>
          </p:nvSpPr>
          <p:spPr bwMode="auto">
            <a:xfrm>
              <a:off x="3267987" y="3272488"/>
              <a:ext cx="928651" cy="586717"/>
            </a:xfrm>
            <a:custGeom>
              <a:avLst/>
              <a:gdLst/>
              <a:ahLst/>
              <a:cxnLst>
                <a:cxn ang="0">
                  <a:pos x="0" y="462"/>
                </a:cxn>
                <a:cxn ang="0">
                  <a:pos x="0" y="0"/>
                </a:cxn>
                <a:cxn ang="0">
                  <a:pos x="474" y="0"/>
                </a:cxn>
                <a:cxn ang="0">
                  <a:pos x="576" y="77"/>
                </a:cxn>
                <a:cxn ang="0">
                  <a:pos x="576" y="462"/>
                </a:cxn>
                <a:cxn ang="0">
                  <a:pos x="0" y="462"/>
                </a:cxn>
              </a:cxnLst>
              <a:rect l="0" t="0" r="r" b="b"/>
              <a:pathLst>
                <a:path w="577" h="463">
                  <a:moveTo>
                    <a:pt x="0" y="462"/>
                  </a:moveTo>
                  <a:lnTo>
                    <a:pt x="0" y="0"/>
                  </a:lnTo>
                  <a:lnTo>
                    <a:pt x="474" y="0"/>
                  </a:lnTo>
                  <a:lnTo>
                    <a:pt x="576" y="77"/>
                  </a:lnTo>
                  <a:lnTo>
                    <a:pt x="576" y="462"/>
                  </a:lnTo>
                  <a:lnTo>
                    <a:pt x="0" y="462"/>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28" name="AutoShape 20">
              <a:extLst>
                <a:ext uri="{FF2B5EF4-FFF2-40B4-BE49-F238E27FC236}">
                  <a16:creationId xmlns:a16="http://schemas.microsoft.com/office/drawing/2014/main" id="{7D2D42A3-C943-4630-A8C2-6BC059136B05}"/>
                </a:ext>
              </a:extLst>
            </p:cNvPr>
            <p:cNvSpPr>
              <a:spLocks noChangeArrowheads="1"/>
            </p:cNvSpPr>
            <p:nvPr/>
          </p:nvSpPr>
          <p:spPr bwMode="auto">
            <a:xfrm rot="13020000">
              <a:off x="3960049" y="3314305"/>
              <a:ext cx="214057" cy="122920"/>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29" name="AutoShape 21">
              <a:extLst>
                <a:ext uri="{FF2B5EF4-FFF2-40B4-BE49-F238E27FC236}">
                  <a16:creationId xmlns:a16="http://schemas.microsoft.com/office/drawing/2014/main" id="{51C23CF7-406C-4F51-8673-B6A00E6BD791}"/>
                </a:ext>
              </a:extLst>
            </p:cNvPr>
            <p:cNvSpPr>
              <a:spLocks noChangeArrowheads="1"/>
            </p:cNvSpPr>
            <p:nvPr/>
          </p:nvSpPr>
          <p:spPr bwMode="auto">
            <a:xfrm rot="13020000">
              <a:off x="3976143" y="3323176"/>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30" name="Rectangle 22">
              <a:extLst>
                <a:ext uri="{FF2B5EF4-FFF2-40B4-BE49-F238E27FC236}">
                  <a16:creationId xmlns:a16="http://schemas.microsoft.com/office/drawing/2014/main" id="{FD186C8E-FFCF-4FA6-BB42-9DD0F974C268}"/>
                </a:ext>
              </a:extLst>
            </p:cNvPr>
            <p:cNvSpPr>
              <a:spLocks noChangeArrowheads="1"/>
            </p:cNvSpPr>
            <p:nvPr/>
          </p:nvSpPr>
          <p:spPr bwMode="auto">
            <a:xfrm>
              <a:off x="3229360" y="3273755"/>
              <a:ext cx="737381"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31" name="Line 23">
              <a:extLst>
                <a:ext uri="{FF2B5EF4-FFF2-40B4-BE49-F238E27FC236}">
                  <a16:creationId xmlns:a16="http://schemas.microsoft.com/office/drawing/2014/main" id="{11334077-CFBA-4878-ADCC-1E127BA1F96D}"/>
                </a:ext>
              </a:extLst>
            </p:cNvPr>
            <p:cNvSpPr>
              <a:spLocks noChangeShapeType="1"/>
            </p:cNvSpPr>
            <p:nvPr/>
          </p:nvSpPr>
          <p:spPr bwMode="auto">
            <a:xfrm>
              <a:off x="3305005" y="3453698"/>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32" name="Freeform 24">
              <a:extLst>
                <a:ext uri="{FF2B5EF4-FFF2-40B4-BE49-F238E27FC236}">
                  <a16:creationId xmlns:a16="http://schemas.microsoft.com/office/drawing/2014/main" id="{F245F89A-2D33-4D25-B001-575A9F446ADB}"/>
                </a:ext>
              </a:extLst>
            </p:cNvPr>
            <p:cNvSpPr>
              <a:spLocks/>
            </p:cNvSpPr>
            <p:nvPr/>
          </p:nvSpPr>
          <p:spPr bwMode="auto">
            <a:xfrm>
              <a:off x="1969164" y="2591997"/>
              <a:ext cx="928650"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33" name="AutoShape 25">
              <a:extLst>
                <a:ext uri="{FF2B5EF4-FFF2-40B4-BE49-F238E27FC236}">
                  <a16:creationId xmlns:a16="http://schemas.microsoft.com/office/drawing/2014/main" id="{C88CAA3F-A9B8-4964-BC49-F39F7D7AE306}"/>
                </a:ext>
              </a:extLst>
            </p:cNvPr>
            <p:cNvSpPr>
              <a:spLocks noChangeArrowheads="1"/>
            </p:cNvSpPr>
            <p:nvPr/>
          </p:nvSpPr>
          <p:spPr bwMode="auto">
            <a:xfrm rot="13020000">
              <a:off x="2662835" y="2632547"/>
              <a:ext cx="21244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34" name="AutoShape 26">
              <a:extLst>
                <a:ext uri="{FF2B5EF4-FFF2-40B4-BE49-F238E27FC236}">
                  <a16:creationId xmlns:a16="http://schemas.microsoft.com/office/drawing/2014/main" id="{32DBBCF5-A6C0-43FA-846D-028DE6FD43C4}"/>
                </a:ext>
              </a:extLst>
            </p:cNvPr>
            <p:cNvSpPr>
              <a:spLocks noChangeArrowheads="1"/>
            </p:cNvSpPr>
            <p:nvPr/>
          </p:nvSpPr>
          <p:spPr bwMode="auto">
            <a:xfrm rot="13020000">
              <a:off x="2677321" y="2641418"/>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35" name="Rectangle 27">
              <a:extLst>
                <a:ext uri="{FF2B5EF4-FFF2-40B4-BE49-F238E27FC236}">
                  <a16:creationId xmlns:a16="http://schemas.microsoft.com/office/drawing/2014/main" id="{7BE4724B-ED95-4DC5-99D1-33B417CAC611}"/>
                </a:ext>
              </a:extLst>
            </p:cNvPr>
            <p:cNvSpPr>
              <a:spLocks noChangeArrowheads="1"/>
            </p:cNvSpPr>
            <p:nvPr/>
          </p:nvSpPr>
          <p:spPr bwMode="auto">
            <a:xfrm>
              <a:off x="1930538" y="2593264"/>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36" name="Line 28">
              <a:extLst>
                <a:ext uri="{FF2B5EF4-FFF2-40B4-BE49-F238E27FC236}">
                  <a16:creationId xmlns:a16="http://schemas.microsoft.com/office/drawing/2014/main" id="{7CED196E-A120-4855-AB15-18C991122AA4}"/>
                </a:ext>
              </a:extLst>
            </p:cNvPr>
            <p:cNvSpPr>
              <a:spLocks noChangeShapeType="1"/>
            </p:cNvSpPr>
            <p:nvPr/>
          </p:nvSpPr>
          <p:spPr bwMode="auto">
            <a:xfrm>
              <a:off x="2006181" y="2773208"/>
              <a:ext cx="703328"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37" name="Freeform 29">
              <a:extLst>
                <a:ext uri="{FF2B5EF4-FFF2-40B4-BE49-F238E27FC236}">
                  <a16:creationId xmlns:a16="http://schemas.microsoft.com/office/drawing/2014/main" id="{75382E79-DC96-4A6A-92C1-F3401059326D}"/>
                </a:ext>
              </a:extLst>
            </p:cNvPr>
            <p:cNvSpPr>
              <a:spLocks/>
            </p:cNvSpPr>
            <p:nvPr/>
          </p:nvSpPr>
          <p:spPr bwMode="auto">
            <a:xfrm>
              <a:off x="1969164" y="3272488"/>
              <a:ext cx="928650" cy="586717"/>
            </a:xfrm>
            <a:custGeom>
              <a:avLst/>
              <a:gdLst/>
              <a:ahLst/>
              <a:cxnLst>
                <a:cxn ang="0">
                  <a:pos x="0" y="462"/>
                </a:cxn>
                <a:cxn ang="0">
                  <a:pos x="0" y="0"/>
                </a:cxn>
                <a:cxn ang="0">
                  <a:pos x="474" y="0"/>
                </a:cxn>
                <a:cxn ang="0">
                  <a:pos x="576" y="77"/>
                </a:cxn>
                <a:cxn ang="0">
                  <a:pos x="576" y="462"/>
                </a:cxn>
                <a:cxn ang="0">
                  <a:pos x="0" y="462"/>
                </a:cxn>
              </a:cxnLst>
              <a:rect l="0" t="0" r="r" b="b"/>
              <a:pathLst>
                <a:path w="577" h="463">
                  <a:moveTo>
                    <a:pt x="0" y="462"/>
                  </a:moveTo>
                  <a:lnTo>
                    <a:pt x="0" y="0"/>
                  </a:lnTo>
                  <a:lnTo>
                    <a:pt x="474" y="0"/>
                  </a:lnTo>
                  <a:lnTo>
                    <a:pt x="576" y="77"/>
                  </a:lnTo>
                  <a:lnTo>
                    <a:pt x="576" y="462"/>
                  </a:lnTo>
                  <a:lnTo>
                    <a:pt x="0" y="462"/>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38" name="AutoShape 30">
              <a:extLst>
                <a:ext uri="{FF2B5EF4-FFF2-40B4-BE49-F238E27FC236}">
                  <a16:creationId xmlns:a16="http://schemas.microsoft.com/office/drawing/2014/main" id="{FFAEC7FF-F94D-4E95-8FBE-F76E298D593D}"/>
                </a:ext>
              </a:extLst>
            </p:cNvPr>
            <p:cNvSpPr>
              <a:spLocks noChangeArrowheads="1"/>
            </p:cNvSpPr>
            <p:nvPr/>
          </p:nvSpPr>
          <p:spPr bwMode="auto">
            <a:xfrm rot="13020000">
              <a:off x="2662835" y="3314305"/>
              <a:ext cx="212447" cy="122920"/>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39" name="AutoShape 31">
              <a:extLst>
                <a:ext uri="{FF2B5EF4-FFF2-40B4-BE49-F238E27FC236}">
                  <a16:creationId xmlns:a16="http://schemas.microsoft.com/office/drawing/2014/main" id="{1AA9B20F-991B-4447-B3E4-6BD9D1BE6834}"/>
                </a:ext>
              </a:extLst>
            </p:cNvPr>
            <p:cNvSpPr>
              <a:spLocks noChangeArrowheads="1"/>
            </p:cNvSpPr>
            <p:nvPr/>
          </p:nvSpPr>
          <p:spPr bwMode="auto">
            <a:xfrm rot="13020000">
              <a:off x="2677321" y="3323176"/>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40" name="Rectangle 32">
              <a:extLst>
                <a:ext uri="{FF2B5EF4-FFF2-40B4-BE49-F238E27FC236}">
                  <a16:creationId xmlns:a16="http://schemas.microsoft.com/office/drawing/2014/main" id="{74807FE7-60AF-4511-9B81-15E96AA74F08}"/>
                </a:ext>
              </a:extLst>
            </p:cNvPr>
            <p:cNvSpPr>
              <a:spLocks noChangeArrowheads="1"/>
            </p:cNvSpPr>
            <p:nvPr/>
          </p:nvSpPr>
          <p:spPr bwMode="auto">
            <a:xfrm>
              <a:off x="1930538" y="3273755"/>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41" name="Line 33">
              <a:extLst>
                <a:ext uri="{FF2B5EF4-FFF2-40B4-BE49-F238E27FC236}">
                  <a16:creationId xmlns:a16="http://schemas.microsoft.com/office/drawing/2014/main" id="{233859EC-2870-42B6-AC01-920140CE56E7}"/>
                </a:ext>
              </a:extLst>
            </p:cNvPr>
            <p:cNvSpPr>
              <a:spLocks noChangeShapeType="1"/>
            </p:cNvSpPr>
            <p:nvPr/>
          </p:nvSpPr>
          <p:spPr bwMode="auto">
            <a:xfrm>
              <a:off x="2006181" y="3453698"/>
              <a:ext cx="703328"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103" name="Freeform 35">
              <a:extLst>
                <a:ext uri="{FF2B5EF4-FFF2-40B4-BE49-F238E27FC236}">
                  <a16:creationId xmlns:a16="http://schemas.microsoft.com/office/drawing/2014/main" id="{C6984B7F-02D4-4BF6-9134-0C18AE278612}"/>
                </a:ext>
              </a:extLst>
            </p:cNvPr>
            <p:cNvSpPr>
              <a:spLocks/>
            </p:cNvSpPr>
            <p:nvPr/>
          </p:nvSpPr>
          <p:spPr bwMode="auto">
            <a:xfrm>
              <a:off x="792659" y="2934143"/>
              <a:ext cx="930260" cy="584183"/>
            </a:xfrm>
            <a:custGeom>
              <a:avLst/>
              <a:gdLst/>
              <a:ahLst/>
              <a:cxnLst>
                <a:cxn ang="0">
                  <a:pos x="0" y="460"/>
                </a:cxn>
                <a:cxn ang="0">
                  <a:pos x="0" y="0"/>
                </a:cxn>
                <a:cxn ang="0">
                  <a:pos x="475" y="0"/>
                </a:cxn>
                <a:cxn ang="0">
                  <a:pos x="577" y="76"/>
                </a:cxn>
                <a:cxn ang="0">
                  <a:pos x="577" y="460"/>
                </a:cxn>
                <a:cxn ang="0">
                  <a:pos x="0" y="460"/>
                </a:cxn>
              </a:cxnLst>
              <a:rect l="0" t="0" r="r" b="b"/>
              <a:pathLst>
                <a:path w="578" h="461">
                  <a:moveTo>
                    <a:pt x="0" y="460"/>
                  </a:moveTo>
                  <a:lnTo>
                    <a:pt x="0" y="0"/>
                  </a:lnTo>
                  <a:lnTo>
                    <a:pt x="475" y="0"/>
                  </a:lnTo>
                  <a:lnTo>
                    <a:pt x="577" y="76"/>
                  </a:lnTo>
                  <a:lnTo>
                    <a:pt x="577"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104" name="AutoShape 36">
              <a:extLst>
                <a:ext uri="{FF2B5EF4-FFF2-40B4-BE49-F238E27FC236}">
                  <a16:creationId xmlns:a16="http://schemas.microsoft.com/office/drawing/2014/main" id="{D9BF1330-64DA-42AE-8094-BFD24C345C5F}"/>
                </a:ext>
              </a:extLst>
            </p:cNvPr>
            <p:cNvSpPr>
              <a:spLocks noChangeArrowheads="1"/>
            </p:cNvSpPr>
            <p:nvPr/>
          </p:nvSpPr>
          <p:spPr bwMode="auto">
            <a:xfrm rot="13020000">
              <a:off x="1487940" y="2973427"/>
              <a:ext cx="214056"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105" name="AutoShape 37">
              <a:extLst>
                <a:ext uri="{FF2B5EF4-FFF2-40B4-BE49-F238E27FC236}">
                  <a16:creationId xmlns:a16="http://schemas.microsoft.com/office/drawing/2014/main" id="{93503685-F80C-4CB7-889D-7C0E957662B9}"/>
                </a:ext>
              </a:extLst>
            </p:cNvPr>
            <p:cNvSpPr>
              <a:spLocks noChangeArrowheads="1"/>
            </p:cNvSpPr>
            <p:nvPr/>
          </p:nvSpPr>
          <p:spPr bwMode="auto">
            <a:xfrm rot="13020000">
              <a:off x="1502425" y="2982297"/>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106" name="Rectangle 38">
              <a:extLst>
                <a:ext uri="{FF2B5EF4-FFF2-40B4-BE49-F238E27FC236}">
                  <a16:creationId xmlns:a16="http://schemas.microsoft.com/office/drawing/2014/main" id="{6339A98F-C537-41E4-BC53-2B5A8EF149E1}"/>
                </a:ext>
              </a:extLst>
            </p:cNvPr>
            <p:cNvSpPr>
              <a:spLocks noChangeArrowheads="1"/>
            </p:cNvSpPr>
            <p:nvPr/>
          </p:nvSpPr>
          <p:spPr bwMode="auto">
            <a:xfrm>
              <a:off x="755642" y="2934143"/>
              <a:ext cx="1045158"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dirty="0">
                  <a:latin typeface="+mj-lt"/>
                </a:rPr>
                <a:t>Sales order</a:t>
              </a:r>
              <a:endParaRPr lang="en-GB" sz="1100" b="1" dirty="0">
                <a:latin typeface="+mj-lt"/>
              </a:endParaRPr>
            </a:p>
          </p:txBody>
        </p:sp>
        <p:sp>
          <p:nvSpPr>
            <p:cNvPr id="107" name="Line 39">
              <a:extLst>
                <a:ext uri="{FF2B5EF4-FFF2-40B4-BE49-F238E27FC236}">
                  <a16:creationId xmlns:a16="http://schemas.microsoft.com/office/drawing/2014/main" id="{8A437BF5-F240-4016-84F1-C30A91F571C8}"/>
                </a:ext>
              </a:extLst>
            </p:cNvPr>
            <p:cNvSpPr>
              <a:spLocks noChangeShapeType="1"/>
            </p:cNvSpPr>
            <p:nvPr/>
          </p:nvSpPr>
          <p:spPr bwMode="auto">
            <a:xfrm>
              <a:off x="831285" y="3112820"/>
              <a:ext cx="703328"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grpSp>
      <p:sp>
        <p:nvSpPr>
          <p:cNvPr id="7" name="Slide Number Placeholder 6"/>
          <p:cNvSpPr>
            <a:spLocks noGrp="1"/>
          </p:cNvSpPr>
          <p:nvPr>
            <p:ph type="sldNum" sz="quarter" idx="11"/>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4</a:t>
            </a:fld>
            <a:endParaRPr lang="en-US" dirty="0"/>
          </a:p>
        </p:txBody>
      </p:sp>
      <p:grpSp>
        <p:nvGrpSpPr>
          <p:cNvPr id="3" name="Group 2"/>
          <p:cNvGrpSpPr/>
          <p:nvPr/>
        </p:nvGrpSpPr>
        <p:grpSpPr>
          <a:xfrm>
            <a:off x="2257111" y="4860350"/>
            <a:ext cx="3647005" cy="1520650"/>
            <a:chOff x="733110" y="4611926"/>
            <a:chExt cx="3647005" cy="1520650"/>
          </a:xfrm>
        </p:grpSpPr>
        <p:sp>
          <p:nvSpPr>
            <p:cNvPr id="18" name="Rectangle 10">
              <a:extLst>
                <a:ext uri="{FF2B5EF4-FFF2-40B4-BE49-F238E27FC236}">
                  <a16:creationId xmlns:a16="http://schemas.microsoft.com/office/drawing/2014/main" id="{92B6158B-39B9-48A8-BAF3-96F29BF31D19}"/>
                </a:ext>
              </a:extLst>
            </p:cNvPr>
            <p:cNvSpPr>
              <a:spLocks noChangeArrowheads="1"/>
            </p:cNvSpPr>
            <p:nvPr/>
          </p:nvSpPr>
          <p:spPr bwMode="auto">
            <a:xfrm>
              <a:off x="733110" y="4611926"/>
              <a:ext cx="3647005" cy="1520650"/>
            </a:xfrm>
            <a:prstGeom prst="rect">
              <a:avLst/>
            </a:prstGeom>
            <a:solidFill>
              <a:schemeClr val="accent5">
                <a:lumMod val="20000"/>
                <a:lumOff val="80000"/>
              </a:schemeClr>
            </a:solidFill>
            <a:ln w="9525">
              <a:solidFill>
                <a:schemeClr val="tx1"/>
              </a:solidFill>
              <a:miter lim="800000"/>
              <a:headEnd/>
              <a:tailEnd/>
            </a:ln>
            <a:effectLst/>
          </p:spPr>
          <p:txBody>
            <a:bodyPr wrap="none" lIns="152400" tIns="60325" rIns="152400" bIns="60325"/>
            <a:lstStyle/>
            <a:p>
              <a:pPr defTabSz="585788" eaLnBrk="0" hangingPunct="0"/>
              <a:endParaRPr lang="en-GB" sz="1600" b="1" dirty="0">
                <a:latin typeface="+mj-lt"/>
              </a:endParaRPr>
            </a:p>
          </p:txBody>
        </p:sp>
        <p:sp>
          <p:nvSpPr>
            <p:cNvPr id="19" name="Line 11">
              <a:extLst>
                <a:ext uri="{FF2B5EF4-FFF2-40B4-BE49-F238E27FC236}">
                  <a16:creationId xmlns:a16="http://schemas.microsoft.com/office/drawing/2014/main" id="{F8A1F2FF-AC96-443F-8031-C81BD327066B}"/>
                </a:ext>
              </a:extLst>
            </p:cNvPr>
            <p:cNvSpPr>
              <a:spLocks noChangeShapeType="1"/>
            </p:cNvSpPr>
            <p:nvPr/>
          </p:nvSpPr>
          <p:spPr bwMode="auto">
            <a:xfrm>
              <a:off x="1722919" y="5402664"/>
              <a:ext cx="370173"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20" name="Line 12">
              <a:extLst>
                <a:ext uri="{FF2B5EF4-FFF2-40B4-BE49-F238E27FC236}">
                  <a16:creationId xmlns:a16="http://schemas.microsoft.com/office/drawing/2014/main" id="{9FB7637F-FFF1-4C78-B66E-0AECA9146D52}"/>
                </a:ext>
              </a:extLst>
            </p:cNvPr>
            <p:cNvSpPr>
              <a:spLocks noChangeShapeType="1"/>
            </p:cNvSpPr>
            <p:nvPr/>
          </p:nvSpPr>
          <p:spPr bwMode="auto">
            <a:xfrm flipV="1">
              <a:off x="3020132" y="5061786"/>
              <a:ext cx="247855" cy="292725"/>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21" name="Line 13">
              <a:extLst>
                <a:ext uri="{FF2B5EF4-FFF2-40B4-BE49-F238E27FC236}">
                  <a16:creationId xmlns:a16="http://schemas.microsoft.com/office/drawing/2014/main" id="{935F1DAF-A9D9-428A-9112-82DB96640BE9}"/>
                </a:ext>
              </a:extLst>
            </p:cNvPr>
            <p:cNvSpPr>
              <a:spLocks noChangeShapeType="1"/>
            </p:cNvSpPr>
            <p:nvPr/>
          </p:nvSpPr>
          <p:spPr bwMode="auto">
            <a:xfrm>
              <a:off x="3020132" y="5450818"/>
              <a:ext cx="247855" cy="292725"/>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43" name="Freeform 40">
              <a:extLst>
                <a:ext uri="{FF2B5EF4-FFF2-40B4-BE49-F238E27FC236}">
                  <a16:creationId xmlns:a16="http://schemas.microsoft.com/office/drawing/2014/main" id="{5142B1AF-9A25-46F9-B82D-72486587C077}"/>
                </a:ext>
              </a:extLst>
            </p:cNvPr>
            <p:cNvSpPr>
              <a:spLocks/>
            </p:cNvSpPr>
            <p:nvPr/>
          </p:nvSpPr>
          <p:spPr bwMode="auto">
            <a:xfrm>
              <a:off x="792659" y="5061786"/>
              <a:ext cx="930260" cy="585450"/>
            </a:xfrm>
            <a:custGeom>
              <a:avLst/>
              <a:gdLst/>
              <a:ahLst/>
              <a:cxnLst>
                <a:cxn ang="0">
                  <a:pos x="0" y="461"/>
                </a:cxn>
                <a:cxn ang="0">
                  <a:pos x="0" y="0"/>
                </a:cxn>
                <a:cxn ang="0">
                  <a:pos x="475" y="0"/>
                </a:cxn>
                <a:cxn ang="0">
                  <a:pos x="577" y="76"/>
                </a:cxn>
                <a:cxn ang="0">
                  <a:pos x="577" y="461"/>
                </a:cxn>
                <a:cxn ang="0">
                  <a:pos x="0" y="461"/>
                </a:cxn>
              </a:cxnLst>
              <a:rect l="0" t="0" r="r" b="b"/>
              <a:pathLst>
                <a:path w="578" h="462">
                  <a:moveTo>
                    <a:pt x="0" y="461"/>
                  </a:moveTo>
                  <a:lnTo>
                    <a:pt x="0" y="0"/>
                  </a:lnTo>
                  <a:lnTo>
                    <a:pt x="475" y="0"/>
                  </a:lnTo>
                  <a:lnTo>
                    <a:pt x="577" y="76"/>
                  </a:lnTo>
                  <a:lnTo>
                    <a:pt x="577"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44" name="AutoShape 41">
              <a:extLst>
                <a:ext uri="{FF2B5EF4-FFF2-40B4-BE49-F238E27FC236}">
                  <a16:creationId xmlns:a16="http://schemas.microsoft.com/office/drawing/2014/main" id="{2A04EB9C-A148-400A-8760-DEAFC36E295A}"/>
                </a:ext>
              </a:extLst>
            </p:cNvPr>
            <p:cNvSpPr>
              <a:spLocks noChangeArrowheads="1"/>
            </p:cNvSpPr>
            <p:nvPr/>
          </p:nvSpPr>
          <p:spPr bwMode="auto">
            <a:xfrm rot="13020000">
              <a:off x="1487939" y="5102336"/>
              <a:ext cx="214057" cy="122919"/>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45" name="AutoShape 42">
              <a:extLst>
                <a:ext uri="{FF2B5EF4-FFF2-40B4-BE49-F238E27FC236}">
                  <a16:creationId xmlns:a16="http://schemas.microsoft.com/office/drawing/2014/main" id="{25FC86F8-273C-4702-BEC1-677BE01CD8B2}"/>
                </a:ext>
              </a:extLst>
            </p:cNvPr>
            <p:cNvSpPr>
              <a:spLocks noChangeArrowheads="1"/>
            </p:cNvSpPr>
            <p:nvPr/>
          </p:nvSpPr>
          <p:spPr bwMode="auto">
            <a:xfrm rot="13020000">
              <a:off x="1502425" y="5111206"/>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46" name="Rectangle 43">
              <a:extLst>
                <a:ext uri="{FF2B5EF4-FFF2-40B4-BE49-F238E27FC236}">
                  <a16:creationId xmlns:a16="http://schemas.microsoft.com/office/drawing/2014/main" id="{81C9F613-901C-476E-8A28-B87843BDFCB5}"/>
                </a:ext>
              </a:extLst>
            </p:cNvPr>
            <p:cNvSpPr>
              <a:spLocks noChangeArrowheads="1"/>
            </p:cNvSpPr>
            <p:nvPr/>
          </p:nvSpPr>
          <p:spPr bwMode="auto">
            <a:xfrm>
              <a:off x="755642" y="5061786"/>
              <a:ext cx="1045158"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Sales order</a:t>
              </a:r>
              <a:endParaRPr lang="en-GB" sz="1100" b="1" dirty="0">
                <a:latin typeface="+mj-lt"/>
              </a:endParaRPr>
            </a:p>
          </p:txBody>
        </p:sp>
        <p:sp>
          <p:nvSpPr>
            <p:cNvPr id="47" name="Line 44">
              <a:extLst>
                <a:ext uri="{FF2B5EF4-FFF2-40B4-BE49-F238E27FC236}">
                  <a16:creationId xmlns:a16="http://schemas.microsoft.com/office/drawing/2014/main" id="{9F84ADA9-1D60-472C-8C72-789D06C130C3}"/>
                </a:ext>
              </a:extLst>
            </p:cNvPr>
            <p:cNvSpPr>
              <a:spLocks noChangeShapeType="1"/>
            </p:cNvSpPr>
            <p:nvPr/>
          </p:nvSpPr>
          <p:spPr bwMode="auto">
            <a:xfrm>
              <a:off x="831285" y="5241729"/>
              <a:ext cx="703328"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48" name="Freeform 45">
              <a:extLst>
                <a:ext uri="{FF2B5EF4-FFF2-40B4-BE49-F238E27FC236}">
                  <a16:creationId xmlns:a16="http://schemas.microsoft.com/office/drawing/2014/main" id="{8A3B0DBB-D236-4510-9113-B7955F4E90C4}"/>
                </a:ext>
              </a:extLst>
            </p:cNvPr>
            <p:cNvSpPr>
              <a:spLocks/>
            </p:cNvSpPr>
            <p:nvPr/>
          </p:nvSpPr>
          <p:spPr bwMode="auto">
            <a:xfrm>
              <a:off x="2093091" y="5061786"/>
              <a:ext cx="928651"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49" name="AutoShape 46">
              <a:extLst>
                <a:ext uri="{FF2B5EF4-FFF2-40B4-BE49-F238E27FC236}">
                  <a16:creationId xmlns:a16="http://schemas.microsoft.com/office/drawing/2014/main" id="{2DDAFA31-E369-4611-8B93-EDAE89C1FEE9}"/>
                </a:ext>
              </a:extLst>
            </p:cNvPr>
            <p:cNvSpPr>
              <a:spLocks noChangeArrowheads="1"/>
            </p:cNvSpPr>
            <p:nvPr/>
          </p:nvSpPr>
          <p:spPr bwMode="auto">
            <a:xfrm rot="13020000">
              <a:off x="2785153" y="5102336"/>
              <a:ext cx="214057" cy="122919"/>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50" name="AutoShape 47">
              <a:extLst>
                <a:ext uri="{FF2B5EF4-FFF2-40B4-BE49-F238E27FC236}">
                  <a16:creationId xmlns:a16="http://schemas.microsoft.com/office/drawing/2014/main" id="{F2ABF204-85AC-4AC2-8240-95621394C2A4}"/>
                </a:ext>
              </a:extLst>
            </p:cNvPr>
            <p:cNvSpPr>
              <a:spLocks noChangeArrowheads="1"/>
            </p:cNvSpPr>
            <p:nvPr/>
          </p:nvSpPr>
          <p:spPr bwMode="auto">
            <a:xfrm rot="13020000">
              <a:off x="2801247" y="5111206"/>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51" name="Rectangle 48">
              <a:extLst>
                <a:ext uri="{FF2B5EF4-FFF2-40B4-BE49-F238E27FC236}">
                  <a16:creationId xmlns:a16="http://schemas.microsoft.com/office/drawing/2014/main" id="{33A4BA54-05E8-4924-97C9-A8A58849B036}"/>
                </a:ext>
              </a:extLst>
            </p:cNvPr>
            <p:cNvSpPr>
              <a:spLocks noChangeArrowheads="1"/>
            </p:cNvSpPr>
            <p:nvPr/>
          </p:nvSpPr>
          <p:spPr bwMode="auto">
            <a:xfrm>
              <a:off x="2054464" y="5061786"/>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52" name="Line 49">
              <a:extLst>
                <a:ext uri="{FF2B5EF4-FFF2-40B4-BE49-F238E27FC236}">
                  <a16:creationId xmlns:a16="http://schemas.microsoft.com/office/drawing/2014/main" id="{2D522815-E06B-4C19-8A75-D1EBA7F660B5}"/>
                </a:ext>
              </a:extLst>
            </p:cNvPr>
            <p:cNvSpPr>
              <a:spLocks noChangeShapeType="1"/>
            </p:cNvSpPr>
            <p:nvPr/>
          </p:nvSpPr>
          <p:spPr bwMode="auto">
            <a:xfrm>
              <a:off x="2130109" y="5241729"/>
              <a:ext cx="70493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53" name="Freeform 50">
              <a:extLst>
                <a:ext uri="{FF2B5EF4-FFF2-40B4-BE49-F238E27FC236}">
                  <a16:creationId xmlns:a16="http://schemas.microsoft.com/office/drawing/2014/main" id="{7052C898-E08D-4F66-8EF2-30B1518DA01A}"/>
                </a:ext>
              </a:extLst>
            </p:cNvPr>
            <p:cNvSpPr>
              <a:spLocks/>
            </p:cNvSpPr>
            <p:nvPr/>
          </p:nvSpPr>
          <p:spPr bwMode="auto">
            <a:xfrm>
              <a:off x="3267987" y="4722174"/>
              <a:ext cx="928651" cy="584183"/>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54" name="AutoShape 51">
              <a:extLst>
                <a:ext uri="{FF2B5EF4-FFF2-40B4-BE49-F238E27FC236}">
                  <a16:creationId xmlns:a16="http://schemas.microsoft.com/office/drawing/2014/main" id="{198016F2-80B7-4443-9CBC-588AC07AAFE6}"/>
                </a:ext>
              </a:extLst>
            </p:cNvPr>
            <p:cNvSpPr>
              <a:spLocks noChangeArrowheads="1"/>
            </p:cNvSpPr>
            <p:nvPr/>
          </p:nvSpPr>
          <p:spPr bwMode="auto">
            <a:xfrm rot="13020000">
              <a:off x="3960049" y="4761457"/>
              <a:ext cx="214057" cy="122920"/>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55" name="AutoShape 52">
              <a:extLst>
                <a:ext uri="{FF2B5EF4-FFF2-40B4-BE49-F238E27FC236}">
                  <a16:creationId xmlns:a16="http://schemas.microsoft.com/office/drawing/2014/main" id="{2B835932-BEAA-4E9F-BE4F-F35C85ED53DB}"/>
                </a:ext>
              </a:extLst>
            </p:cNvPr>
            <p:cNvSpPr>
              <a:spLocks noChangeArrowheads="1"/>
            </p:cNvSpPr>
            <p:nvPr/>
          </p:nvSpPr>
          <p:spPr bwMode="auto">
            <a:xfrm rot="13020000">
              <a:off x="3976143" y="4770328"/>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56" name="Rectangle 53">
              <a:extLst>
                <a:ext uri="{FF2B5EF4-FFF2-40B4-BE49-F238E27FC236}">
                  <a16:creationId xmlns:a16="http://schemas.microsoft.com/office/drawing/2014/main" id="{10D3EDAF-9E1F-40A1-AA4D-38AFAF4BC2F9}"/>
                </a:ext>
              </a:extLst>
            </p:cNvPr>
            <p:cNvSpPr>
              <a:spLocks noChangeArrowheads="1"/>
            </p:cNvSpPr>
            <p:nvPr/>
          </p:nvSpPr>
          <p:spPr bwMode="auto">
            <a:xfrm>
              <a:off x="3229360" y="4722174"/>
              <a:ext cx="737381"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57" name="Line 54">
              <a:extLst>
                <a:ext uri="{FF2B5EF4-FFF2-40B4-BE49-F238E27FC236}">
                  <a16:creationId xmlns:a16="http://schemas.microsoft.com/office/drawing/2014/main" id="{16195AA6-5B4A-4A75-8144-C5EAC429B628}"/>
                </a:ext>
              </a:extLst>
            </p:cNvPr>
            <p:cNvSpPr>
              <a:spLocks noChangeShapeType="1"/>
            </p:cNvSpPr>
            <p:nvPr/>
          </p:nvSpPr>
          <p:spPr bwMode="auto">
            <a:xfrm>
              <a:off x="3305005" y="4900850"/>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58" name="Freeform 55">
              <a:extLst>
                <a:ext uri="{FF2B5EF4-FFF2-40B4-BE49-F238E27FC236}">
                  <a16:creationId xmlns:a16="http://schemas.microsoft.com/office/drawing/2014/main" id="{40CABF09-8AA8-4CED-97EA-2348408799BC}"/>
                </a:ext>
              </a:extLst>
            </p:cNvPr>
            <p:cNvSpPr>
              <a:spLocks/>
            </p:cNvSpPr>
            <p:nvPr/>
          </p:nvSpPr>
          <p:spPr bwMode="auto">
            <a:xfrm>
              <a:off x="3267987" y="5402664"/>
              <a:ext cx="928651"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59" name="AutoShape 56">
              <a:extLst>
                <a:ext uri="{FF2B5EF4-FFF2-40B4-BE49-F238E27FC236}">
                  <a16:creationId xmlns:a16="http://schemas.microsoft.com/office/drawing/2014/main" id="{BBCB07A7-52A0-4397-B784-E938BC6B7689}"/>
                </a:ext>
              </a:extLst>
            </p:cNvPr>
            <p:cNvSpPr>
              <a:spLocks noChangeArrowheads="1"/>
            </p:cNvSpPr>
            <p:nvPr/>
          </p:nvSpPr>
          <p:spPr bwMode="auto">
            <a:xfrm rot="13020000">
              <a:off x="3960049" y="5441948"/>
              <a:ext cx="21405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60" name="AutoShape 57">
              <a:extLst>
                <a:ext uri="{FF2B5EF4-FFF2-40B4-BE49-F238E27FC236}">
                  <a16:creationId xmlns:a16="http://schemas.microsoft.com/office/drawing/2014/main" id="{BE8B2D9F-984E-4E18-8517-A2B54811EBAC}"/>
                </a:ext>
              </a:extLst>
            </p:cNvPr>
            <p:cNvSpPr>
              <a:spLocks noChangeArrowheads="1"/>
            </p:cNvSpPr>
            <p:nvPr/>
          </p:nvSpPr>
          <p:spPr bwMode="auto">
            <a:xfrm rot="13020000">
              <a:off x="3976143" y="5450818"/>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61" name="Rectangle 58">
              <a:extLst>
                <a:ext uri="{FF2B5EF4-FFF2-40B4-BE49-F238E27FC236}">
                  <a16:creationId xmlns:a16="http://schemas.microsoft.com/office/drawing/2014/main" id="{025855B8-F471-4819-9C24-8386E53AEFF5}"/>
                </a:ext>
              </a:extLst>
            </p:cNvPr>
            <p:cNvSpPr>
              <a:spLocks noChangeArrowheads="1"/>
            </p:cNvSpPr>
            <p:nvPr/>
          </p:nvSpPr>
          <p:spPr bwMode="auto">
            <a:xfrm>
              <a:off x="3229360" y="5402664"/>
              <a:ext cx="737381"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62" name="Line 59">
              <a:extLst>
                <a:ext uri="{FF2B5EF4-FFF2-40B4-BE49-F238E27FC236}">
                  <a16:creationId xmlns:a16="http://schemas.microsoft.com/office/drawing/2014/main" id="{533D6376-99BA-4D41-855F-3CD680BB0744}"/>
                </a:ext>
              </a:extLst>
            </p:cNvPr>
            <p:cNvSpPr>
              <a:spLocks noChangeShapeType="1"/>
            </p:cNvSpPr>
            <p:nvPr/>
          </p:nvSpPr>
          <p:spPr bwMode="auto">
            <a:xfrm>
              <a:off x="3305005" y="5582608"/>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grpSp>
      <p:grpSp>
        <p:nvGrpSpPr>
          <p:cNvPr id="4" name="Group 3"/>
          <p:cNvGrpSpPr/>
          <p:nvPr/>
        </p:nvGrpSpPr>
        <p:grpSpPr>
          <a:xfrm>
            <a:off x="6203836" y="3388270"/>
            <a:ext cx="3708164" cy="2169460"/>
            <a:chOff x="4550716" y="3294030"/>
            <a:chExt cx="3708164" cy="2169460"/>
          </a:xfrm>
        </p:grpSpPr>
        <p:sp>
          <p:nvSpPr>
            <p:cNvPr id="63" name="Rectangle 60">
              <a:extLst>
                <a:ext uri="{FF2B5EF4-FFF2-40B4-BE49-F238E27FC236}">
                  <a16:creationId xmlns:a16="http://schemas.microsoft.com/office/drawing/2014/main" id="{2E30F2CA-FDAA-4216-B83E-696C023C179E}"/>
                </a:ext>
              </a:extLst>
            </p:cNvPr>
            <p:cNvSpPr>
              <a:spLocks noChangeArrowheads="1"/>
            </p:cNvSpPr>
            <p:nvPr/>
          </p:nvSpPr>
          <p:spPr bwMode="auto">
            <a:xfrm>
              <a:off x="4550716" y="3294030"/>
              <a:ext cx="3708164" cy="2169460"/>
            </a:xfrm>
            <a:prstGeom prst="rect">
              <a:avLst/>
            </a:prstGeom>
            <a:solidFill>
              <a:schemeClr val="accent5">
                <a:lumMod val="20000"/>
                <a:lumOff val="80000"/>
              </a:schemeClr>
            </a:solidFill>
            <a:ln w="9525">
              <a:solidFill>
                <a:schemeClr val="tx1"/>
              </a:solidFill>
              <a:miter lim="800000"/>
              <a:headEnd/>
              <a:tailEnd/>
            </a:ln>
            <a:effectLst/>
          </p:spPr>
          <p:txBody>
            <a:bodyPr wrap="none" lIns="152400" tIns="60325" rIns="152400" bIns="60325"/>
            <a:lstStyle/>
            <a:p>
              <a:pPr defTabSz="585788" eaLnBrk="0" hangingPunct="0"/>
              <a:endParaRPr lang="en-GB" sz="1600" b="1" dirty="0">
                <a:latin typeface="+mj-lt"/>
              </a:endParaRPr>
            </a:p>
          </p:txBody>
        </p:sp>
        <p:sp>
          <p:nvSpPr>
            <p:cNvPr id="64" name="Line 61">
              <a:extLst>
                <a:ext uri="{FF2B5EF4-FFF2-40B4-BE49-F238E27FC236}">
                  <a16:creationId xmlns:a16="http://schemas.microsoft.com/office/drawing/2014/main" id="{8DBCE87D-4FEC-4A66-8062-19820D35598D}"/>
                </a:ext>
              </a:extLst>
            </p:cNvPr>
            <p:cNvSpPr>
              <a:spLocks noChangeShapeType="1"/>
            </p:cNvSpPr>
            <p:nvPr/>
          </p:nvSpPr>
          <p:spPr bwMode="auto">
            <a:xfrm>
              <a:off x="5538916" y="3740087"/>
              <a:ext cx="371782"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65" name="Line 62">
              <a:extLst>
                <a:ext uri="{FF2B5EF4-FFF2-40B4-BE49-F238E27FC236}">
                  <a16:creationId xmlns:a16="http://schemas.microsoft.com/office/drawing/2014/main" id="{B42C9EA4-5D8F-48F3-A31D-EA22AF5807A6}"/>
                </a:ext>
              </a:extLst>
            </p:cNvPr>
            <p:cNvSpPr>
              <a:spLocks noChangeShapeType="1"/>
            </p:cNvSpPr>
            <p:nvPr/>
          </p:nvSpPr>
          <p:spPr bwMode="auto">
            <a:xfrm>
              <a:off x="5538916" y="5103603"/>
              <a:ext cx="371782"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66" name="Line 63">
              <a:extLst>
                <a:ext uri="{FF2B5EF4-FFF2-40B4-BE49-F238E27FC236}">
                  <a16:creationId xmlns:a16="http://schemas.microsoft.com/office/drawing/2014/main" id="{5B872187-AC97-4526-8BC5-57479158EC66}"/>
                </a:ext>
              </a:extLst>
            </p:cNvPr>
            <p:cNvSpPr>
              <a:spLocks noChangeShapeType="1"/>
            </p:cNvSpPr>
            <p:nvPr/>
          </p:nvSpPr>
          <p:spPr bwMode="auto">
            <a:xfrm flipV="1">
              <a:off x="6837739" y="4519421"/>
              <a:ext cx="370173" cy="584183"/>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67" name="Line 64">
              <a:extLst>
                <a:ext uri="{FF2B5EF4-FFF2-40B4-BE49-F238E27FC236}">
                  <a16:creationId xmlns:a16="http://schemas.microsoft.com/office/drawing/2014/main" id="{DB7C76E1-1D17-4C3D-B26F-70810769188E}"/>
                </a:ext>
              </a:extLst>
            </p:cNvPr>
            <p:cNvSpPr>
              <a:spLocks noChangeShapeType="1"/>
            </p:cNvSpPr>
            <p:nvPr/>
          </p:nvSpPr>
          <p:spPr bwMode="auto">
            <a:xfrm>
              <a:off x="6837739" y="3738820"/>
              <a:ext cx="370173" cy="58545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68" name="Line 65">
              <a:extLst>
                <a:ext uri="{FF2B5EF4-FFF2-40B4-BE49-F238E27FC236}">
                  <a16:creationId xmlns:a16="http://schemas.microsoft.com/office/drawing/2014/main" id="{44C70A37-BA6D-4F5C-BA04-DF6296C9A0DE}"/>
                </a:ext>
              </a:extLst>
            </p:cNvPr>
            <p:cNvSpPr>
              <a:spLocks noChangeShapeType="1"/>
            </p:cNvSpPr>
            <p:nvPr/>
          </p:nvSpPr>
          <p:spPr bwMode="auto">
            <a:xfrm>
              <a:off x="6837739" y="4421845"/>
              <a:ext cx="370173" cy="0"/>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69" name="Line 66">
              <a:extLst>
                <a:ext uri="{FF2B5EF4-FFF2-40B4-BE49-F238E27FC236}">
                  <a16:creationId xmlns:a16="http://schemas.microsoft.com/office/drawing/2014/main" id="{36CB873F-180C-4D63-A2C4-742AE1B33F66}"/>
                </a:ext>
              </a:extLst>
            </p:cNvPr>
            <p:cNvSpPr>
              <a:spLocks noChangeShapeType="1"/>
            </p:cNvSpPr>
            <p:nvPr/>
          </p:nvSpPr>
          <p:spPr bwMode="auto">
            <a:xfrm>
              <a:off x="5538916" y="3740087"/>
              <a:ext cx="371782" cy="681758"/>
            </a:xfrm>
            <a:prstGeom prst="line">
              <a:avLst/>
            </a:prstGeom>
            <a:noFill/>
            <a:ln w="25400">
              <a:solidFill>
                <a:schemeClr val="tx1"/>
              </a:solidFill>
              <a:round/>
              <a:headEnd type="none" w="sm" len="sm"/>
              <a:tailEnd type="stealth" w="med" len="lg"/>
            </a:ln>
            <a:effectLst/>
          </p:spPr>
          <p:txBody>
            <a:bodyPr/>
            <a:lstStyle/>
            <a:p>
              <a:endParaRPr lang="en-US" dirty="0">
                <a:latin typeface="+mj-lt"/>
              </a:endParaRPr>
            </a:p>
          </p:txBody>
        </p:sp>
        <p:sp>
          <p:nvSpPr>
            <p:cNvPr id="70" name="Freeform 67">
              <a:extLst>
                <a:ext uri="{FF2B5EF4-FFF2-40B4-BE49-F238E27FC236}">
                  <a16:creationId xmlns:a16="http://schemas.microsoft.com/office/drawing/2014/main" id="{65F178DF-77CD-45DD-AD20-5045C93E56DE}"/>
                </a:ext>
              </a:extLst>
            </p:cNvPr>
            <p:cNvSpPr>
              <a:spLocks/>
            </p:cNvSpPr>
            <p:nvPr/>
          </p:nvSpPr>
          <p:spPr bwMode="auto">
            <a:xfrm>
              <a:off x="4611875" y="3400475"/>
              <a:ext cx="928650" cy="584183"/>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71" name="AutoShape 68">
              <a:extLst>
                <a:ext uri="{FF2B5EF4-FFF2-40B4-BE49-F238E27FC236}">
                  <a16:creationId xmlns:a16="http://schemas.microsoft.com/office/drawing/2014/main" id="{B7646493-7F0D-4FE4-868B-4EB7A4E7F6C8}"/>
                </a:ext>
              </a:extLst>
            </p:cNvPr>
            <p:cNvSpPr>
              <a:spLocks noChangeArrowheads="1"/>
            </p:cNvSpPr>
            <p:nvPr/>
          </p:nvSpPr>
          <p:spPr bwMode="auto">
            <a:xfrm rot="13020000">
              <a:off x="5303937" y="3439759"/>
              <a:ext cx="214056" cy="122919"/>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72" name="AutoShape 69">
              <a:extLst>
                <a:ext uri="{FF2B5EF4-FFF2-40B4-BE49-F238E27FC236}">
                  <a16:creationId xmlns:a16="http://schemas.microsoft.com/office/drawing/2014/main" id="{50D13E3F-24F6-4933-8EE8-3A0D311FF1AB}"/>
                </a:ext>
              </a:extLst>
            </p:cNvPr>
            <p:cNvSpPr>
              <a:spLocks noChangeArrowheads="1"/>
            </p:cNvSpPr>
            <p:nvPr/>
          </p:nvSpPr>
          <p:spPr bwMode="auto">
            <a:xfrm rot="13020000">
              <a:off x="5320031" y="3448629"/>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73" name="Rectangle 70">
              <a:extLst>
                <a:ext uri="{FF2B5EF4-FFF2-40B4-BE49-F238E27FC236}">
                  <a16:creationId xmlns:a16="http://schemas.microsoft.com/office/drawing/2014/main" id="{786D2EB5-861F-4977-A0E9-003EC79FFDB5}"/>
                </a:ext>
              </a:extLst>
            </p:cNvPr>
            <p:cNvSpPr>
              <a:spLocks noChangeArrowheads="1"/>
            </p:cNvSpPr>
            <p:nvPr/>
          </p:nvSpPr>
          <p:spPr bwMode="auto">
            <a:xfrm>
              <a:off x="4573248" y="3400475"/>
              <a:ext cx="1045158"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Sales order</a:t>
              </a:r>
              <a:endParaRPr lang="en-GB" sz="1100" b="1" dirty="0">
                <a:latin typeface="+mj-lt"/>
              </a:endParaRPr>
            </a:p>
          </p:txBody>
        </p:sp>
        <p:sp>
          <p:nvSpPr>
            <p:cNvPr id="74" name="Line 71">
              <a:extLst>
                <a:ext uri="{FF2B5EF4-FFF2-40B4-BE49-F238E27FC236}">
                  <a16:creationId xmlns:a16="http://schemas.microsoft.com/office/drawing/2014/main" id="{E782EA32-A17B-4500-9872-02FBBEFE8895}"/>
                </a:ext>
              </a:extLst>
            </p:cNvPr>
            <p:cNvSpPr>
              <a:spLocks noChangeShapeType="1"/>
            </p:cNvSpPr>
            <p:nvPr/>
          </p:nvSpPr>
          <p:spPr bwMode="auto">
            <a:xfrm>
              <a:off x="4650502" y="3579152"/>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75" name="Freeform 72">
              <a:extLst>
                <a:ext uri="{FF2B5EF4-FFF2-40B4-BE49-F238E27FC236}">
                  <a16:creationId xmlns:a16="http://schemas.microsoft.com/office/drawing/2014/main" id="{D093DC94-6047-4B0E-B483-B9443E92EE93}"/>
                </a:ext>
              </a:extLst>
            </p:cNvPr>
            <p:cNvSpPr>
              <a:spLocks/>
            </p:cNvSpPr>
            <p:nvPr/>
          </p:nvSpPr>
          <p:spPr bwMode="auto">
            <a:xfrm>
              <a:off x="4611875" y="4762724"/>
              <a:ext cx="928650" cy="584183"/>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76" name="AutoShape 73">
              <a:extLst>
                <a:ext uri="{FF2B5EF4-FFF2-40B4-BE49-F238E27FC236}">
                  <a16:creationId xmlns:a16="http://schemas.microsoft.com/office/drawing/2014/main" id="{E4440447-D3C4-4CD0-9BAB-BBF84BE1424B}"/>
                </a:ext>
              </a:extLst>
            </p:cNvPr>
            <p:cNvSpPr>
              <a:spLocks noChangeArrowheads="1"/>
            </p:cNvSpPr>
            <p:nvPr/>
          </p:nvSpPr>
          <p:spPr bwMode="auto">
            <a:xfrm rot="13020000">
              <a:off x="5303937" y="4802008"/>
              <a:ext cx="214056"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77" name="AutoShape 74">
              <a:extLst>
                <a:ext uri="{FF2B5EF4-FFF2-40B4-BE49-F238E27FC236}">
                  <a16:creationId xmlns:a16="http://schemas.microsoft.com/office/drawing/2014/main" id="{95ED8C63-798F-4CBF-AEFE-A7312400B13B}"/>
                </a:ext>
              </a:extLst>
            </p:cNvPr>
            <p:cNvSpPr>
              <a:spLocks noChangeArrowheads="1"/>
            </p:cNvSpPr>
            <p:nvPr/>
          </p:nvSpPr>
          <p:spPr bwMode="auto">
            <a:xfrm rot="13020000">
              <a:off x="5320031" y="4810878"/>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78" name="Rectangle 75">
              <a:extLst>
                <a:ext uri="{FF2B5EF4-FFF2-40B4-BE49-F238E27FC236}">
                  <a16:creationId xmlns:a16="http://schemas.microsoft.com/office/drawing/2014/main" id="{78424964-8D4C-472E-B6DF-7EEFC36CE8BA}"/>
                </a:ext>
              </a:extLst>
            </p:cNvPr>
            <p:cNvSpPr>
              <a:spLocks noChangeArrowheads="1"/>
            </p:cNvSpPr>
            <p:nvPr/>
          </p:nvSpPr>
          <p:spPr bwMode="auto">
            <a:xfrm>
              <a:off x="4573248" y="4762724"/>
              <a:ext cx="1045158"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Sales order</a:t>
              </a:r>
              <a:endParaRPr lang="en-GB" sz="1100" b="1" dirty="0">
                <a:latin typeface="+mj-lt"/>
              </a:endParaRPr>
            </a:p>
          </p:txBody>
        </p:sp>
        <p:sp>
          <p:nvSpPr>
            <p:cNvPr id="79" name="Line 76">
              <a:extLst>
                <a:ext uri="{FF2B5EF4-FFF2-40B4-BE49-F238E27FC236}">
                  <a16:creationId xmlns:a16="http://schemas.microsoft.com/office/drawing/2014/main" id="{F132D871-2598-4643-A1A2-98AF285A4421}"/>
                </a:ext>
              </a:extLst>
            </p:cNvPr>
            <p:cNvSpPr>
              <a:spLocks noChangeShapeType="1"/>
            </p:cNvSpPr>
            <p:nvPr/>
          </p:nvSpPr>
          <p:spPr bwMode="auto">
            <a:xfrm>
              <a:off x="4650502" y="4941400"/>
              <a:ext cx="703327"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80" name="Freeform 77">
              <a:extLst>
                <a:ext uri="{FF2B5EF4-FFF2-40B4-BE49-F238E27FC236}">
                  <a16:creationId xmlns:a16="http://schemas.microsoft.com/office/drawing/2014/main" id="{896C9CFD-C9DA-4C0E-B179-27A3391A67D1}"/>
                </a:ext>
              </a:extLst>
            </p:cNvPr>
            <p:cNvSpPr>
              <a:spLocks/>
            </p:cNvSpPr>
            <p:nvPr/>
          </p:nvSpPr>
          <p:spPr bwMode="auto">
            <a:xfrm>
              <a:off x="5910698" y="3400475"/>
              <a:ext cx="928651" cy="584183"/>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81" name="AutoShape 78">
              <a:extLst>
                <a:ext uri="{FF2B5EF4-FFF2-40B4-BE49-F238E27FC236}">
                  <a16:creationId xmlns:a16="http://schemas.microsoft.com/office/drawing/2014/main" id="{075DB142-B00B-4684-8F15-EBFC95564558}"/>
                </a:ext>
              </a:extLst>
            </p:cNvPr>
            <p:cNvSpPr>
              <a:spLocks noChangeArrowheads="1"/>
            </p:cNvSpPr>
            <p:nvPr/>
          </p:nvSpPr>
          <p:spPr bwMode="auto">
            <a:xfrm rot="13020000">
              <a:off x="6602759" y="3439759"/>
              <a:ext cx="214057" cy="122919"/>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82" name="AutoShape 79">
              <a:extLst>
                <a:ext uri="{FF2B5EF4-FFF2-40B4-BE49-F238E27FC236}">
                  <a16:creationId xmlns:a16="http://schemas.microsoft.com/office/drawing/2014/main" id="{1CDE9539-F9FA-4BB8-9160-C3578D223983}"/>
                </a:ext>
              </a:extLst>
            </p:cNvPr>
            <p:cNvSpPr>
              <a:spLocks noChangeArrowheads="1"/>
            </p:cNvSpPr>
            <p:nvPr/>
          </p:nvSpPr>
          <p:spPr bwMode="auto">
            <a:xfrm rot="13020000">
              <a:off x="6618854" y="3448629"/>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83" name="Rectangle 80">
              <a:extLst>
                <a:ext uri="{FF2B5EF4-FFF2-40B4-BE49-F238E27FC236}">
                  <a16:creationId xmlns:a16="http://schemas.microsoft.com/office/drawing/2014/main" id="{AE2130B6-A9E1-41AB-A1A5-ADF310FE7DA2}"/>
                </a:ext>
              </a:extLst>
            </p:cNvPr>
            <p:cNvSpPr>
              <a:spLocks noChangeArrowheads="1"/>
            </p:cNvSpPr>
            <p:nvPr/>
          </p:nvSpPr>
          <p:spPr bwMode="auto">
            <a:xfrm>
              <a:off x="5872071" y="3400475"/>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84" name="Line 81">
              <a:extLst>
                <a:ext uri="{FF2B5EF4-FFF2-40B4-BE49-F238E27FC236}">
                  <a16:creationId xmlns:a16="http://schemas.microsoft.com/office/drawing/2014/main" id="{6723E82A-F137-42A5-9CE6-AB68E2EF4546}"/>
                </a:ext>
              </a:extLst>
            </p:cNvPr>
            <p:cNvSpPr>
              <a:spLocks noChangeShapeType="1"/>
            </p:cNvSpPr>
            <p:nvPr/>
          </p:nvSpPr>
          <p:spPr bwMode="auto">
            <a:xfrm>
              <a:off x="5949324" y="3579152"/>
              <a:ext cx="701719"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85" name="Freeform 82">
              <a:extLst>
                <a:ext uri="{FF2B5EF4-FFF2-40B4-BE49-F238E27FC236}">
                  <a16:creationId xmlns:a16="http://schemas.microsoft.com/office/drawing/2014/main" id="{91C9B76E-CA63-457B-8135-EFF910741717}"/>
                </a:ext>
              </a:extLst>
            </p:cNvPr>
            <p:cNvSpPr>
              <a:spLocks/>
            </p:cNvSpPr>
            <p:nvPr/>
          </p:nvSpPr>
          <p:spPr bwMode="auto">
            <a:xfrm>
              <a:off x="5910698" y="4762724"/>
              <a:ext cx="928651" cy="584183"/>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86" name="AutoShape 83">
              <a:extLst>
                <a:ext uri="{FF2B5EF4-FFF2-40B4-BE49-F238E27FC236}">
                  <a16:creationId xmlns:a16="http://schemas.microsoft.com/office/drawing/2014/main" id="{B5B601C2-73FD-41C3-BCC9-04ABD6CAF68E}"/>
                </a:ext>
              </a:extLst>
            </p:cNvPr>
            <p:cNvSpPr>
              <a:spLocks noChangeArrowheads="1"/>
            </p:cNvSpPr>
            <p:nvPr/>
          </p:nvSpPr>
          <p:spPr bwMode="auto">
            <a:xfrm rot="13020000">
              <a:off x="6602759" y="4802008"/>
              <a:ext cx="21405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87" name="AutoShape 84">
              <a:extLst>
                <a:ext uri="{FF2B5EF4-FFF2-40B4-BE49-F238E27FC236}">
                  <a16:creationId xmlns:a16="http://schemas.microsoft.com/office/drawing/2014/main" id="{32E94514-259F-428F-8BA1-B51FE9749A32}"/>
                </a:ext>
              </a:extLst>
            </p:cNvPr>
            <p:cNvSpPr>
              <a:spLocks noChangeArrowheads="1"/>
            </p:cNvSpPr>
            <p:nvPr/>
          </p:nvSpPr>
          <p:spPr bwMode="auto">
            <a:xfrm rot="13020000">
              <a:off x="6618854" y="4810878"/>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88" name="Rectangle 85">
              <a:extLst>
                <a:ext uri="{FF2B5EF4-FFF2-40B4-BE49-F238E27FC236}">
                  <a16:creationId xmlns:a16="http://schemas.microsoft.com/office/drawing/2014/main" id="{6E523623-5574-4ECC-845F-F62F954A0433}"/>
                </a:ext>
              </a:extLst>
            </p:cNvPr>
            <p:cNvSpPr>
              <a:spLocks noChangeArrowheads="1"/>
            </p:cNvSpPr>
            <p:nvPr/>
          </p:nvSpPr>
          <p:spPr bwMode="auto">
            <a:xfrm>
              <a:off x="5872071" y="4762724"/>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89" name="Line 86">
              <a:extLst>
                <a:ext uri="{FF2B5EF4-FFF2-40B4-BE49-F238E27FC236}">
                  <a16:creationId xmlns:a16="http://schemas.microsoft.com/office/drawing/2014/main" id="{63EC522E-0370-46E1-9352-82E5BD4DA769}"/>
                </a:ext>
              </a:extLst>
            </p:cNvPr>
            <p:cNvSpPr>
              <a:spLocks noChangeShapeType="1"/>
            </p:cNvSpPr>
            <p:nvPr/>
          </p:nvSpPr>
          <p:spPr bwMode="auto">
            <a:xfrm>
              <a:off x="5949324" y="4941400"/>
              <a:ext cx="701719"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90" name="Freeform 87">
              <a:extLst>
                <a:ext uri="{FF2B5EF4-FFF2-40B4-BE49-F238E27FC236}">
                  <a16:creationId xmlns:a16="http://schemas.microsoft.com/office/drawing/2014/main" id="{C7E880CF-2516-473A-B9FE-B0F571BDF1FA}"/>
                </a:ext>
              </a:extLst>
            </p:cNvPr>
            <p:cNvSpPr>
              <a:spLocks/>
            </p:cNvSpPr>
            <p:nvPr/>
          </p:nvSpPr>
          <p:spPr bwMode="auto">
            <a:xfrm>
              <a:off x="5910698" y="4080967"/>
              <a:ext cx="928651"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91" name="AutoShape 88">
              <a:extLst>
                <a:ext uri="{FF2B5EF4-FFF2-40B4-BE49-F238E27FC236}">
                  <a16:creationId xmlns:a16="http://schemas.microsoft.com/office/drawing/2014/main" id="{55A8817E-696D-4400-B8D7-AC459DE61317}"/>
                </a:ext>
              </a:extLst>
            </p:cNvPr>
            <p:cNvSpPr>
              <a:spLocks noChangeArrowheads="1"/>
            </p:cNvSpPr>
            <p:nvPr/>
          </p:nvSpPr>
          <p:spPr bwMode="auto">
            <a:xfrm rot="13020000">
              <a:off x="6602759" y="4120250"/>
              <a:ext cx="21405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92" name="AutoShape 89">
              <a:extLst>
                <a:ext uri="{FF2B5EF4-FFF2-40B4-BE49-F238E27FC236}">
                  <a16:creationId xmlns:a16="http://schemas.microsoft.com/office/drawing/2014/main" id="{5D38C48E-BB89-41B3-8062-B1466BBB6A5C}"/>
                </a:ext>
              </a:extLst>
            </p:cNvPr>
            <p:cNvSpPr>
              <a:spLocks noChangeArrowheads="1"/>
            </p:cNvSpPr>
            <p:nvPr/>
          </p:nvSpPr>
          <p:spPr bwMode="auto">
            <a:xfrm rot="13020000">
              <a:off x="6618854" y="4130387"/>
              <a:ext cx="201181"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93" name="Rectangle 90">
              <a:extLst>
                <a:ext uri="{FF2B5EF4-FFF2-40B4-BE49-F238E27FC236}">
                  <a16:creationId xmlns:a16="http://schemas.microsoft.com/office/drawing/2014/main" id="{BD4A6442-E70A-4A20-BE24-8A15C1EFB515}"/>
                </a:ext>
              </a:extLst>
            </p:cNvPr>
            <p:cNvSpPr>
              <a:spLocks noChangeArrowheads="1"/>
            </p:cNvSpPr>
            <p:nvPr/>
          </p:nvSpPr>
          <p:spPr bwMode="auto">
            <a:xfrm>
              <a:off x="5872071" y="4080967"/>
              <a:ext cx="799899"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94" name="Line 91">
              <a:extLst>
                <a:ext uri="{FF2B5EF4-FFF2-40B4-BE49-F238E27FC236}">
                  <a16:creationId xmlns:a16="http://schemas.microsoft.com/office/drawing/2014/main" id="{97B15618-E893-4D2A-BD80-A98D0C3A4105}"/>
                </a:ext>
              </a:extLst>
            </p:cNvPr>
            <p:cNvSpPr>
              <a:spLocks noChangeShapeType="1"/>
            </p:cNvSpPr>
            <p:nvPr/>
          </p:nvSpPr>
          <p:spPr bwMode="auto">
            <a:xfrm>
              <a:off x="5949324" y="4260910"/>
              <a:ext cx="701719"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sp>
          <p:nvSpPr>
            <p:cNvPr id="95" name="Freeform 92">
              <a:extLst>
                <a:ext uri="{FF2B5EF4-FFF2-40B4-BE49-F238E27FC236}">
                  <a16:creationId xmlns:a16="http://schemas.microsoft.com/office/drawing/2014/main" id="{BE2EB5AC-EBAD-49B6-A4DD-37465A3924B9}"/>
                </a:ext>
              </a:extLst>
            </p:cNvPr>
            <p:cNvSpPr>
              <a:spLocks/>
            </p:cNvSpPr>
            <p:nvPr/>
          </p:nvSpPr>
          <p:spPr bwMode="auto">
            <a:xfrm>
              <a:off x="7207911" y="4080967"/>
              <a:ext cx="928651" cy="58545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endParaRPr lang="en-US" dirty="0">
                <a:latin typeface="+mj-lt"/>
              </a:endParaRPr>
            </a:p>
          </p:txBody>
        </p:sp>
        <p:sp>
          <p:nvSpPr>
            <p:cNvPr id="96" name="AutoShape 93">
              <a:extLst>
                <a:ext uri="{FF2B5EF4-FFF2-40B4-BE49-F238E27FC236}">
                  <a16:creationId xmlns:a16="http://schemas.microsoft.com/office/drawing/2014/main" id="{784B06B3-ECA6-42B3-A5E1-878FC4BB33CD}"/>
                </a:ext>
              </a:extLst>
            </p:cNvPr>
            <p:cNvSpPr>
              <a:spLocks noChangeArrowheads="1"/>
            </p:cNvSpPr>
            <p:nvPr/>
          </p:nvSpPr>
          <p:spPr bwMode="auto">
            <a:xfrm rot="13020000">
              <a:off x="7901583" y="4120250"/>
              <a:ext cx="212447" cy="124186"/>
            </a:xfrm>
            <a:prstGeom prst="triangle">
              <a:avLst>
                <a:gd name="adj" fmla="val 49995"/>
              </a:avLst>
            </a:prstGeom>
            <a:solidFill>
              <a:schemeClr val="bg2"/>
            </a:solidFill>
            <a:ln w="9525">
              <a:noFill/>
              <a:miter lim="800000"/>
              <a:headEnd/>
              <a:tailEnd/>
            </a:ln>
            <a:effectLst/>
          </p:spPr>
          <p:txBody>
            <a:bodyPr wrap="none" anchor="ctr"/>
            <a:lstStyle/>
            <a:p>
              <a:endParaRPr lang="en-US" dirty="0">
                <a:latin typeface="+mj-lt"/>
              </a:endParaRPr>
            </a:p>
          </p:txBody>
        </p:sp>
        <p:sp>
          <p:nvSpPr>
            <p:cNvPr id="97" name="AutoShape 94">
              <a:extLst>
                <a:ext uri="{FF2B5EF4-FFF2-40B4-BE49-F238E27FC236}">
                  <a16:creationId xmlns:a16="http://schemas.microsoft.com/office/drawing/2014/main" id="{E7ADAEF2-CD20-425D-BFAF-C489F11F2BC3}"/>
                </a:ext>
              </a:extLst>
            </p:cNvPr>
            <p:cNvSpPr>
              <a:spLocks noChangeArrowheads="1"/>
            </p:cNvSpPr>
            <p:nvPr/>
          </p:nvSpPr>
          <p:spPr bwMode="auto">
            <a:xfrm rot="13020000">
              <a:off x="7916067" y="4130387"/>
              <a:ext cx="202790" cy="86170"/>
            </a:xfrm>
            <a:prstGeom prst="triangle">
              <a:avLst>
                <a:gd name="adj" fmla="val 49995"/>
              </a:avLst>
            </a:prstGeom>
            <a:solidFill>
              <a:srgbClr val="FFFFFF"/>
            </a:solidFill>
            <a:ln w="12700">
              <a:solidFill>
                <a:schemeClr val="tx1"/>
              </a:solidFill>
              <a:miter lim="800000"/>
              <a:headEnd/>
              <a:tailEnd/>
            </a:ln>
            <a:effectLst/>
          </p:spPr>
          <p:txBody>
            <a:bodyPr wrap="none" anchor="ctr"/>
            <a:lstStyle/>
            <a:p>
              <a:endParaRPr lang="en-US" dirty="0">
                <a:latin typeface="+mj-lt"/>
              </a:endParaRPr>
            </a:p>
          </p:txBody>
        </p:sp>
        <p:sp>
          <p:nvSpPr>
            <p:cNvPr id="98" name="Rectangle 95">
              <a:extLst>
                <a:ext uri="{FF2B5EF4-FFF2-40B4-BE49-F238E27FC236}">
                  <a16:creationId xmlns:a16="http://schemas.microsoft.com/office/drawing/2014/main" id="{74985E10-30FC-4EC2-B94B-41AE6751D02C}"/>
                </a:ext>
              </a:extLst>
            </p:cNvPr>
            <p:cNvSpPr>
              <a:spLocks noChangeArrowheads="1"/>
            </p:cNvSpPr>
            <p:nvPr/>
          </p:nvSpPr>
          <p:spPr bwMode="auto">
            <a:xfrm>
              <a:off x="7169284" y="4080967"/>
              <a:ext cx="737381" cy="243016"/>
            </a:xfrm>
            <a:prstGeom prst="rect">
              <a:avLst/>
            </a:prstGeom>
            <a:noFill/>
            <a:ln w="9525">
              <a:noFill/>
              <a:miter lim="800000"/>
              <a:headEnd/>
              <a:tailEnd/>
            </a:ln>
            <a:effectLst/>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99" name="Line 96">
              <a:extLst>
                <a:ext uri="{FF2B5EF4-FFF2-40B4-BE49-F238E27FC236}">
                  <a16:creationId xmlns:a16="http://schemas.microsoft.com/office/drawing/2014/main" id="{64455598-05B0-49F1-9782-37F3F6519E26}"/>
                </a:ext>
              </a:extLst>
            </p:cNvPr>
            <p:cNvSpPr>
              <a:spLocks noChangeShapeType="1"/>
            </p:cNvSpPr>
            <p:nvPr/>
          </p:nvSpPr>
          <p:spPr bwMode="auto">
            <a:xfrm>
              <a:off x="7246538" y="4260910"/>
              <a:ext cx="703328" cy="0"/>
            </a:xfrm>
            <a:prstGeom prst="line">
              <a:avLst/>
            </a:prstGeom>
            <a:noFill/>
            <a:ln w="12700">
              <a:solidFill>
                <a:schemeClr val="tx1"/>
              </a:solidFill>
              <a:round/>
              <a:headEnd type="none" w="sm" len="sm"/>
              <a:tailEnd type="none" w="sm" len="sm"/>
            </a:ln>
            <a:effectLst/>
          </p:spPr>
          <p:txBody>
            <a:bodyPr/>
            <a:lstStyle/>
            <a:p>
              <a:endParaRPr lang="en-US" dirty="0">
                <a:latin typeface="+mj-lt"/>
              </a:endParaRPr>
            </a:p>
          </p:txBody>
        </p:sp>
      </p:grpSp>
      <p:sp>
        <p:nvSpPr>
          <p:cNvPr id="100" name="Text Box 97">
            <a:extLst>
              <a:ext uri="{FF2B5EF4-FFF2-40B4-BE49-F238E27FC236}">
                <a16:creationId xmlns:a16="http://schemas.microsoft.com/office/drawing/2014/main" id="{F17D2D09-7995-4C79-9100-E289CA08EB4A}"/>
              </a:ext>
            </a:extLst>
          </p:cNvPr>
          <p:cNvSpPr txBox="1">
            <a:spLocks noChangeArrowheads="1"/>
          </p:cNvSpPr>
          <p:nvPr/>
        </p:nvSpPr>
        <p:spPr bwMode="auto">
          <a:xfrm>
            <a:off x="2257111" y="4560840"/>
            <a:ext cx="1920397" cy="308160"/>
          </a:xfrm>
          <a:prstGeom prst="rect">
            <a:avLst/>
          </a:prstGeom>
          <a:noFill/>
          <a:ln w="12700">
            <a:noFill/>
            <a:miter lim="800000"/>
            <a:headEnd/>
            <a:tailEnd/>
          </a:ln>
          <a:effectLst/>
        </p:spPr>
        <p:txBody>
          <a:bodyPr wrap="none" lIns="87312" tIns="42862" rIns="87312" bIns="42862">
            <a:spAutoFit/>
          </a:bodyPr>
          <a:lstStyle/>
          <a:p>
            <a:pPr eaLnBrk="0" hangingPunct="0">
              <a:lnSpc>
                <a:spcPct val="90000"/>
              </a:lnSpc>
              <a:tabLst>
                <a:tab pos="6464300" algn="r"/>
              </a:tabLst>
            </a:pPr>
            <a:r>
              <a:rPr lang="de-DE" sz="1600" b="1" dirty="0">
                <a:latin typeface="+mj-lt"/>
              </a:rPr>
              <a:t>2</a:t>
            </a:r>
            <a:r>
              <a:rPr lang="en-GB" sz="1600" b="1" dirty="0">
                <a:latin typeface="+mj-lt"/>
              </a:rPr>
              <a:t>.</a:t>
            </a:r>
            <a:r>
              <a:rPr lang="de-DE" sz="1600" b="1" dirty="0">
                <a:latin typeface="+mj-lt"/>
              </a:rPr>
              <a:t> Invoice </a:t>
            </a:r>
            <a:r>
              <a:rPr lang="en-GB" sz="1600" b="1" dirty="0">
                <a:latin typeface="+mj-lt"/>
              </a:rPr>
              <a:t>Split</a:t>
            </a:r>
          </a:p>
        </p:txBody>
      </p:sp>
      <p:sp>
        <p:nvSpPr>
          <p:cNvPr id="101" name="Text Box 98">
            <a:extLst>
              <a:ext uri="{FF2B5EF4-FFF2-40B4-BE49-F238E27FC236}">
                <a16:creationId xmlns:a16="http://schemas.microsoft.com/office/drawing/2014/main" id="{4A6DEEB6-B0F7-4DE3-8A6A-01B5600AB3D0}"/>
              </a:ext>
            </a:extLst>
          </p:cNvPr>
          <p:cNvSpPr txBox="1">
            <a:spLocks noChangeArrowheads="1"/>
          </p:cNvSpPr>
          <p:nvPr/>
        </p:nvSpPr>
        <p:spPr bwMode="auto">
          <a:xfrm>
            <a:off x="2257111" y="2238446"/>
            <a:ext cx="2441373" cy="308160"/>
          </a:xfrm>
          <a:prstGeom prst="rect">
            <a:avLst/>
          </a:prstGeom>
          <a:noFill/>
          <a:ln w="12700">
            <a:noFill/>
            <a:miter lim="800000"/>
            <a:headEnd/>
            <a:tailEnd/>
          </a:ln>
          <a:effectLst/>
        </p:spPr>
        <p:txBody>
          <a:bodyPr wrap="none" lIns="87312" tIns="42862" rIns="87312" bIns="42862">
            <a:spAutoFit/>
          </a:bodyPr>
          <a:lstStyle/>
          <a:p>
            <a:pPr eaLnBrk="0" hangingPunct="0">
              <a:lnSpc>
                <a:spcPct val="90000"/>
              </a:lnSpc>
              <a:tabLst>
                <a:tab pos="6464300" algn="r"/>
              </a:tabLst>
            </a:pPr>
            <a:r>
              <a:rPr lang="en-GB" sz="1600" b="1" dirty="0">
                <a:latin typeface="+mj-lt"/>
              </a:rPr>
              <a:t>1. </a:t>
            </a:r>
            <a:r>
              <a:rPr lang="de-DE" sz="1600" b="1" dirty="0">
                <a:latin typeface="+mj-lt"/>
              </a:rPr>
              <a:t>Individual Billing</a:t>
            </a:r>
            <a:endParaRPr lang="en-GB" sz="1600" b="1" dirty="0">
              <a:latin typeface="+mj-lt"/>
            </a:endParaRPr>
          </a:p>
        </p:txBody>
      </p:sp>
      <p:sp>
        <p:nvSpPr>
          <p:cNvPr id="102" name="Text Box 99">
            <a:extLst>
              <a:ext uri="{FF2B5EF4-FFF2-40B4-BE49-F238E27FC236}">
                <a16:creationId xmlns:a16="http://schemas.microsoft.com/office/drawing/2014/main" id="{6C635123-ED90-4486-B0C9-E471A9943876}"/>
              </a:ext>
            </a:extLst>
          </p:cNvPr>
          <p:cNvSpPr txBox="1">
            <a:spLocks noChangeArrowheads="1"/>
          </p:cNvSpPr>
          <p:nvPr/>
        </p:nvSpPr>
        <p:spPr bwMode="auto">
          <a:xfrm>
            <a:off x="6203837" y="3069000"/>
            <a:ext cx="2386871" cy="308160"/>
          </a:xfrm>
          <a:prstGeom prst="rect">
            <a:avLst/>
          </a:prstGeom>
          <a:noFill/>
          <a:ln w="12700">
            <a:noFill/>
            <a:miter lim="800000"/>
            <a:headEnd/>
            <a:tailEnd/>
          </a:ln>
          <a:effectLst/>
        </p:spPr>
        <p:txBody>
          <a:bodyPr wrap="none" lIns="87312" tIns="42862" rIns="87312" bIns="42862">
            <a:spAutoFit/>
          </a:bodyPr>
          <a:lstStyle/>
          <a:p>
            <a:pPr eaLnBrk="0" hangingPunct="0">
              <a:lnSpc>
                <a:spcPct val="90000"/>
              </a:lnSpc>
              <a:tabLst>
                <a:tab pos="6464300" algn="r"/>
              </a:tabLst>
            </a:pPr>
            <a:r>
              <a:rPr lang="de-DE" sz="1600" b="1" dirty="0">
                <a:latin typeface="+mj-lt"/>
              </a:rPr>
              <a:t>3</a:t>
            </a:r>
            <a:r>
              <a:rPr lang="en-GB" sz="1600" b="1" dirty="0">
                <a:latin typeface="+mj-lt"/>
              </a:rPr>
              <a:t>. </a:t>
            </a:r>
            <a:r>
              <a:rPr lang="de-DE" sz="1600" b="1" dirty="0">
                <a:latin typeface="+mj-lt"/>
              </a:rPr>
              <a:t>Collective Billing</a:t>
            </a:r>
            <a:endParaRPr lang="en-GB" sz="1600" b="1" dirty="0">
              <a:latin typeface="+mj-lt"/>
            </a:endParaRPr>
          </a:p>
        </p:txBody>
      </p:sp>
    </p:spTree>
    <p:extLst>
      <p:ext uri="{BB962C8B-B14F-4D97-AF65-F5344CB8AC3E}">
        <p14:creationId xmlns:p14="http://schemas.microsoft.com/office/powerpoint/2010/main" val="171043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ED942E7-5D02-4160-8DD5-645F4697C38D}"/>
              </a:ext>
            </a:extLst>
          </p:cNvPr>
          <p:cNvSpPr/>
          <p:nvPr/>
        </p:nvSpPr>
        <p:spPr>
          <a:xfrm>
            <a:off x="1694513" y="2385192"/>
            <a:ext cx="4113487" cy="198113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oAutofit/>
          </a:bodyPr>
          <a:lstStyle/>
          <a:p>
            <a:pPr marL="354013" indent="-354013">
              <a:spcBef>
                <a:spcPts val="600"/>
              </a:spcBef>
              <a:buClr>
                <a:schemeClr val="accent6"/>
              </a:buClr>
              <a:buFont typeface="Wingdings" panose="05000000000000000000" pitchFamily="2" charset="2"/>
              <a:buChar char="q"/>
            </a:pPr>
            <a:r>
              <a:rPr lang="en-US" sz="1600" dirty="0"/>
              <a:t>SAP can set the system to create one billing document for each sales document, e.g. one invoice per delivery</a:t>
            </a:r>
          </a:p>
        </p:txBody>
      </p:sp>
      <p:sp>
        <p:nvSpPr>
          <p:cNvPr id="775170" name="Rectangle 2"/>
          <p:cNvSpPr>
            <a:spLocks noGrp="1" noChangeArrowheads="1"/>
          </p:cNvSpPr>
          <p:nvPr>
            <p:ph type="title"/>
          </p:nvPr>
        </p:nvSpPr>
        <p:spPr/>
        <p:txBody>
          <a:bodyPr/>
          <a:lstStyle/>
          <a:p>
            <a:r>
              <a:rPr lang="en-US" dirty="0"/>
              <a:t>Billing Methods - Individual Billing Documents</a:t>
            </a:r>
          </a:p>
        </p:txBody>
      </p:sp>
      <p:pic>
        <p:nvPicPr>
          <p:cNvPr id="3" name="Picture 2"/>
          <p:cNvPicPr>
            <a:picLocks noChangeAspect="1"/>
          </p:cNvPicPr>
          <p:nvPr/>
        </p:nvPicPr>
        <p:blipFill>
          <a:blip r:embed="rId3"/>
          <a:stretch>
            <a:fillRect/>
          </a:stretch>
        </p:blipFill>
        <p:spPr>
          <a:xfrm>
            <a:off x="6311154" y="1701000"/>
            <a:ext cx="4032847" cy="3349522"/>
          </a:xfrm>
          <a:prstGeom prst="rect">
            <a:avLst/>
          </a:prstGeom>
        </p:spPr>
      </p:pic>
      <p:sp>
        <p:nvSpPr>
          <p:cNvPr id="6" name="Footer Placeholder 5"/>
          <p:cNvSpPr>
            <a:spLocks noGrp="1"/>
          </p:cNvSpPr>
          <p:nvPr>
            <p:ph type="ftr" sz="quarter" idx="10"/>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5</a:t>
            </a:fld>
            <a:endParaRPr lang="en-US" dirty="0"/>
          </a:p>
        </p:txBody>
      </p:sp>
    </p:spTree>
    <p:extLst>
      <p:ext uri="{BB962C8B-B14F-4D97-AF65-F5344CB8AC3E}">
        <p14:creationId xmlns:p14="http://schemas.microsoft.com/office/powerpoint/2010/main" val="1666903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70" name="Rectangle 2"/>
          <p:cNvSpPr>
            <a:spLocks noGrp="1" noChangeArrowheads="1"/>
          </p:cNvSpPr>
          <p:nvPr>
            <p:ph type="title"/>
          </p:nvPr>
        </p:nvSpPr>
        <p:spPr/>
        <p:txBody>
          <a:bodyPr/>
          <a:lstStyle/>
          <a:p>
            <a:r>
              <a:rPr lang="en-US" dirty="0"/>
              <a:t>Billing Methods – Invoice Splits</a:t>
            </a:r>
          </a:p>
        </p:txBody>
      </p:sp>
      <p:sp>
        <p:nvSpPr>
          <p:cNvPr id="3" name="Rectangle 2">
            <a:extLst>
              <a:ext uri="{FF2B5EF4-FFF2-40B4-BE49-F238E27FC236}">
                <a16:creationId xmlns:a16="http://schemas.microsoft.com/office/drawing/2014/main" id="{BEDB1590-6E0B-4ECC-AE30-429A6970362D}"/>
              </a:ext>
            </a:extLst>
          </p:cNvPr>
          <p:cNvSpPr/>
          <p:nvPr/>
        </p:nvSpPr>
        <p:spPr>
          <a:xfrm>
            <a:off x="1694514" y="981075"/>
            <a:ext cx="4888687" cy="5508624"/>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oAutofit/>
          </a:bodyPr>
          <a:lstStyle/>
          <a:p>
            <a:pPr marL="298450" indent="-298450">
              <a:spcBef>
                <a:spcPts val="600"/>
              </a:spcBef>
              <a:buClr>
                <a:schemeClr val="accent6"/>
              </a:buClr>
              <a:buFont typeface="Wingdings" panose="05000000000000000000" pitchFamily="2" charset="2"/>
              <a:buChar char="q"/>
            </a:pPr>
            <a:r>
              <a:rPr lang="en-US" sz="1500" dirty="0"/>
              <a:t>If you want to guarantee that invoices are created separately according to certain criteria, you can do this by defining certain split criteria</a:t>
            </a:r>
          </a:p>
          <a:p>
            <a:pPr marL="298450" indent="-298450">
              <a:spcBef>
                <a:spcPts val="600"/>
              </a:spcBef>
              <a:buClr>
                <a:schemeClr val="accent6"/>
              </a:buClr>
              <a:buFont typeface="Wingdings" panose="05000000000000000000" pitchFamily="2" charset="2"/>
              <a:buChar char="q"/>
            </a:pPr>
            <a:r>
              <a:rPr lang="en-US" sz="1500" dirty="0"/>
              <a:t>As a rule, the system combines into one billing document all transactions for the same customer, default billing date and sales organization. If data from the related reference documents differs in the header fields of the billing document, </a:t>
            </a:r>
            <a:r>
              <a:rPr lang="en-US" sz="1500" b="1" dirty="0"/>
              <a:t>the system will automatically split the invoice</a:t>
            </a:r>
          </a:p>
          <a:p>
            <a:pPr marL="298450" indent="-298450">
              <a:spcBef>
                <a:spcPts val="600"/>
              </a:spcBef>
              <a:buClr>
                <a:schemeClr val="accent6"/>
              </a:buClr>
              <a:buFont typeface="Wingdings" panose="05000000000000000000" pitchFamily="2" charset="2"/>
              <a:buChar char="q"/>
            </a:pPr>
            <a:r>
              <a:rPr lang="en-US" sz="1500" dirty="0"/>
              <a:t>An order contains terms of payment at header as well as item level. These are stored only at header level in the billing document, however. If there are different terms of payment in the reference documents, an invoice split will always be made</a:t>
            </a:r>
          </a:p>
          <a:p>
            <a:pPr marL="298450" indent="-298450">
              <a:spcBef>
                <a:spcPts val="600"/>
              </a:spcBef>
              <a:buClr>
                <a:schemeClr val="accent6"/>
              </a:buClr>
              <a:buFont typeface="Wingdings" panose="05000000000000000000" pitchFamily="2" charset="2"/>
              <a:buChar char="q"/>
            </a:pPr>
            <a:r>
              <a:rPr lang="en-US" sz="1500" dirty="0"/>
              <a:t>The system does not split the invoice. If you require an invoice split, you must first define the appropriate split in customizing. You can also display a split analysis to discover why an invoice split has occurred</a:t>
            </a:r>
          </a:p>
        </p:txBody>
      </p:sp>
      <p:sp>
        <p:nvSpPr>
          <p:cNvPr id="6" name="Footer Placeholder 5"/>
          <p:cNvSpPr>
            <a:spLocks noGrp="1"/>
          </p:cNvSpPr>
          <p:nvPr>
            <p:ph type="ftr" sz="quarter" idx="10"/>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grpSp>
        <p:nvGrpSpPr>
          <p:cNvPr id="8" name="Group 7">
            <a:extLst>
              <a:ext uri="{FF2B5EF4-FFF2-40B4-BE49-F238E27FC236}">
                <a16:creationId xmlns:a16="http://schemas.microsoft.com/office/drawing/2014/main" id="{72B9360E-B632-4AD2-83D0-134F261C659C}"/>
              </a:ext>
            </a:extLst>
          </p:cNvPr>
          <p:cNvGrpSpPr/>
          <p:nvPr/>
        </p:nvGrpSpPr>
        <p:grpSpPr>
          <a:xfrm>
            <a:off x="6762663" y="2782887"/>
            <a:ext cx="3597275" cy="1905000"/>
            <a:chOff x="4533595" y="4389125"/>
            <a:chExt cx="3597275" cy="1905000"/>
          </a:xfrm>
        </p:grpSpPr>
        <p:sp>
          <p:nvSpPr>
            <p:cNvPr id="9" name="Rectangle 10">
              <a:extLst>
                <a:ext uri="{FF2B5EF4-FFF2-40B4-BE49-F238E27FC236}">
                  <a16:creationId xmlns:a16="http://schemas.microsoft.com/office/drawing/2014/main" id="{60490FAC-0DF4-493F-8A61-F4B86D69C9C2}"/>
                </a:ext>
              </a:extLst>
            </p:cNvPr>
            <p:cNvSpPr>
              <a:spLocks noChangeArrowheads="1"/>
            </p:cNvSpPr>
            <p:nvPr/>
          </p:nvSpPr>
          <p:spPr bwMode="auto">
            <a:xfrm>
              <a:off x="4533595" y="4389125"/>
              <a:ext cx="3597275" cy="1905000"/>
            </a:xfrm>
            <a:prstGeom prst="rect">
              <a:avLst/>
            </a:prstGeom>
            <a:solidFill>
              <a:schemeClr val="accent5">
                <a:lumMod val="20000"/>
                <a:lumOff val="80000"/>
              </a:schemeClr>
            </a:solidFill>
            <a:ln w="9525">
              <a:solidFill>
                <a:schemeClr val="tx1"/>
              </a:solidFill>
              <a:miter lim="800000"/>
              <a:headEnd/>
              <a:tailEnd/>
            </a:ln>
          </p:spPr>
          <p:txBody>
            <a:bodyPr wrap="none" lIns="152400" tIns="60325" rIns="152400" bIns="60325"/>
            <a:lstStyle/>
            <a:p>
              <a:pPr defTabSz="585788" eaLnBrk="0" hangingPunct="0"/>
              <a:endParaRPr lang="en-GB" sz="1600" b="1" dirty="0"/>
            </a:p>
          </p:txBody>
        </p:sp>
        <p:sp>
          <p:nvSpPr>
            <p:cNvPr id="10" name="Freeform 40">
              <a:extLst>
                <a:ext uri="{FF2B5EF4-FFF2-40B4-BE49-F238E27FC236}">
                  <a16:creationId xmlns:a16="http://schemas.microsoft.com/office/drawing/2014/main" id="{E4014992-5A81-460C-B2DC-A5D41F43933A}"/>
                </a:ext>
              </a:extLst>
            </p:cNvPr>
            <p:cNvSpPr>
              <a:spLocks/>
            </p:cNvSpPr>
            <p:nvPr/>
          </p:nvSpPr>
          <p:spPr bwMode="auto">
            <a:xfrm>
              <a:off x="4592332" y="4952688"/>
              <a:ext cx="1001713" cy="733425"/>
            </a:xfrm>
            <a:custGeom>
              <a:avLst/>
              <a:gdLst/>
              <a:ahLst/>
              <a:cxnLst>
                <a:cxn ang="0">
                  <a:pos x="0" y="461"/>
                </a:cxn>
                <a:cxn ang="0">
                  <a:pos x="0" y="0"/>
                </a:cxn>
                <a:cxn ang="0">
                  <a:pos x="475" y="0"/>
                </a:cxn>
                <a:cxn ang="0">
                  <a:pos x="577" y="76"/>
                </a:cxn>
                <a:cxn ang="0">
                  <a:pos x="577" y="461"/>
                </a:cxn>
                <a:cxn ang="0">
                  <a:pos x="0" y="461"/>
                </a:cxn>
              </a:cxnLst>
              <a:rect l="0" t="0" r="r" b="b"/>
              <a:pathLst>
                <a:path w="578" h="462">
                  <a:moveTo>
                    <a:pt x="0" y="461"/>
                  </a:moveTo>
                  <a:lnTo>
                    <a:pt x="0" y="0"/>
                  </a:lnTo>
                  <a:lnTo>
                    <a:pt x="475" y="0"/>
                  </a:lnTo>
                  <a:lnTo>
                    <a:pt x="577" y="76"/>
                  </a:lnTo>
                  <a:lnTo>
                    <a:pt x="577"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p>
          </p:txBody>
        </p:sp>
        <p:sp>
          <p:nvSpPr>
            <p:cNvPr id="11" name="Freeform 45">
              <a:extLst>
                <a:ext uri="{FF2B5EF4-FFF2-40B4-BE49-F238E27FC236}">
                  <a16:creationId xmlns:a16="http://schemas.microsoft.com/office/drawing/2014/main" id="{B180B19A-2904-4557-963F-FD390ED54A50}"/>
                </a:ext>
              </a:extLst>
            </p:cNvPr>
            <p:cNvSpPr>
              <a:spLocks/>
            </p:cNvSpPr>
            <p:nvPr/>
          </p:nvSpPr>
          <p:spPr bwMode="auto">
            <a:xfrm>
              <a:off x="5875032" y="4952688"/>
              <a:ext cx="915988" cy="733425"/>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p>
          </p:txBody>
        </p:sp>
        <p:sp>
          <p:nvSpPr>
            <p:cNvPr id="12" name="Freeform 50">
              <a:extLst>
                <a:ext uri="{FF2B5EF4-FFF2-40B4-BE49-F238E27FC236}">
                  <a16:creationId xmlns:a16="http://schemas.microsoft.com/office/drawing/2014/main" id="{053D45BD-3CBF-4AF2-A7BA-0064C9CD4991}"/>
                </a:ext>
              </a:extLst>
            </p:cNvPr>
            <p:cNvSpPr>
              <a:spLocks/>
            </p:cNvSpPr>
            <p:nvPr/>
          </p:nvSpPr>
          <p:spPr bwMode="auto">
            <a:xfrm>
              <a:off x="7033907" y="4527238"/>
              <a:ext cx="915988" cy="731837"/>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p>
          </p:txBody>
        </p:sp>
        <p:sp>
          <p:nvSpPr>
            <p:cNvPr id="13" name="Freeform 55">
              <a:extLst>
                <a:ext uri="{FF2B5EF4-FFF2-40B4-BE49-F238E27FC236}">
                  <a16:creationId xmlns:a16="http://schemas.microsoft.com/office/drawing/2014/main" id="{F4E5B675-A2B2-4AC5-A4E2-D2FD159B88DB}"/>
                </a:ext>
              </a:extLst>
            </p:cNvPr>
            <p:cNvSpPr>
              <a:spLocks/>
            </p:cNvSpPr>
            <p:nvPr/>
          </p:nvSpPr>
          <p:spPr bwMode="auto">
            <a:xfrm>
              <a:off x="7033907" y="5379725"/>
              <a:ext cx="915988" cy="733425"/>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p>
          </p:txBody>
        </p:sp>
        <p:sp>
          <p:nvSpPr>
            <p:cNvPr id="14" name="Rectangle 58">
              <a:extLst>
                <a:ext uri="{FF2B5EF4-FFF2-40B4-BE49-F238E27FC236}">
                  <a16:creationId xmlns:a16="http://schemas.microsoft.com/office/drawing/2014/main" id="{E6319A3D-5568-4804-B486-37DF7AE136D2}"/>
                </a:ext>
              </a:extLst>
            </p:cNvPr>
            <p:cNvSpPr>
              <a:spLocks noChangeArrowheads="1"/>
            </p:cNvSpPr>
            <p:nvPr/>
          </p:nvSpPr>
          <p:spPr bwMode="auto">
            <a:xfrm>
              <a:off x="6995807" y="5379725"/>
              <a:ext cx="737381"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t>Invoice</a:t>
              </a:r>
              <a:endParaRPr lang="en-GB" sz="1100" b="1" dirty="0"/>
            </a:p>
          </p:txBody>
        </p:sp>
        <p:sp>
          <p:nvSpPr>
            <p:cNvPr id="15" name="Rectangle 43">
              <a:extLst>
                <a:ext uri="{FF2B5EF4-FFF2-40B4-BE49-F238E27FC236}">
                  <a16:creationId xmlns:a16="http://schemas.microsoft.com/office/drawing/2014/main" id="{76D4D17F-B697-4330-952B-CE709781E0C0}"/>
                </a:ext>
              </a:extLst>
            </p:cNvPr>
            <p:cNvSpPr>
              <a:spLocks noChangeArrowheads="1"/>
            </p:cNvSpPr>
            <p:nvPr/>
          </p:nvSpPr>
          <p:spPr bwMode="auto">
            <a:xfrm>
              <a:off x="4555820" y="4952688"/>
              <a:ext cx="1045158"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dirty="0"/>
                <a:t>Sales order</a:t>
              </a:r>
              <a:endParaRPr lang="en-GB" sz="1100" b="1" dirty="0"/>
            </a:p>
          </p:txBody>
        </p:sp>
        <p:sp>
          <p:nvSpPr>
            <p:cNvPr id="16" name="Rectangle 48">
              <a:extLst>
                <a:ext uri="{FF2B5EF4-FFF2-40B4-BE49-F238E27FC236}">
                  <a16:creationId xmlns:a16="http://schemas.microsoft.com/office/drawing/2014/main" id="{25B262C5-380A-462A-B58F-CAAB2754C695}"/>
                </a:ext>
              </a:extLst>
            </p:cNvPr>
            <p:cNvSpPr>
              <a:spLocks noChangeArrowheads="1"/>
            </p:cNvSpPr>
            <p:nvPr/>
          </p:nvSpPr>
          <p:spPr bwMode="auto">
            <a:xfrm>
              <a:off x="5836932" y="4952688"/>
              <a:ext cx="799899"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dirty="0"/>
                <a:t>Delivery</a:t>
              </a:r>
              <a:endParaRPr lang="en-GB" sz="1100" b="1" dirty="0"/>
            </a:p>
          </p:txBody>
        </p:sp>
        <p:sp>
          <p:nvSpPr>
            <p:cNvPr id="17" name="Rectangle 53">
              <a:extLst>
                <a:ext uri="{FF2B5EF4-FFF2-40B4-BE49-F238E27FC236}">
                  <a16:creationId xmlns:a16="http://schemas.microsoft.com/office/drawing/2014/main" id="{E56C9011-C8B0-48B3-8613-B9447948DC21}"/>
                </a:ext>
              </a:extLst>
            </p:cNvPr>
            <p:cNvSpPr>
              <a:spLocks noChangeArrowheads="1"/>
            </p:cNvSpPr>
            <p:nvPr/>
          </p:nvSpPr>
          <p:spPr bwMode="auto">
            <a:xfrm>
              <a:off x="6995807" y="4527238"/>
              <a:ext cx="737381"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dirty="0"/>
                <a:t>Invoice</a:t>
              </a:r>
              <a:endParaRPr lang="en-GB" sz="1100" b="1" dirty="0"/>
            </a:p>
          </p:txBody>
        </p:sp>
      </p:grpSp>
      <p:sp>
        <p:nvSpPr>
          <p:cNvPr id="7" name="Slide Number Placeholder 6"/>
          <p:cNvSpPr>
            <a:spLocks noGrp="1"/>
          </p:cNvSpPr>
          <p:nvPr>
            <p:ph type="sldNum" sz="quarter" idx="11"/>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6</a:t>
            </a:fld>
            <a:endParaRPr lang="en-US" dirty="0"/>
          </a:p>
        </p:txBody>
      </p:sp>
    </p:spTree>
    <p:extLst>
      <p:ext uri="{BB962C8B-B14F-4D97-AF65-F5344CB8AC3E}">
        <p14:creationId xmlns:p14="http://schemas.microsoft.com/office/powerpoint/2010/main" val="1290850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4482" name="Rectangle 2"/>
          <p:cNvSpPr>
            <a:spLocks noGrp="1" noChangeArrowheads="1"/>
          </p:cNvSpPr>
          <p:nvPr>
            <p:ph type="title"/>
          </p:nvPr>
        </p:nvSpPr>
        <p:spPr/>
        <p:txBody>
          <a:bodyPr/>
          <a:lstStyle/>
          <a:p>
            <a:r>
              <a:rPr lang="en-US" dirty="0"/>
              <a:t>Billing Methods – Collective Billing</a:t>
            </a:r>
          </a:p>
        </p:txBody>
      </p:sp>
      <p:sp>
        <p:nvSpPr>
          <p:cNvPr id="10" name="Rectangle 3"/>
          <p:cNvSpPr txBox="1">
            <a:spLocks noChangeArrowheads="1"/>
          </p:cNvSpPr>
          <p:nvPr/>
        </p:nvSpPr>
        <p:spPr>
          <a:xfrm>
            <a:off x="1694512" y="1846920"/>
            <a:ext cx="3681489" cy="388608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tIns="72000" rIns="36000" bIns="72000" anchor="ctr">
            <a:noAutofit/>
          </a:bodyPr>
          <a:lstStyle>
            <a:lvl1pPr marL="0" indent="0" algn="l" defTabSz="914377" rtl="0" eaLnBrk="1" latinLnBrk="0" hangingPunct="1">
              <a:lnSpc>
                <a:spcPct val="90000"/>
              </a:lnSpc>
              <a:spcBef>
                <a:spcPts val="600"/>
              </a:spcBef>
              <a:buFont typeface="Arial" panose="020B0604020202020204" pitchFamily="34" charset="0"/>
              <a:buNone/>
              <a:defRPr sz="1600" kern="1200">
                <a:solidFill>
                  <a:schemeClr val="tx1"/>
                </a:solidFill>
                <a:latin typeface="+mj-lt"/>
                <a:ea typeface="+mn-ea"/>
                <a:cs typeface="+mn-cs"/>
              </a:defRPr>
            </a:lvl1pPr>
            <a:lvl2pPr marL="442913" indent="-350838" algn="l" defTabSz="914377" rtl="0" eaLnBrk="1" latinLnBrk="0" hangingPunct="1">
              <a:lnSpc>
                <a:spcPct val="90000"/>
              </a:lnSpc>
              <a:spcBef>
                <a:spcPts val="600"/>
              </a:spcBef>
              <a:buClr>
                <a:schemeClr val="accent2"/>
              </a:buClr>
              <a:buFont typeface="Wingdings" panose="05000000000000000000" pitchFamily="2" charset="2"/>
              <a:buChar char="q"/>
              <a:defRPr sz="1600" kern="1200">
                <a:solidFill>
                  <a:schemeClr val="tx1"/>
                </a:solidFill>
                <a:latin typeface="+mj-lt"/>
                <a:ea typeface="+mn-ea"/>
                <a:cs typeface="+mn-cs"/>
              </a:defRPr>
            </a:lvl2pPr>
            <a:lvl3pPr marL="803275" indent="-360363" algn="l" defTabSz="914377" rtl="0" eaLnBrk="1" latinLnBrk="0" hangingPunct="1">
              <a:lnSpc>
                <a:spcPct val="90000"/>
              </a:lnSpc>
              <a:spcBef>
                <a:spcPts val="600"/>
              </a:spcBef>
              <a:buClr>
                <a:schemeClr val="accent6"/>
              </a:buClr>
              <a:buFont typeface="Wingdings" panose="05000000000000000000" pitchFamily="2" charset="2"/>
              <a:buChar char="m"/>
              <a:defRPr sz="1600" kern="1200">
                <a:solidFill>
                  <a:schemeClr val="tx1"/>
                </a:solidFill>
                <a:latin typeface="+mj-lt"/>
                <a:ea typeface="+mn-ea"/>
                <a:cs typeface="+mn-cs"/>
              </a:defRPr>
            </a:lvl3pPr>
            <a:lvl4pPr marL="1255713" indent="-363538" algn="l" defTabSz="914377"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j-lt"/>
                <a:ea typeface="+mn-ea"/>
                <a:cs typeface="+mn-cs"/>
              </a:defRPr>
            </a:lvl4pPr>
            <a:lvl5pPr marL="1616075" indent="-360363" algn="l" defTabSz="914377" rtl="0" eaLnBrk="1" latinLnBrk="0" hangingPunct="1">
              <a:lnSpc>
                <a:spcPct val="9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nSpc>
                <a:spcPct val="100000"/>
              </a:lnSpc>
              <a:spcBef>
                <a:spcPts val="1200"/>
              </a:spcBef>
              <a:buNone/>
              <a:defRPr/>
            </a:pPr>
            <a:r>
              <a:rPr lang="en-US" dirty="0"/>
              <a:t>As long as certain data agrees, you can also combine different documents (orders and/or deliveries) fully or partially in a common billing document. </a:t>
            </a:r>
          </a:p>
          <a:p>
            <a:pPr marL="0" lvl="2" indent="0">
              <a:lnSpc>
                <a:spcPct val="100000"/>
              </a:lnSpc>
              <a:spcBef>
                <a:spcPts val="1200"/>
              </a:spcBef>
              <a:buNone/>
              <a:defRPr/>
            </a:pPr>
            <a:r>
              <a:rPr lang="en-US" dirty="0"/>
              <a:t>The following prerequisites must be met:</a:t>
            </a:r>
          </a:p>
          <a:p>
            <a:pPr marL="354013" lvl="2" indent="-354013">
              <a:lnSpc>
                <a:spcPct val="100000"/>
              </a:lnSpc>
              <a:spcBef>
                <a:spcPts val="1200"/>
              </a:spcBef>
              <a:buFont typeface="Wingdings" panose="05000000000000000000" pitchFamily="2" charset="2"/>
              <a:buChar char="q"/>
              <a:defRPr/>
            </a:pPr>
            <a:r>
              <a:rPr lang="en-US" dirty="0"/>
              <a:t>The header data appearing in the billing document must agree</a:t>
            </a:r>
          </a:p>
          <a:p>
            <a:pPr marL="354013" lvl="2" indent="-354013">
              <a:lnSpc>
                <a:spcPct val="100000"/>
              </a:lnSpc>
              <a:spcBef>
                <a:spcPts val="1200"/>
              </a:spcBef>
              <a:buFont typeface="Wingdings" panose="05000000000000000000" pitchFamily="2" charset="2"/>
              <a:buChar char="q"/>
              <a:defRPr/>
            </a:pPr>
            <a:r>
              <a:rPr lang="en-US" dirty="0"/>
              <a:t>The split conditions specified do not apply</a:t>
            </a:r>
          </a:p>
        </p:txBody>
      </p:sp>
      <p:sp>
        <p:nvSpPr>
          <p:cNvPr id="6" name="Footer Placeholder 5"/>
          <p:cNvSpPr>
            <a:spLocks noGrp="1"/>
          </p:cNvSpPr>
          <p:nvPr>
            <p:ph type="ftr" sz="quarter" idx="10"/>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grpSp>
        <p:nvGrpSpPr>
          <p:cNvPr id="2" name="Group 1"/>
          <p:cNvGrpSpPr/>
          <p:nvPr/>
        </p:nvGrpSpPr>
        <p:grpSpPr>
          <a:xfrm>
            <a:off x="5620139" y="2823940"/>
            <a:ext cx="4877509" cy="1932040"/>
            <a:chOff x="3764812" y="3428394"/>
            <a:chExt cx="5049648" cy="1932040"/>
          </a:xfrm>
        </p:grpSpPr>
        <p:sp>
          <p:nvSpPr>
            <p:cNvPr id="13" name="Rectangle 60">
              <a:extLst>
                <a:ext uri="{FF2B5EF4-FFF2-40B4-BE49-F238E27FC236}">
                  <a16:creationId xmlns:a16="http://schemas.microsoft.com/office/drawing/2014/main" id="{75EA8713-FC15-452A-BFD1-4B33EA39BA5F}"/>
                </a:ext>
              </a:extLst>
            </p:cNvPr>
            <p:cNvSpPr>
              <a:spLocks noChangeArrowheads="1"/>
            </p:cNvSpPr>
            <p:nvPr/>
          </p:nvSpPr>
          <p:spPr bwMode="auto">
            <a:xfrm>
              <a:off x="3764812" y="3428394"/>
              <a:ext cx="5049648" cy="1932040"/>
            </a:xfrm>
            <a:prstGeom prst="rect">
              <a:avLst/>
            </a:prstGeom>
            <a:solidFill>
              <a:schemeClr val="accent5">
                <a:lumMod val="20000"/>
                <a:lumOff val="80000"/>
              </a:schemeClr>
            </a:solidFill>
            <a:ln w="9525">
              <a:solidFill>
                <a:schemeClr val="tx1"/>
              </a:solidFill>
              <a:miter lim="800000"/>
              <a:headEnd/>
              <a:tailEnd/>
            </a:ln>
          </p:spPr>
          <p:txBody>
            <a:bodyPr wrap="none" lIns="152400" tIns="60325" rIns="152400" bIns="60325"/>
            <a:lstStyle/>
            <a:p>
              <a:pPr defTabSz="585788" eaLnBrk="0" hangingPunct="0"/>
              <a:endParaRPr lang="en-GB" sz="1600" b="1" dirty="0">
                <a:latin typeface="+mj-lt"/>
              </a:endParaRPr>
            </a:p>
          </p:txBody>
        </p:sp>
        <p:sp>
          <p:nvSpPr>
            <p:cNvPr id="14" name="Line 61">
              <a:extLst>
                <a:ext uri="{FF2B5EF4-FFF2-40B4-BE49-F238E27FC236}">
                  <a16:creationId xmlns:a16="http://schemas.microsoft.com/office/drawing/2014/main" id="{84CA446C-C305-4795-90BC-82B9D4B5936C}"/>
                </a:ext>
              </a:extLst>
            </p:cNvPr>
            <p:cNvSpPr>
              <a:spLocks noChangeShapeType="1"/>
            </p:cNvSpPr>
            <p:nvPr/>
          </p:nvSpPr>
          <p:spPr bwMode="auto">
            <a:xfrm>
              <a:off x="5110508" y="3825636"/>
              <a:ext cx="506279" cy="0"/>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15" name="Line 62">
              <a:extLst>
                <a:ext uri="{FF2B5EF4-FFF2-40B4-BE49-F238E27FC236}">
                  <a16:creationId xmlns:a16="http://schemas.microsoft.com/office/drawing/2014/main" id="{4FDF8F01-3A2B-43DE-8A48-2BC0AC487CCB}"/>
                </a:ext>
              </a:extLst>
            </p:cNvPr>
            <p:cNvSpPr>
              <a:spLocks noChangeShapeType="1"/>
            </p:cNvSpPr>
            <p:nvPr/>
          </p:nvSpPr>
          <p:spPr bwMode="auto">
            <a:xfrm>
              <a:off x="5110508" y="5039932"/>
              <a:ext cx="506279" cy="0"/>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16" name="Line 63">
              <a:extLst>
                <a:ext uri="{FF2B5EF4-FFF2-40B4-BE49-F238E27FC236}">
                  <a16:creationId xmlns:a16="http://schemas.microsoft.com/office/drawing/2014/main" id="{E8557361-E4CE-4E0C-9FFD-E8739E9974FB}"/>
                </a:ext>
              </a:extLst>
            </p:cNvPr>
            <p:cNvSpPr>
              <a:spLocks noChangeShapeType="1"/>
            </p:cNvSpPr>
            <p:nvPr/>
          </p:nvSpPr>
          <p:spPr bwMode="auto">
            <a:xfrm flipV="1">
              <a:off x="6879199" y="4519681"/>
              <a:ext cx="504088" cy="520251"/>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17" name="Line 64">
              <a:extLst>
                <a:ext uri="{FF2B5EF4-FFF2-40B4-BE49-F238E27FC236}">
                  <a16:creationId xmlns:a16="http://schemas.microsoft.com/office/drawing/2014/main" id="{3C5D21EB-D94E-4208-86A2-14400BB36D6F}"/>
                </a:ext>
              </a:extLst>
            </p:cNvPr>
            <p:cNvSpPr>
              <a:spLocks noChangeShapeType="1"/>
            </p:cNvSpPr>
            <p:nvPr/>
          </p:nvSpPr>
          <p:spPr bwMode="auto">
            <a:xfrm>
              <a:off x="6879199" y="3824508"/>
              <a:ext cx="504088" cy="521380"/>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18" name="Line 65">
              <a:extLst>
                <a:ext uri="{FF2B5EF4-FFF2-40B4-BE49-F238E27FC236}">
                  <a16:creationId xmlns:a16="http://schemas.microsoft.com/office/drawing/2014/main" id="{49097419-5326-4419-96F5-17702655AD84}"/>
                </a:ext>
              </a:extLst>
            </p:cNvPr>
            <p:cNvSpPr>
              <a:spLocks noChangeShapeType="1"/>
            </p:cNvSpPr>
            <p:nvPr/>
          </p:nvSpPr>
          <p:spPr bwMode="auto">
            <a:xfrm>
              <a:off x="6879199" y="4432784"/>
              <a:ext cx="504088" cy="0"/>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19" name="Line 66">
              <a:extLst>
                <a:ext uri="{FF2B5EF4-FFF2-40B4-BE49-F238E27FC236}">
                  <a16:creationId xmlns:a16="http://schemas.microsoft.com/office/drawing/2014/main" id="{0144D56B-459E-48DE-8BA5-4DC6BD8B0CFD}"/>
                </a:ext>
              </a:extLst>
            </p:cNvPr>
            <p:cNvSpPr>
              <a:spLocks noChangeShapeType="1"/>
            </p:cNvSpPr>
            <p:nvPr/>
          </p:nvSpPr>
          <p:spPr bwMode="auto">
            <a:xfrm>
              <a:off x="5110508" y="3825636"/>
              <a:ext cx="506279" cy="607148"/>
            </a:xfrm>
            <a:prstGeom prst="line">
              <a:avLst/>
            </a:prstGeom>
            <a:noFill/>
            <a:ln w="25400">
              <a:solidFill>
                <a:schemeClr val="tx1"/>
              </a:solidFill>
              <a:round/>
              <a:headEnd type="none" w="sm" len="sm"/>
              <a:tailEnd type="stealth" w="med" len="lg"/>
            </a:ln>
          </p:spPr>
          <p:txBody>
            <a:bodyPr/>
            <a:lstStyle/>
            <a:p>
              <a:endParaRPr lang="en-US" dirty="0">
                <a:latin typeface="+mj-lt"/>
              </a:endParaRPr>
            </a:p>
          </p:txBody>
        </p:sp>
        <p:sp>
          <p:nvSpPr>
            <p:cNvPr id="20" name="Freeform 67">
              <a:extLst>
                <a:ext uri="{FF2B5EF4-FFF2-40B4-BE49-F238E27FC236}">
                  <a16:creationId xmlns:a16="http://schemas.microsoft.com/office/drawing/2014/main" id="{25039A9B-9041-4C25-A1A3-72F4C49CF41E}"/>
                </a:ext>
              </a:extLst>
            </p:cNvPr>
            <p:cNvSpPr>
              <a:spLocks/>
            </p:cNvSpPr>
            <p:nvPr/>
          </p:nvSpPr>
          <p:spPr bwMode="auto">
            <a:xfrm>
              <a:off x="3848096" y="3523190"/>
              <a:ext cx="1264603" cy="520252"/>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21" name="Rectangle 70">
              <a:extLst>
                <a:ext uri="{FF2B5EF4-FFF2-40B4-BE49-F238E27FC236}">
                  <a16:creationId xmlns:a16="http://schemas.microsoft.com/office/drawing/2014/main" id="{490EFB36-23FD-4BFE-8908-4180510D9DC8}"/>
                </a:ext>
              </a:extLst>
            </p:cNvPr>
            <p:cNvSpPr>
              <a:spLocks noChangeArrowheads="1"/>
            </p:cNvSpPr>
            <p:nvPr/>
          </p:nvSpPr>
          <p:spPr bwMode="auto">
            <a:xfrm>
              <a:off x="3795496" y="3523190"/>
              <a:ext cx="1082044"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latin typeface="+mj-lt"/>
                </a:rPr>
                <a:t>Sales order</a:t>
              </a:r>
              <a:endParaRPr lang="en-GB" sz="1100" b="1" dirty="0">
                <a:latin typeface="+mj-lt"/>
              </a:endParaRPr>
            </a:p>
          </p:txBody>
        </p:sp>
        <p:sp>
          <p:nvSpPr>
            <p:cNvPr id="22" name="Freeform 72">
              <a:extLst>
                <a:ext uri="{FF2B5EF4-FFF2-40B4-BE49-F238E27FC236}">
                  <a16:creationId xmlns:a16="http://schemas.microsoft.com/office/drawing/2014/main" id="{E7CBD78D-1E47-4601-AAA8-8C5147BD5EBB}"/>
                </a:ext>
              </a:extLst>
            </p:cNvPr>
            <p:cNvSpPr>
              <a:spLocks/>
            </p:cNvSpPr>
            <p:nvPr/>
          </p:nvSpPr>
          <p:spPr bwMode="auto">
            <a:xfrm>
              <a:off x="3848096" y="4736358"/>
              <a:ext cx="1264603" cy="520251"/>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23" name="Freeform 77">
              <a:extLst>
                <a:ext uri="{FF2B5EF4-FFF2-40B4-BE49-F238E27FC236}">
                  <a16:creationId xmlns:a16="http://schemas.microsoft.com/office/drawing/2014/main" id="{9B10AD0A-C4C3-4EFA-A3B4-334FE9B79B0F}"/>
                </a:ext>
              </a:extLst>
            </p:cNvPr>
            <p:cNvSpPr>
              <a:spLocks/>
            </p:cNvSpPr>
            <p:nvPr/>
          </p:nvSpPr>
          <p:spPr bwMode="auto">
            <a:xfrm>
              <a:off x="5616787" y="3523190"/>
              <a:ext cx="1264604" cy="520252"/>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24" name="Rectangle 80">
              <a:extLst>
                <a:ext uri="{FF2B5EF4-FFF2-40B4-BE49-F238E27FC236}">
                  <a16:creationId xmlns:a16="http://schemas.microsoft.com/office/drawing/2014/main" id="{346FD5C6-6C66-42EE-8813-534791980A73}"/>
                </a:ext>
              </a:extLst>
            </p:cNvPr>
            <p:cNvSpPr>
              <a:spLocks noChangeArrowheads="1"/>
            </p:cNvSpPr>
            <p:nvPr/>
          </p:nvSpPr>
          <p:spPr bwMode="auto">
            <a:xfrm>
              <a:off x="5564187" y="3523190"/>
              <a:ext cx="828129"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25" name="Freeform 82">
              <a:extLst>
                <a:ext uri="{FF2B5EF4-FFF2-40B4-BE49-F238E27FC236}">
                  <a16:creationId xmlns:a16="http://schemas.microsoft.com/office/drawing/2014/main" id="{AA6BFE40-8444-45E9-838A-37648282432A}"/>
                </a:ext>
              </a:extLst>
            </p:cNvPr>
            <p:cNvSpPr>
              <a:spLocks/>
            </p:cNvSpPr>
            <p:nvPr/>
          </p:nvSpPr>
          <p:spPr bwMode="auto">
            <a:xfrm>
              <a:off x="5616787" y="4736358"/>
              <a:ext cx="1264604" cy="520251"/>
            </a:xfrm>
            <a:custGeom>
              <a:avLst/>
              <a:gdLst/>
              <a:ahLst/>
              <a:cxnLst>
                <a:cxn ang="0">
                  <a:pos x="0" y="460"/>
                </a:cxn>
                <a:cxn ang="0">
                  <a:pos x="0" y="0"/>
                </a:cxn>
                <a:cxn ang="0">
                  <a:pos x="474" y="0"/>
                </a:cxn>
                <a:cxn ang="0">
                  <a:pos x="576" y="76"/>
                </a:cxn>
                <a:cxn ang="0">
                  <a:pos x="576" y="460"/>
                </a:cxn>
                <a:cxn ang="0">
                  <a:pos x="0" y="460"/>
                </a:cxn>
              </a:cxnLst>
              <a:rect l="0" t="0" r="r" b="b"/>
              <a:pathLst>
                <a:path w="577" h="461">
                  <a:moveTo>
                    <a:pt x="0" y="460"/>
                  </a:moveTo>
                  <a:lnTo>
                    <a:pt x="0" y="0"/>
                  </a:lnTo>
                  <a:lnTo>
                    <a:pt x="474" y="0"/>
                  </a:lnTo>
                  <a:lnTo>
                    <a:pt x="576" y="76"/>
                  </a:lnTo>
                  <a:lnTo>
                    <a:pt x="576" y="460"/>
                  </a:lnTo>
                  <a:lnTo>
                    <a:pt x="0" y="460"/>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26" name="Rectangle 85">
              <a:extLst>
                <a:ext uri="{FF2B5EF4-FFF2-40B4-BE49-F238E27FC236}">
                  <a16:creationId xmlns:a16="http://schemas.microsoft.com/office/drawing/2014/main" id="{7AF76DA4-6C46-4A2A-AF46-107CC71FAE00}"/>
                </a:ext>
              </a:extLst>
            </p:cNvPr>
            <p:cNvSpPr>
              <a:spLocks noChangeArrowheads="1"/>
            </p:cNvSpPr>
            <p:nvPr/>
          </p:nvSpPr>
          <p:spPr bwMode="auto">
            <a:xfrm>
              <a:off x="5564187" y="4736358"/>
              <a:ext cx="828129"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27" name="Freeform 87">
              <a:extLst>
                <a:ext uri="{FF2B5EF4-FFF2-40B4-BE49-F238E27FC236}">
                  <a16:creationId xmlns:a16="http://schemas.microsoft.com/office/drawing/2014/main" id="{F4E111A8-85E8-44C9-9819-FF9ADC6DF997}"/>
                </a:ext>
              </a:extLst>
            </p:cNvPr>
            <p:cNvSpPr>
              <a:spLocks/>
            </p:cNvSpPr>
            <p:nvPr/>
          </p:nvSpPr>
          <p:spPr bwMode="auto">
            <a:xfrm>
              <a:off x="5616787" y="4129210"/>
              <a:ext cx="1264604" cy="52138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28" name="Rectangle 90">
              <a:extLst>
                <a:ext uri="{FF2B5EF4-FFF2-40B4-BE49-F238E27FC236}">
                  <a16:creationId xmlns:a16="http://schemas.microsoft.com/office/drawing/2014/main" id="{2997D81E-05FA-4FCF-87EC-8ABEAF6AE9C7}"/>
                </a:ext>
              </a:extLst>
            </p:cNvPr>
            <p:cNvSpPr>
              <a:spLocks noChangeArrowheads="1"/>
            </p:cNvSpPr>
            <p:nvPr/>
          </p:nvSpPr>
          <p:spPr bwMode="auto">
            <a:xfrm>
              <a:off x="5564187" y="4129210"/>
              <a:ext cx="828129"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latin typeface="+mj-lt"/>
                </a:rPr>
                <a:t>Delivery</a:t>
              </a:r>
              <a:endParaRPr lang="en-GB" sz="1100" b="1" dirty="0">
                <a:latin typeface="+mj-lt"/>
              </a:endParaRPr>
            </a:p>
          </p:txBody>
        </p:sp>
        <p:sp>
          <p:nvSpPr>
            <p:cNvPr id="29" name="Freeform 92">
              <a:extLst>
                <a:ext uri="{FF2B5EF4-FFF2-40B4-BE49-F238E27FC236}">
                  <a16:creationId xmlns:a16="http://schemas.microsoft.com/office/drawing/2014/main" id="{C3F00EC2-8217-4CF2-8269-0C65B0FBCA9D}"/>
                </a:ext>
              </a:extLst>
            </p:cNvPr>
            <p:cNvSpPr>
              <a:spLocks/>
            </p:cNvSpPr>
            <p:nvPr/>
          </p:nvSpPr>
          <p:spPr bwMode="auto">
            <a:xfrm>
              <a:off x="7383287" y="4129210"/>
              <a:ext cx="1264604" cy="521380"/>
            </a:xfrm>
            <a:custGeom>
              <a:avLst/>
              <a:gdLst/>
              <a:ahLst/>
              <a:cxnLst>
                <a:cxn ang="0">
                  <a:pos x="0" y="461"/>
                </a:cxn>
                <a:cxn ang="0">
                  <a:pos x="0" y="0"/>
                </a:cxn>
                <a:cxn ang="0">
                  <a:pos x="474" y="0"/>
                </a:cxn>
                <a:cxn ang="0">
                  <a:pos x="576" y="76"/>
                </a:cxn>
                <a:cxn ang="0">
                  <a:pos x="576" y="461"/>
                </a:cxn>
                <a:cxn ang="0">
                  <a:pos x="0" y="461"/>
                </a:cxn>
              </a:cxnLst>
              <a:rect l="0" t="0" r="r" b="b"/>
              <a:pathLst>
                <a:path w="577" h="462">
                  <a:moveTo>
                    <a:pt x="0" y="461"/>
                  </a:moveTo>
                  <a:lnTo>
                    <a:pt x="0" y="0"/>
                  </a:lnTo>
                  <a:lnTo>
                    <a:pt x="474" y="0"/>
                  </a:lnTo>
                  <a:lnTo>
                    <a:pt x="576" y="76"/>
                  </a:lnTo>
                  <a:lnTo>
                    <a:pt x="576" y="461"/>
                  </a:lnTo>
                  <a:lnTo>
                    <a:pt x="0" y="461"/>
                  </a:lnTo>
                </a:path>
              </a:pathLst>
            </a:custGeom>
            <a:solidFill>
              <a:srgbClr val="FFFFFF"/>
            </a:solidFill>
            <a:ln w="12700" cap="rnd" cmpd="sng">
              <a:solidFill>
                <a:schemeClr val="tx1"/>
              </a:solidFill>
              <a:prstDash val="solid"/>
              <a:round/>
              <a:headEnd/>
              <a:tailEnd/>
            </a:ln>
            <a:effectLst>
              <a:outerShdw dist="53882" dir="2700000" algn="ctr" rotWithShape="0">
                <a:schemeClr val="bg2"/>
              </a:outerShdw>
            </a:effectLst>
          </p:spPr>
          <p:txBody>
            <a:bodyPr/>
            <a:lstStyle/>
            <a:p>
              <a:pPr>
                <a:defRPr/>
              </a:pPr>
              <a:endParaRPr lang="en-US" dirty="0">
                <a:latin typeface="+mj-lt"/>
              </a:endParaRPr>
            </a:p>
          </p:txBody>
        </p:sp>
        <p:sp>
          <p:nvSpPr>
            <p:cNvPr id="30" name="Rectangle 95">
              <a:extLst>
                <a:ext uri="{FF2B5EF4-FFF2-40B4-BE49-F238E27FC236}">
                  <a16:creationId xmlns:a16="http://schemas.microsoft.com/office/drawing/2014/main" id="{8DE4CEC5-9AFE-4CFF-8A58-81AA69B41C8A}"/>
                </a:ext>
              </a:extLst>
            </p:cNvPr>
            <p:cNvSpPr>
              <a:spLocks noChangeArrowheads="1"/>
            </p:cNvSpPr>
            <p:nvPr/>
          </p:nvSpPr>
          <p:spPr bwMode="auto">
            <a:xfrm>
              <a:off x="7330687" y="4129210"/>
              <a:ext cx="763405"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a:latin typeface="+mj-lt"/>
                </a:rPr>
                <a:t>Invoice</a:t>
              </a:r>
              <a:endParaRPr lang="en-GB" sz="1100" b="1" dirty="0">
                <a:latin typeface="+mj-lt"/>
              </a:endParaRPr>
            </a:p>
          </p:txBody>
        </p:sp>
        <p:sp>
          <p:nvSpPr>
            <p:cNvPr id="31" name="Rectangle 75">
              <a:extLst>
                <a:ext uri="{FF2B5EF4-FFF2-40B4-BE49-F238E27FC236}">
                  <a16:creationId xmlns:a16="http://schemas.microsoft.com/office/drawing/2014/main" id="{4D3A495D-B795-442D-B041-F9C67A2D8AE5}"/>
                </a:ext>
              </a:extLst>
            </p:cNvPr>
            <p:cNvSpPr>
              <a:spLocks noChangeArrowheads="1"/>
            </p:cNvSpPr>
            <p:nvPr/>
          </p:nvSpPr>
          <p:spPr bwMode="auto">
            <a:xfrm>
              <a:off x="3870855" y="4738865"/>
              <a:ext cx="1082044" cy="243016"/>
            </a:xfrm>
            <a:prstGeom prst="rect">
              <a:avLst/>
            </a:prstGeom>
            <a:noFill/>
            <a:ln w="9525">
              <a:noFill/>
              <a:miter lim="800000"/>
              <a:headEnd/>
              <a:tailEnd/>
            </a:ln>
          </p:spPr>
          <p:txBody>
            <a:bodyPr wrap="none" lIns="73025" tIns="36513" rIns="73025" bIns="36513">
              <a:spAutoFit/>
            </a:bodyPr>
            <a:lstStyle/>
            <a:p>
              <a:pPr defTabSz="585788" eaLnBrk="0" hangingPunct="0"/>
              <a:r>
                <a:rPr lang="de-DE" sz="1100" b="1" dirty="0">
                  <a:latin typeface="+mj-lt"/>
                </a:rPr>
                <a:t>Sales order</a:t>
              </a:r>
              <a:endParaRPr lang="en-GB" sz="1100" b="1" dirty="0">
                <a:latin typeface="+mj-lt"/>
              </a:endParaRPr>
            </a:p>
          </p:txBody>
        </p:sp>
      </p:grpSp>
      <p:sp>
        <p:nvSpPr>
          <p:cNvPr id="7" name="Slide Number Placeholder 6"/>
          <p:cNvSpPr>
            <a:spLocks noGrp="1"/>
          </p:cNvSpPr>
          <p:nvPr>
            <p:ph type="sldNum" sz="quarter" idx="11"/>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7</a:t>
            </a:fld>
            <a:endParaRPr lang="en-US" dirty="0"/>
          </a:p>
        </p:txBody>
      </p:sp>
    </p:spTree>
    <p:extLst>
      <p:ext uri="{BB962C8B-B14F-4D97-AF65-F5344CB8AC3E}">
        <p14:creationId xmlns:p14="http://schemas.microsoft.com/office/powerpoint/2010/main" val="3980728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1A28922B-B702-46CB-83EC-324B86AD1D8F}"/>
              </a:ext>
            </a:extLst>
          </p:cNvPr>
          <p:cNvSpPr txBox="1">
            <a:spLocks/>
          </p:cNvSpPr>
          <p:nvPr/>
        </p:nvSpPr>
        <p:spPr>
          <a:xfrm>
            <a:off x="6096000" y="3200400"/>
            <a:ext cx="5419268" cy="1902287"/>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sz="2025" kern="1200">
                <a:solidFill>
                  <a:schemeClr val="bg1"/>
                </a:solidFill>
                <a:latin typeface="+mj-lt"/>
                <a:ea typeface="+mn-ea"/>
                <a:cs typeface="+mn-cs"/>
              </a:defRPr>
            </a:lvl1pPr>
            <a:lvl2pPr marL="257175" indent="0" algn="l" defTabSz="685800" rtl="0" eaLnBrk="1" latinLnBrk="0" hangingPunct="1">
              <a:lnSpc>
                <a:spcPct val="90000"/>
              </a:lnSpc>
              <a:spcBef>
                <a:spcPts val="375"/>
              </a:spcBef>
              <a:buClr>
                <a:schemeClr val="accent1"/>
              </a:buClr>
              <a:buFont typeface="Wingdings" panose="05000000000000000000" pitchFamily="2" charset="2"/>
              <a:buNone/>
              <a:defRPr sz="3375" kern="1200">
                <a:solidFill>
                  <a:schemeClr val="bg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05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solidFill>
                  <a:schemeClr val="tx1"/>
                </a:solidFill>
              </a:rPr>
              <a:t>Billing </a:t>
            </a:r>
            <a:endParaRPr lang="en-US" dirty="0">
              <a:solidFill>
                <a:schemeClr val="tx1"/>
              </a:solidFill>
            </a:endParaRPr>
          </a:p>
        </p:txBody>
      </p:sp>
    </p:spTree>
    <p:extLst>
      <p:ext uri="{BB962C8B-B14F-4D97-AF65-F5344CB8AC3E}">
        <p14:creationId xmlns:p14="http://schemas.microsoft.com/office/powerpoint/2010/main" val="1216245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3657600" y="1295400"/>
            <a:ext cx="4540250" cy="3898900"/>
          </a:xfrm>
          <a:custGeom>
            <a:avLst/>
            <a:gdLst/>
            <a:ahLst/>
            <a:cxnLst/>
            <a:rect l="l" t="t" r="r" b="b"/>
            <a:pathLst>
              <a:path w="4540250" h="3898900">
                <a:moveTo>
                  <a:pt x="0" y="3898900"/>
                </a:moveTo>
                <a:lnTo>
                  <a:pt x="4540250" y="3898900"/>
                </a:lnTo>
                <a:lnTo>
                  <a:pt x="4540250" y="0"/>
                </a:lnTo>
                <a:lnTo>
                  <a:pt x="0" y="0"/>
                </a:lnTo>
                <a:lnTo>
                  <a:pt x="0" y="3898900"/>
                </a:lnTo>
                <a:close/>
              </a:path>
            </a:pathLst>
          </a:custGeom>
          <a:solidFill>
            <a:srgbClr val="FFFF99"/>
          </a:solidFill>
        </p:spPr>
        <p:txBody>
          <a:bodyPr wrap="square" lIns="0" tIns="0" rIns="0" bIns="0" rtlCol="0">
            <a:noAutofit/>
          </a:bodyPr>
          <a:lstStyle/>
          <a:p>
            <a:endParaRPr/>
          </a:p>
        </p:txBody>
      </p:sp>
      <p:sp>
        <p:nvSpPr>
          <p:cNvPr id="16" name="object 16"/>
          <p:cNvSpPr/>
          <p:nvPr/>
        </p:nvSpPr>
        <p:spPr>
          <a:xfrm>
            <a:off x="3657600" y="1295400"/>
            <a:ext cx="4540250" cy="3898900"/>
          </a:xfrm>
          <a:prstGeom prst="rect">
            <a:avLst/>
          </a:prstGeom>
          <a:blipFill>
            <a:blip r:embed="rId2" cstate="print"/>
            <a:stretch>
              <a:fillRect/>
            </a:stretch>
          </a:blipFill>
        </p:spPr>
        <p:txBody>
          <a:bodyPr wrap="square" lIns="0" tIns="0" rIns="0" bIns="0" rtlCol="0">
            <a:noAutofit/>
          </a:bodyPr>
          <a:lstStyle/>
          <a:p>
            <a:endParaRPr/>
          </a:p>
        </p:txBody>
      </p:sp>
      <p:sp>
        <p:nvSpPr>
          <p:cNvPr id="17" name="object 17"/>
          <p:cNvSpPr/>
          <p:nvPr/>
        </p:nvSpPr>
        <p:spPr>
          <a:xfrm>
            <a:off x="3643250" y="1281050"/>
            <a:ext cx="4568825" cy="3927475"/>
          </a:xfrm>
          <a:custGeom>
            <a:avLst/>
            <a:gdLst/>
            <a:ahLst/>
            <a:cxnLst/>
            <a:rect l="l" t="t" r="r" b="b"/>
            <a:pathLst>
              <a:path w="4568825" h="3927475">
                <a:moveTo>
                  <a:pt x="0" y="3927475"/>
                </a:moveTo>
                <a:lnTo>
                  <a:pt x="4568825" y="3927475"/>
                </a:lnTo>
                <a:lnTo>
                  <a:pt x="4568825" y="0"/>
                </a:lnTo>
                <a:lnTo>
                  <a:pt x="0" y="0"/>
                </a:lnTo>
                <a:lnTo>
                  <a:pt x="0" y="3927475"/>
                </a:lnTo>
                <a:close/>
              </a:path>
            </a:pathLst>
          </a:custGeom>
          <a:ln w="28575">
            <a:solidFill>
              <a:srgbClr val="000000"/>
            </a:solidFill>
          </a:ln>
        </p:spPr>
        <p:txBody>
          <a:bodyPr wrap="square" lIns="0" tIns="0" rIns="0" bIns="0" rtlCol="0">
            <a:noAutofit/>
          </a:bodyPr>
          <a:lstStyle/>
          <a:p>
            <a:endParaRPr/>
          </a:p>
        </p:txBody>
      </p:sp>
      <p:sp>
        <p:nvSpPr>
          <p:cNvPr id="18" name="object 18"/>
          <p:cNvSpPr/>
          <p:nvPr/>
        </p:nvSpPr>
        <p:spPr>
          <a:xfrm>
            <a:off x="1752600" y="1447801"/>
            <a:ext cx="3421126" cy="1768475"/>
          </a:xfrm>
          <a:custGeom>
            <a:avLst/>
            <a:gdLst/>
            <a:ahLst/>
            <a:cxnLst/>
            <a:rect l="l" t="t" r="r" b="b"/>
            <a:pathLst>
              <a:path w="3421126" h="1768475">
                <a:moveTo>
                  <a:pt x="0" y="101600"/>
                </a:moveTo>
                <a:lnTo>
                  <a:pt x="104" y="512644"/>
                </a:lnTo>
                <a:lnTo>
                  <a:pt x="5409" y="540802"/>
                </a:lnTo>
                <a:lnTo>
                  <a:pt x="17906" y="565627"/>
                </a:lnTo>
                <a:lnTo>
                  <a:pt x="36441" y="585963"/>
                </a:lnTo>
                <a:lnTo>
                  <a:pt x="59855" y="600658"/>
                </a:lnTo>
                <a:lnTo>
                  <a:pt x="86994" y="608558"/>
                </a:lnTo>
                <a:lnTo>
                  <a:pt x="101600" y="609600"/>
                </a:lnTo>
                <a:lnTo>
                  <a:pt x="792695" y="609600"/>
                </a:lnTo>
                <a:lnTo>
                  <a:pt x="3421126" y="1768475"/>
                </a:lnTo>
                <a:lnTo>
                  <a:pt x="1132459" y="609600"/>
                </a:lnTo>
                <a:lnTo>
                  <a:pt x="1261944" y="609495"/>
                </a:lnTo>
                <a:lnTo>
                  <a:pt x="1276368" y="607815"/>
                </a:lnTo>
                <a:lnTo>
                  <a:pt x="1314927" y="591699"/>
                </a:lnTo>
                <a:lnTo>
                  <a:pt x="1343388" y="562000"/>
                </a:lnTo>
                <a:lnTo>
                  <a:pt x="1357858" y="522610"/>
                </a:lnTo>
                <a:lnTo>
                  <a:pt x="1358900" y="508000"/>
                </a:lnTo>
                <a:lnTo>
                  <a:pt x="1358795" y="96955"/>
                </a:lnTo>
                <a:lnTo>
                  <a:pt x="1348073" y="55896"/>
                </a:lnTo>
                <a:lnTo>
                  <a:pt x="1322469" y="23636"/>
                </a:lnTo>
                <a:lnTo>
                  <a:pt x="1285877" y="4070"/>
                </a:lnTo>
                <a:lnTo>
                  <a:pt x="1257300" y="0"/>
                </a:lnTo>
                <a:lnTo>
                  <a:pt x="96957" y="104"/>
                </a:lnTo>
                <a:lnTo>
                  <a:pt x="55907" y="10826"/>
                </a:lnTo>
                <a:lnTo>
                  <a:pt x="23644" y="36430"/>
                </a:lnTo>
                <a:lnTo>
                  <a:pt x="4072" y="73022"/>
                </a:lnTo>
                <a:lnTo>
                  <a:pt x="1042" y="86989"/>
                </a:lnTo>
                <a:lnTo>
                  <a:pt x="0" y="101600"/>
                </a:lnTo>
                <a:close/>
              </a:path>
            </a:pathLst>
          </a:custGeom>
          <a:solidFill>
            <a:srgbClr val="FFFF99"/>
          </a:solidFill>
        </p:spPr>
        <p:txBody>
          <a:bodyPr wrap="square" lIns="0" tIns="0" rIns="0" bIns="0" rtlCol="0">
            <a:noAutofit/>
          </a:bodyPr>
          <a:lstStyle/>
          <a:p>
            <a:endParaRPr/>
          </a:p>
        </p:txBody>
      </p:sp>
      <p:sp>
        <p:nvSpPr>
          <p:cNvPr id="19" name="object 19"/>
          <p:cNvSpPr/>
          <p:nvPr/>
        </p:nvSpPr>
        <p:spPr>
          <a:xfrm>
            <a:off x="7443851" y="1600200"/>
            <a:ext cx="2451100" cy="1809750"/>
          </a:xfrm>
          <a:custGeom>
            <a:avLst/>
            <a:gdLst/>
            <a:ahLst/>
            <a:cxnLst/>
            <a:rect l="l" t="t" r="r" b="b"/>
            <a:pathLst>
              <a:path w="2451100" h="1809750">
                <a:moveTo>
                  <a:pt x="2451100" y="284352"/>
                </a:moveTo>
                <a:lnTo>
                  <a:pt x="2451096" y="80521"/>
                </a:lnTo>
                <a:lnTo>
                  <a:pt x="2439750" y="39819"/>
                </a:lnTo>
                <a:lnTo>
                  <a:pt x="2410613" y="10963"/>
                </a:lnTo>
                <a:lnTo>
                  <a:pt x="2369820" y="0"/>
                </a:lnTo>
                <a:lnTo>
                  <a:pt x="1018670" y="3"/>
                </a:lnTo>
                <a:lnTo>
                  <a:pt x="977968" y="11321"/>
                </a:lnTo>
                <a:lnTo>
                  <a:pt x="949112" y="40429"/>
                </a:lnTo>
                <a:lnTo>
                  <a:pt x="938149" y="81279"/>
                </a:lnTo>
                <a:lnTo>
                  <a:pt x="938152" y="406902"/>
                </a:lnTo>
                <a:lnTo>
                  <a:pt x="949470" y="447549"/>
                </a:lnTo>
                <a:lnTo>
                  <a:pt x="978578" y="476434"/>
                </a:lnTo>
                <a:lnTo>
                  <a:pt x="1019428" y="487425"/>
                </a:lnTo>
                <a:lnTo>
                  <a:pt x="1190244" y="487425"/>
                </a:lnTo>
                <a:lnTo>
                  <a:pt x="0" y="1809750"/>
                </a:lnTo>
                <a:lnTo>
                  <a:pt x="1568577" y="487425"/>
                </a:lnTo>
                <a:lnTo>
                  <a:pt x="2370576" y="487422"/>
                </a:lnTo>
                <a:lnTo>
                  <a:pt x="2385053" y="485995"/>
                </a:lnTo>
                <a:lnTo>
                  <a:pt x="2398678" y="482137"/>
                </a:lnTo>
                <a:lnTo>
                  <a:pt x="2411223" y="476076"/>
                </a:lnTo>
                <a:lnTo>
                  <a:pt x="2422461" y="468037"/>
                </a:lnTo>
                <a:lnTo>
                  <a:pt x="2432165" y="458250"/>
                </a:lnTo>
                <a:lnTo>
                  <a:pt x="2440108" y="446939"/>
                </a:lnTo>
                <a:lnTo>
                  <a:pt x="2446063" y="434334"/>
                </a:lnTo>
                <a:lnTo>
                  <a:pt x="2449803" y="420660"/>
                </a:lnTo>
                <a:lnTo>
                  <a:pt x="2451100" y="406146"/>
                </a:lnTo>
                <a:lnTo>
                  <a:pt x="2451100" y="284352"/>
                </a:lnTo>
                <a:close/>
              </a:path>
            </a:pathLst>
          </a:custGeom>
          <a:solidFill>
            <a:srgbClr val="FFFF99"/>
          </a:solidFill>
        </p:spPr>
        <p:txBody>
          <a:bodyPr wrap="square" lIns="0" tIns="0" rIns="0" bIns="0" rtlCol="0">
            <a:noAutofit/>
          </a:bodyPr>
          <a:lstStyle/>
          <a:p>
            <a:endParaRPr/>
          </a:p>
        </p:txBody>
      </p:sp>
      <p:sp>
        <p:nvSpPr>
          <p:cNvPr id="20" name="object 20"/>
          <p:cNvSpPr/>
          <p:nvPr/>
        </p:nvSpPr>
        <p:spPr>
          <a:xfrm>
            <a:off x="7996175" y="3124201"/>
            <a:ext cx="1773301" cy="1063625"/>
          </a:xfrm>
          <a:custGeom>
            <a:avLst/>
            <a:gdLst/>
            <a:ahLst/>
            <a:cxnLst/>
            <a:rect l="l" t="t" r="r" b="b"/>
            <a:pathLst>
              <a:path w="1773301" h="1063625">
                <a:moveTo>
                  <a:pt x="1773301" y="340740"/>
                </a:moveTo>
                <a:lnTo>
                  <a:pt x="1773301" y="97409"/>
                </a:lnTo>
                <a:lnTo>
                  <a:pt x="1772519" y="84998"/>
                </a:lnTo>
                <a:lnTo>
                  <a:pt x="1758347" y="45481"/>
                </a:lnTo>
                <a:lnTo>
                  <a:pt x="1729598" y="16102"/>
                </a:lnTo>
                <a:lnTo>
                  <a:pt x="1690496" y="1084"/>
                </a:lnTo>
                <a:lnTo>
                  <a:pt x="1675892" y="0"/>
                </a:lnTo>
                <a:lnTo>
                  <a:pt x="559434" y="0"/>
                </a:lnTo>
                <a:lnTo>
                  <a:pt x="519762" y="8401"/>
                </a:lnTo>
                <a:lnTo>
                  <a:pt x="486534" y="32760"/>
                </a:lnTo>
                <a:lnTo>
                  <a:pt x="466260" y="68880"/>
                </a:lnTo>
                <a:lnTo>
                  <a:pt x="462025" y="97409"/>
                </a:lnTo>
                <a:lnTo>
                  <a:pt x="462025" y="486791"/>
                </a:lnTo>
                <a:lnTo>
                  <a:pt x="470427" y="526463"/>
                </a:lnTo>
                <a:lnTo>
                  <a:pt x="494786" y="559691"/>
                </a:lnTo>
                <a:lnTo>
                  <a:pt x="530906" y="579965"/>
                </a:lnTo>
                <a:lnTo>
                  <a:pt x="559434" y="584200"/>
                </a:lnTo>
                <a:lnTo>
                  <a:pt x="680593" y="584200"/>
                </a:lnTo>
                <a:lnTo>
                  <a:pt x="0" y="1063625"/>
                </a:lnTo>
                <a:lnTo>
                  <a:pt x="1008379" y="584200"/>
                </a:lnTo>
                <a:lnTo>
                  <a:pt x="1675892" y="584200"/>
                </a:lnTo>
                <a:lnTo>
                  <a:pt x="1688302" y="583418"/>
                </a:lnTo>
                <a:lnTo>
                  <a:pt x="1702340" y="580575"/>
                </a:lnTo>
                <a:lnTo>
                  <a:pt x="1715564" y="575798"/>
                </a:lnTo>
                <a:lnTo>
                  <a:pt x="1727819" y="569246"/>
                </a:lnTo>
                <a:lnTo>
                  <a:pt x="1738947" y="561074"/>
                </a:lnTo>
                <a:lnTo>
                  <a:pt x="1748792" y="551439"/>
                </a:lnTo>
                <a:lnTo>
                  <a:pt x="1757198" y="540497"/>
                </a:lnTo>
                <a:lnTo>
                  <a:pt x="1764008" y="528405"/>
                </a:lnTo>
                <a:lnTo>
                  <a:pt x="1769066" y="515319"/>
                </a:lnTo>
                <a:lnTo>
                  <a:pt x="1772216" y="501395"/>
                </a:lnTo>
                <a:lnTo>
                  <a:pt x="1773301" y="486791"/>
                </a:lnTo>
                <a:lnTo>
                  <a:pt x="1773301" y="340740"/>
                </a:lnTo>
                <a:close/>
              </a:path>
            </a:pathLst>
          </a:custGeom>
          <a:solidFill>
            <a:srgbClr val="FFFF99"/>
          </a:solidFill>
        </p:spPr>
        <p:txBody>
          <a:bodyPr wrap="square" lIns="0" tIns="0" rIns="0" bIns="0" rtlCol="0">
            <a:noAutofit/>
          </a:bodyPr>
          <a:lstStyle/>
          <a:p>
            <a:endParaRPr/>
          </a:p>
        </p:txBody>
      </p:sp>
      <p:sp>
        <p:nvSpPr>
          <p:cNvPr id="21" name="object 21"/>
          <p:cNvSpPr/>
          <p:nvPr/>
        </p:nvSpPr>
        <p:spPr>
          <a:xfrm>
            <a:off x="7315201" y="4495800"/>
            <a:ext cx="2274951" cy="585724"/>
          </a:xfrm>
          <a:custGeom>
            <a:avLst/>
            <a:gdLst/>
            <a:ahLst/>
            <a:cxnLst/>
            <a:rect l="l" t="t" r="r" b="b"/>
            <a:pathLst>
              <a:path w="2274951" h="585724">
                <a:moveTo>
                  <a:pt x="762000" y="97662"/>
                </a:moveTo>
                <a:lnTo>
                  <a:pt x="0" y="36449"/>
                </a:lnTo>
                <a:lnTo>
                  <a:pt x="762000" y="244094"/>
                </a:lnTo>
                <a:lnTo>
                  <a:pt x="762000" y="488188"/>
                </a:lnTo>
                <a:lnTo>
                  <a:pt x="762819" y="500881"/>
                </a:lnTo>
                <a:lnTo>
                  <a:pt x="777097" y="540312"/>
                </a:lnTo>
                <a:lnTo>
                  <a:pt x="805912" y="569641"/>
                </a:lnTo>
                <a:lnTo>
                  <a:pt x="845051" y="584640"/>
                </a:lnTo>
                <a:lnTo>
                  <a:pt x="859663" y="585724"/>
                </a:lnTo>
                <a:lnTo>
                  <a:pt x="2177288" y="585724"/>
                </a:lnTo>
                <a:lnTo>
                  <a:pt x="2217203" y="577211"/>
                </a:lnTo>
                <a:lnTo>
                  <a:pt x="2250419" y="552791"/>
                </a:lnTo>
                <a:lnTo>
                  <a:pt x="2270710" y="516674"/>
                </a:lnTo>
                <a:lnTo>
                  <a:pt x="2274951" y="488188"/>
                </a:lnTo>
                <a:lnTo>
                  <a:pt x="2274951" y="97662"/>
                </a:lnTo>
                <a:lnTo>
                  <a:pt x="2266387" y="57626"/>
                </a:lnTo>
                <a:lnTo>
                  <a:pt x="2241913" y="24457"/>
                </a:lnTo>
                <a:lnTo>
                  <a:pt x="2205768" y="4224"/>
                </a:lnTo>
                <a:lnTo>
                  <a:pt x="2177288" y="0"/>
                </a:lnTo>
                <a:lnTo>
                  <a:pt x="859663" y="0"/>
                </a:lnTo>
                <a:lnTo>
                  <a:pt x="819626" y="8544"/>
                </a:lnTo>
                <a:lnTo>
                  <a:pt x="786457" y="32986"/>
                </a:lnTo>
                <a:lnTo>
                  <a:pt x="766224" y="69135"/>
                </a:lnTo>
                <a:lnTo>
                  <a:pt x="762000" y="97662"/>
                </a:lnTo>
                <a:close/>
              </a:path>
            </a:pathLst>
          </a:custGeom>
          <a:solidFill>
            <a:srgbClr val="FFFF99"/>
          </a:solidFill>
        </p:spPr>
        <p:txBody>
          <a:bodyPr wrap="square" lIns="0" tIns="0" rIns="0" bIns="0" rtlCol="0">
            <a:noAutofit/>
          </a:bodyPr>
          <a:lstStyle/>
          <a:p>
            <a:endParaRPr/>
          </a:p>
        </p:txBody>
      </p:sp>
      <p:sp>
        <p:nvSpPr>
          <p:cNvPr id="22" name="object 22"/>
          <p:cNvSpPr/>
          <p:nvPr/>
        </p:nvSpPr>
        <p:spPr>
          <a:xfrm>
            <a:off x="1828801" y="2819401"/>
            <a:ext cx="3348101" cy="923925"/>
          </a:xfrm>
          <a:custGeom>
            <a:avLst/>
            <a:gdLst/>
            <a:ahLst/>
            <a:cxnLst/>
            <a:rect l="l" t="t" r="r" b="b"/>
            <a:pathLst>
              <a:path w="3348101" h="923925">
                <a:moveTo>
                  <a:pt x="0" y="97409"/>
                </a:moveTo>
                <a:lnTo>
                  <a:pt x="0" y="486790"/>
                </a:lnTo>
                <a:lnTo>
                  <a:pt x="778" y="499173"/>
                </a:lnTo>
                <a:lnTo>
                  <a:pt x="14950" y="538702"/>
                </a:lnTo>
                <a:lnTo>
                  <a:pt x="43700" y="568091"/>
                </a:lnTo>
                <a:lnTo>
                  <a:pt x="82781" y="583114"/>
                </a:lnTo>
                <a:lnTo>
                  <a:pt x="97370" y="584200"/>
                </a:lnTo>
                <a:lnTo>
                  <a:pt x="1213866" y="584200"/>
                </a:lnTo>
                <a:lnTo>
                  <a:pt x="1253538" y="575798"/>
                </a:lnTo>
                <a:lnTo>
                  <a:pt x="1286766" y="551439"/>
                </a:lnTo>
                <a:lnTo>
                  <a:pt x="1307040" y="515319"/>
                </a:lnTo>
                <a:lnTo>
                  <a:pt x="1311275" y="486790"/>
                </a:lnTo>
                <a:lnTo>
                  <a:pt x="3348101" y="923925"/>
                </a:lnTo>
                <a:lnTo>
                  <a:pt x="1311275" y="340740"/>
                </a:lnTo>
                <a:lnTo>
                  <a:pt x="1311275" y="97409"/>
                </a:lnTo>
                <a:lnTo>
                  <a:pt x="1302873" y="57736"/>
                </a:lnTo>
                <a:lnTo>
                  <a:pt x="1278514" y="24508"/>
                </a:lnTo>
                <a:lnTo>
                  <a:pt x="1242394" y="4234"/>
                </a:lnTo>
                <a:lnTo>
                  <a:pt x="1213866" y="0"/>
                </a:lnTo>
                <a:lnTo>
                  <a:pt x="97370" y="0"/>
                </a:lnTo>
                <a:lnTo>
                  <a:pt x="57757" y="8392"/>
                </a:lnTo>
                <a:lnTo>
                  <a:pt x="24526" y="32750"/>
                </a:lnTo>
                <a:lnTo>
                  <a:pt x="4238" y="68875"/>
                </a:lnTo>
                <a:lnTo>
                  <a:pt x="1085" y="82801"/>
                </a:lnTo>
                <a:lnTo>
                  <a:pt x="0" y="97409"/>
                </a:lnTo>
                <a:close/>
              </a:path>
            </a:pathLst>
          </a:custGeom>
          <a:solidFill>
            <a:srgbClr val="FFFF99"/>
          </a:solidFill>
        </p:spPr>
        <p:txBody>
          <a:bodyPr wrap="square" lIns="0" tIns="0" rIns="0" bIns="0" rtlCol="0">
            <a:noAutofit/>
          </a:bodyPr>
          <a:lstStyle/>
          <a:p>
            <a:endParaRPr/>
          </a:p>
        </p:txBody>
      </p:sp>
      <p:sp>
        <p:nvSpPr>
          <p:cNvPr id="12" name="object 12"/>
          <p:cNvSpPr txBox="1"/>
          <p:nvPr/>
        </p:nvSpPr>
        <p:spPr>
          <a:xfrm>
            <a:off x="1861211" y="1531992"/>
            <a:ext cx="1156111" cy="456691"/>
          </a:xfrm>
          <a:prstGeom prst="rect">
            <a:avLst/>
          </a:prstGeom>
        </p:spPr>
        <p:txBody>
          <a:bodyPr wrap="square" lIns="0" tIns="0" rIns="0" bIns="0" rtlCol="0">
            <a:noAutofit/>
          </a:bodyPr>
          <a:lstStyle/>
          <a:p>
            <a:pPr marL="12700">
              <a:lnSpc>
                <a:spcPts val="1120"/>
              </a:lnSpc>
              <a:spcBef>
                <a:spcPts val="55"/>
              </a:spcBef>
            </a:pPr>
            <a:r>
              <a:rPr sz="1000" spc="-14" dirty="0">
                <a:latin typeface="Arial"/>
                <a:cs typeface="Arial"/>
              </a:rPr>
              <a:t>Y</a:t>
            </a:r>
            <a:r>
              <a:rPr sz="1000" dirty="0">
                <a:latin typeface="Arial"/>
                <a:cs typeface="Arial"/>
              </a:rPr>
              <a:t>ou</a:t>
            </a:r>
            <a:r>
              <a:rPr sz="1000" spc="-22" dirty="0">
                <a:latin typeface="Arial"/>
                <a:cs typeface="Arial"/>
              </a:rPr>
              <a:t> </a:t>
            </a:r>
            <a:r>
              <a:rPr sz="1000" spc="4" dirty="0">
                <a:latin typeface="Arial"/>
                <a:cs typeface="Arial"/>
              </a:rPr>
              <a:t>c</a:t>
            </a:r>
            <a:r>
              <a:rPr sz="1000" dirty="0">
                <a:latin typeface="Arial"/>
                <a:cs typeface="Arial"/>
              </a:rPr>
              <a:t>an</a:t>
            </a:r>
            <a:r>
              <a:rPr sz="1000" spc="-31" dirty="0">
                <a:latin typeface="Arial"/>
                <a:cs typeface="Arial"/>
              </a:rPr>
              <a:t> </a:t>
            </a:r>
            <a:r>
              <a:rPr sz="1000" spc="4" dirty="0">
                <a:latin typeface="Arial"/>
                <a:cs typeface="Arial"/>
              </a:rPr>
              <a:t>cr</a:t>
            </a:r>
            <a:r>
              <a:rPr sz="1000" dirty="0">
                <a:latin typeface="Arial"/>
                <a:cs typeface="Arial"/>
              </a:rPr>
              <a:t>e</a:t>
            </a:r>
            <a:r>
              <a:rPr sz="1000" spc="-4" dirty="0">
                <a:latin typeface="Arial"/>
                <a:cs typeface="Arial"/>
              </a:rPr>
              <a:t>a</a:t>
            </a:r>
            <a:r>
              <a:rPr sz="1000" dirty="0">
                <a:latin typeface="Arial"/>
                <a:cs typeface="Arial"/>
              </a:rPr>
              <a:t>te</a:t>
            </a:r>
            <a:r>
              <a:rPr sz="1000" spc="-42" dirty="0">
                <a:latin typeface="Arial"/>
                <a:cs typeface="Arial"/>
              </a:rPr>
              <a:t> </a:t>
            </a:r>
            <a:r>
              <a:rPr sz="1000" dirty="0">
                <a:latin typeface="Arial"/>
                <a:cs typeface="Arial"/>
              </a:rPr>
              <a:t>n</a:t>
            </a:r>
            <a:r>
              <a:rPr sz="1000" spc="-4" dirty="0">
                <a:latin typeface="Arial"/>
                <a:cs typeface="Arial"/>
              </a:rPr>
              <a:t>e</a:t>
            </a:r>
            <a:r>
              <a:rPr sz="1000" dirty="0">
                <a:latin typeface="Arial"/>
                <a:cs typeface="Arial"/>
              </a:rPr>
              <a:t>w</a:t>
            </a:r>
            <a:endParaRPr sz="1000">
              <a:latin typeface="Arial"/>
              <a:cs typeface="Arial"/>
            </a:endParaRPr>
          </a:p>
          <a:p>
            <a:pPr marL="12700" marR="316131">
              <a:lnSpc>
                <a:spcPct val="100041"/>
              </a:lnSpc>
            </a:pPr>
            <a:r>
              <a:rPr sz="1000" dirty="0">
                <a:latin typeface="Arial"/>
                <a:cs typeface="Arial"/>
              </a:rPr>
              <a:t>b</a:t>
            </a:r>
            <a:r>
              <a:rPr sz="1000" spc="-4" dirty="0">
                <a:latin typeface="Arial"/>
                <a:cs typeface="Arial"/>
              </a:rPr>
              <a:t>illi</a:t>
            </a:r>
            <a:r>
              <a:rPr sz="1000" dirty="0">
                <a:latin typeface="Arial"/>
                <a:cs typeface="Arial"/>
              </a:rPr>
              <a:t>ng</a:t>
            </a:r>
            <a:r>
              <a:rPr sz="1000" spc="-20"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a:t>
            </a:r>
            <a:r>
              <a:rPr sz="1000" spc="-4" dirty="0">
                <a:latin typeface="Arial"/>
                <a:cs typeface="Arial"/>
              </a:rPr>
              <a:t>e</a:t>
            </a:r>
            <a:r>
              <a:rPr sz="1000" dirty="0">
                <a:latin typeface="Arial"/>
                <a:cs typeface="Arial"/>
              </a:rPr>
              <a:t>s</a:t>
            </a:r>
            <a:r>
              <a:rPr sz="1000" spc="1" dirty="0">
                <a:latin typeface="Arial"/>
                <a:cs typeface="Arial"/>
              </a:rPr>
              <a:t> </a:t>
            </a:r>
            <a:r>
              <a:rPr sz="1000" dirty="0">
                <a:latin typeface="Arial"/>
                <a:cs typeface="Arial"/>
              </a:rPr>
              <a:t>or </a:t>
            </a:r>
            <a:r>
              <a:rPr sz="1000" spc="4" dirty="0">
                <a:latin typeface="Arial"/>
                <a:cs typeface="Arial"/>
              </a:rPr>
              <a:t>r</a:t>
            </a:r>
            <a:r>
              <a:rPr sz="1000" dirty="0">
                <a:latin typeface="Arial"/>
                <a:cs typeface="Arial"/>
              </a:rPr>
              <a:t>e</a:t>
            </a:r>
            <a:r>
              <a:rPr sz="1000" spc="-4" dirty="0">
                <a:latin typeface="Arial"/>
                <a:cs typeface="Arial"/>
              </a:rPr>
              <a:t>d</a:t>
            </a:r>
            <a:r>
              <a:rPr sz="1000" dirty="0">
                <a:latin typeface="Arial"/>
                <a:cs typeface="Arial"/>
              </a:rPr>
              <a:t>e</a:t>
            </a:r>
            <a:r>
              <a:rPr sz="1000" spc="9" dirty="0">
                <a:latin typeface="Arial"/>
                <a:cs typeface="Arial"/>
              </a:rPr>
              <a:t>f</a:t>
            </a:r>
            <a:r>
              <a:rPr sz="1000" spc="-4" dirty="0">
                <a:latin typeface="Arial"/>
                <a:cs typeface="Arial"/>
              </a:rPr>
              <a:t>i</a:t>
            </a:r>
            <a:r>
              <a:rPr sz="1000" dirty="0">
                <a:latin typeface="Arial"/>
                <a:cs typeface="Arial"/>
              </a:rPr>
              <a:t>ne</a:t>
            </a:r>
            <a:endParaRPr sz="1000">
              <a:latin typeface="Arial"/>
              <a:cs typeface="Arial"/>
            </a:endParaRPr>
          </a:p>
        </p:txBody>
      </p:sp>
      <p:sp>
        <p:nvSpPr>
          <p:cNvPr id="11" name="object 11"/>
          <p:cNvSpPr txBox="1"/>
          <p:nvPr/>
        </p:nvSpPr>
        <p:spPr>
          <a:xfrm>
            <a:off x="8700898" y="1678296"/>
            <a:ext cx="884407" cy="304291"/>
          </a:xfrm>
          <a:prstGeom prst="rect">
            <a:avLst/>
          </a:prstGeom>
        </p:spPr>
        <p:txBody>
          <a:bodyPr wrap="square" lIns="0" tIns="0" rIns="0" bIns="0" rtlCol="0">
            <a:noAutofit/>
          </a:bodyPr>
          <a:lstStyle/>
          <a:p>
            <a:pPr algn="ctr">
              <a:lnSpc>
                <a:spcPts val="1120"/>
              </a:lnSpc>
              <a:spcBef>
                <a:spcPts val="55"/>
              </a:spcBef>
            </a:pPr>
            <a:r>
              <a:rPr sz="1000" dirty="0">
                <a:latin typeface="Arial"/>
                <a:cs typeface="Arial"/>
              </a:rPr>
              <a:t>De</a:t>
            </a:r>
            <a:r>
              <a:rPr sz="1000" spc="9" dirty="0">
                <a:latin typeface="Arial"/>
                <a:cs typeface="Arial"/>
              </a:rPr>
              <a:t>f</a:t>
            </a:r>
            <a:r>
              <a:rPr sz="1000" spc="-4" dirty="0">
                <a:latin typeface="Arial"/>
                <a:cs typeface="Arial"/>
              </a:rPr>
              <a:t>i</a:t>
            </a:r>
            <a:r>
              <a:rPr sz="1000" dirty="0">
                <a:latin typeface="Arial"/>
                <a:cs typeface="Arial"/>
              </a:rPr>
              <a:t>ne</a:t>
            </a:r>
            <a:r>
              <a:rPr sz="1000" spc="-58" dirty="0">
                <a:latin typeface="Arial"/>
                <a:cs typeface="Arial"/>
              </a:rPr>
              <a:t> </a:t>
            </a:r>
            <a:r>
              <a:rPr sz="1000" dirty="0">
                <a:latin typeface="Arial"/>
                <a:cs typeface="Arial"/>
              </a:rPr>
              <a:t>Nu</a:t>
            </a:r>
            <a:r>
              <a:rPr sz="1000" spc="19" dirty="0">
                <a:latin typeface="Arial"/>
                <a:cs typeface="Arial"/>
              </a:rPr>
              <a:t>m</a:t>
            </a:r>
            <a:r>
              <a:rPr sz="1000" dirty="0">
                <a:latin typeface="Arial"/>
                <a:cs typeface="Arial"/>
              </a:rPr>
              <a:t>b</a:t>
            </a:r>
            <a:r>
              <a:rPr sz="1000" spc="-4" dirty="0">
                <a:latin typeface="Arial"/>
                <a:cs typeface="Arial"/>
              </a:rPr>
              <a:t>e</a:t>
            </a:r>
            <a:r>
              <a:rPr sz="1000" dirty="0">
                <a:latin typeface="Arial"/>
                <a:cs typeface="Arial"/>
              </a:rPr>
              <a:t>r</a:t>
            </a:r>
            <a:endParaRPr sz="1000">
              <a:latin typeface="Arial"/>
              <a:cs typeface="Arial"/>
            </a:endParaRPr>
          </a:p>
          <a:p>
            <a:pPr marL="222161" marR="231818" algn="ctr">
              <a:lnSpc>
                <a:spcPct val="95825"/>
              </a:lnSpc>
            </a:pPr>
            <a:r>
              <a:rPr sz="1000" spc="4" dirty="0">
                <a:latin typeface="Arial"/>
                <a:cs typeface="Arial"/>
              </a:rPr>
              <a:t>r</a:t>
            </a:r>
            <a:r>
              <a:rPr sz="1000" dirty="0">
                <a:latin typeface="Arial"/>
                <a:cs typeface="Arial"/>
              </a:rPr>
              <a:t>a</a:t>
            </a:r>
            <a:r>
              <a:rPr sz="1000" spc="-4" dirty="0">
                <a:latin typeface="Arial"/>
                <a:cs typeface="Arial"/>
              </a:rPr>
              <a:t>n</a:t>
            </a:r>
            <a:r>
              <a:rPr sz="1000" dirty="0">
                <a:latin typeface="Arial"/>
                <a:cs typeface="Arial"/>
              </a:rPr>
              <a:t>g</a:t>
            </a:r>
            <a:r>
              <a:rPr sz="1000" spc="-4" dirty="0">
                <a:latin typeface="Arial"/>
                <a:cs typeface="Arial"/>
              </a:rPr>
              <a:t>e</a:t>
            </a:r>
            <a:r>
              <a:rPr sz="1000" dirty="0">
                <a:latin typeface="Arial"/>
                <a:cs typeface="Arial"/>
              </a:rPr>
              <a:t>s</a:t>
            </a:r>
            <a:endParaRPr sz="1000">
              <a:latin typeface="Arial"/>
              <a:cs typeface="Arial"/>
            </a:endParaRPr>
          </a:p>
        </p:txBody>
      </p:sp>
      <p:sp>
        <p:nvSpPr>
          <p:cNvPr id="10" name="object 10"/>
          <p:cNvSpPr txBox="1"/>
          <p:nvPr/>
        </p:nvSpPr>
        <p:spPr>
          <a:xfrm>
            <a:off x="2182164" y="2902328"/>
            <a:ext cx="612722" cy="380738"/>
          </a:xfrm>
          <a:prstGeom prst="rect">
            <a:avLst/>
          </a:prstGeom>
        </p:spPr>
        <p:txBody>
          <a:bodyPr wrap="square" lIns="0" tIns="0" rIns="0" bIns="0" rtlCol="0">
            <a:noAutofit/>
          </a:bodyPr>
          <a:lstStyle/>
          <a:p>
            <a:pPr algn="ctr">
              <a:lnSpc>
                <a:spcPts val="1120"/>
              </a:lnSpc>
              <a:spcBef>
                <a:spcPts val="55"/>
              </a:spcBef>
            </a:pPr>
            <a:r>
              <a:rPr sz="1000" dirty="0">
                <a:latin typeface="Arial"/>
                <a:cs typeface="Arial"/>
              </a:rPr>
              <a:t>D</a:t>
            </a:r>
            <a:r>
              <a:rPr sz="1000" spc="-4" dirty="0">
                <a:latin typeface="Arial"/>
                <a:cs typeface="Arial"/>
              </a:rPr>
              <a:t>i</a:t>
            </a:r>
            <a:r>
              <a:rPr sz="1000" spc="4" dirty="0">
                <a:latin typeface="Arial"/>
                <a:cs typeface="Arial"/>
              </a:rPr>
              <a:t>s</a:t>
            </a:r>
            <a:r>
              <a:rPr sz="1000" spc="-4" dirty="0">
                <a:latin typeface="Arial"/>
                <a:cs typeface="Arial"/>
              </a:rPr>
              <a:t>pla</a:t>
            </a:r>
            <a:r>
              <a:rPr sz="1000" spc="-29" dirty="0">
                <a:latin typeface="Arial"/>
                <a:cs typeface="Arial"/>
              </a:rPr>
              <a:t>y</a:t>
            </a:r>
            <a:r>
              <a:rPr sz="1000" spc="-4" dirty="0">
                <a:latin typeface="Arial"/>
                <a:cs typeface="Arial"/>
              </a:rPr>
              <a:t>in</a:t>
            </a:r>
            <a:r>
              <a:rPr sz="1000" dirty="0">
                <a:latin typeface="Arial"/>
                <a:cs typeface="Arial"/>
              </a:rPr>
              <a:t>g</a:t>
            </a:r>
            <a:endParaRPr sz="1000">
              <a:latin typeface="Arial"/>
              <a:cs typeface="Arial"/>
            </a:endParaRPr>
          </a:p>
          <a:p>
            <a:pPr marL="197777" marR="174003" algn="ctr">
              <a:lnSpc>
                <a:spcPct val="95825"/>
              </a:lnSpc>
              <a:spcBef>
                <a:spcPts val="594"/>
              </a:spcBef>
            </a:pPr>
            <a:r>
              <a:rPr sz="1000" dirty="0">
                <a:latin typeface="Arial"/>
                <a:cs typeface="Arial"/>
              </a:rPr>
              <a:t>L</a:t>
            </a:r>
            <a:r>
              <a:rPr sz="1000" spc="-4" dirty="0">
                <a:latin typeface="Arial"/>
                <a:cs typeface="Arial"/>
              </a:rPr>
              <a:t>i</a:t>
            </a:r>
            <a:r>
              <a:rPr sz="1000" spc="4" dirty="0">
                <a:latin typeface="Arial"/>
                <a:cs typeface="Arial"/>
              </a:rPr>
              <a:t>s</a:t>
            </a:r>
            <a:r>
              <a:rPr sz="1000" dirty="0">
                <a:latin typeface="Arial"/>
                <a:cs typeface="Arial"/>
              </a:rPr>
              <a:t>t</a:t>
            </a:r>
            <a:endParaRPr sz="1000">
              <a:latin typeface="Arial"/>
              <a:cs typeface="Arial"/>
            </a:endParaRPr>
          </a:p>
        </p:txBody>
      </p:sp>
      <p:sp>
        <p:nvSpPr>
          <p:cNvPr id="9" name="object 9"/>
          <p:cNvSpPr txBox="1"/>
          <p:nvPr/>
        </p:nvSpPr>
        <p:spPr>
          <a:xfrm>
            <a:off x="8701278" y="3207376"/>
            <a:ext cx="840640" cy="304291"/>
          </a:xfrm>
          <a:prstGeom prst="rect">
            <a:avLst/>
          </a:prstGeom>
        </p:spPr>
        <p:txBody>
          <a:bodyPr wrap="square" lIns="0" tIns="0" rIns="0" bIns="0" rtlCol="0">
            <a:noAutofit/>
          </a:bodyPr>
          <a:lstStyle/>
          <a:p>
            <a:pPr algn="ctr">
              <a:lnSpc>
                <a:spcPts val="1120"/>
              </a:lnSpc>
              <a:spcBef>
                <a:spcPts val="55"/>
              </a:spcBef>
            </a:pPr>
            <a:r>
              <a:rPr sz="1000" dirty="0">
                <a:latin typeface="Arial"/>
                <a:cs typeface="Arial"/>
              </a:rPr>
              <a:t>M</a:t>
            </a:r>
            <a:r>
              <a:rPr sz="1000" spc="-4" dirty="0">
                <a:latin typeface="Arial"/>
                <a:cs typeface="Arial"/>
              </a:rPr>
              <a:t>ai</a:t>
            </a:r>
            <a:r>
              <a:rPr sz="1000" dirty="0">
                <a:latin typeface="Arial"/>
                <a:cs typeface="Arial"/>
              </a:rPr>
              <a:t>nt</a:t>
            </a:r>
            <a:r>
              <a:rPr sz="1000" spc="-4" dirty="0">
                <a:latin typeface="Arial"/>
                <a:cs typeface="Arial"/>
              </a:rPr>
              <a:t>ai</a:t>
            </a:r>
            <a:r>
              <a:rPr sz="1000" dirty="0">
                <a:latin typeface="Arial"/>
                <a:cs typeface="Arial"/>
              </a:rPr>
              <a:t>n</a:t>
            </a:r>
            <a:r>
              <a:rPr sz="1000" spc="-37" dirty="0">
                <a:latin typeface="Arial"/>
                <a:cs typeface="Arial"/>
              </a:rPr>
              <a:t> </a:t>
            </a:r>
            <a:r>
              <a:rPr sz="1000" dirty="0">
                <a:latin typeface="Arial"/>
                <a:cs typeface="Arial"/>
              </a:rPr>
              <a:t>C</a:t>
            </a:r>
            <a:r>
              <a:rPr sz="1000" spc="-4" dirty="0">
                <a:latin typeface="Arial"/>
                <a:cs typeface="Arial"/>
              </a:rPr>
              <a:t>o</a:t>
            </a:r>
            <a:r>
              <a:rPr sz="1000" dirty="0">
                <a:latin typeface="Arial"/>
                <a:cs typeface="Arial"/>
              </a:rPr>
              <a:t>py</a:t>
            </a:r>
            <a:endParaRPr sz="1000">
              <a:latin typeface="Arial"/>
              <a:cs typeface="Arial"/>
            </a:endParaRPr>
          </a:p>
          <a:p>
            <a:pPr marL="187363" marR="201346" algn="ctr">
              <a:lnSpc>
                <a:spcPct val="95825"/>
              </a:lnSpc>
            </a:pPr>
            <a:r>
              <a:rPr sz="1000" dirty="0">
                <a:latin typeface="Arial"/>
                <a:cs typeface="Arial"/>
              </a:rPr>
              <a:t>Con</a:t>
            </a:r>
            <a:r>
              <a:rPr sz="1000" spc="-4" dirty="0">
                <a:latin typeface="Arial"/>
                <a:cs typeface="Arial"/>
              </a:rPr>
              <a:t>t</a:t>
            </a:r>
            <a:r>
              <a:rPr sz="1000" spc="4" dirty="0">
                <a:latin typeface="Arial"/>
                <a:cs typeface="Arial"/>
              </a:rPr>
              <a:t>r</a:t>
            </a:r>
            <a:r>
              <a:rPr sz="1000" dirty="0">
                <a:latin typeface="Arial"/>
                <a:cs typeface="Arial"/>
              </a:rPr>
              <a:t>ol</a:t>
            </a:r>
            <a:endParaRPr sz="1000">
              <a:latin typeface="Arial"/>
              <a:cs typeface="Arial"/>
            </a:endParaRPr>
          </a:p>
        </p:txBody>
      </p:sp>
      <p:sp>
        <p:nvSpPr>
          <p:cNvPr id="8" name="object 8"/>
          <p:cNvSpPr txBox="1"/>
          <p:nvPr/>
        </p:nvSpPr>
        <p:spPr>
          <a:xfrm>
            <a:off x="8384286" y="4579356"/>
            <a:ext cx="911223" cy="304292"/>
          </a:xfrm>
          <a:prstGeom prst="rect">
            <a:avLst/>
          </a:prstGeom>
        </p:spPr>
        <p:txBody>
          <a:bodyPr wrap="square" lIns="0" tIns="0" rIns="0" bIns="0" rtlCol="0">
            <a:noAutofit/>
          </a:bodyPr>
          <a:lstStyle/>
          <a:p>
            <a:pPr algn="ctr">
              <a:lnSpc>
                <a:spcPts val="1120"/>
              </a:lnSpc>
              <a:spcBef>
                <a:spcPts val="55"/>
              </a:spcBef>
            </a:pPr>
            <a:r>
              <a:rPr sz="1000" dirty="0">
                <a:latin typeface="Arial"/>
                <a:cs typeface="Arial"/>
              </a:rPr>
              <a:t>De</a:t>
            </a:r>
            <a:r>
              <a:rPr sz="1000" spc="9" dirty="0">
                <a:latin typeface="Arial"/>
                <a:cs typeface="Arial"/>
              </a:rPr>
              <a:t>f</a:t>
            </a:r>
            <a:r>
              <a:rPr sz="1000" spc="-4" dirty="0">
                <a:latin typeface="Arial"/>
                <a:cs typeface="Arial"/>
              </a:rPr>
              <a:t>i</a:t>
            </a:r>
            <a:r>
              <a:rPr sz="1000" dirty="0">
                <a:latin typeface="Arial"/>
                <a:cs typeface="Arial"/>
              </a:rPr>
              <a:t>ne</a:t>
            </a:r>
            <a:r>
              <a:rPr sz="1000" spc="-58" dirty="0">
                <a:latin typeface="Arial"/>
                <a:cs typeface="Arial"/>
              </a:rPr>
              <a:t> </a:t>
            </a:r>
            <a:r>
              <a:rPr sz="1000" spc="-4" dirty="0">
                <a:latin typeface="Arial"/>
                <a:cs typeface="Arial"/>
              </a:rPr>
              <a:t>Bl</a:t>
            </a:r>
            <a:r>
              <a:rPr sz="1000" dirty="0">
                <a:latin typeface="Arial"/>
                <a:cs typeface="Arial"/>
              </a:rPr>
              <a:t>o</a:t>
            </a:r>
            <a:r>
              <a:rPr sz="1000" spc="4" dirty="0">
                <a:latin typeface="Arial"/>
                <a:cs typeface="Arial"/>
              </a:rPr>
              <a:t>c</a:t>
            </a:r>
            <a:r>
              <a:rPr sz="1000" spc="14" dirty="0">
                <a:latin typeface="Arial"/>
                <a:cs typeface="Arial"/>
              </a:rPr>
              <a:t>k</a:t>
            </a:r>
            <a:r>
              <a:rPr sz="1000" spc="-4" dirty="0">
                <a:latin typeface="Arial"/>
                <a:cs typeface="Arial"/>
              </a:rPr>
              <a:t>i</a:t>
            </a:r>
            <a:r>
              <a:rPr sz="1000" dirty="0">
                <a:latin typeface="Arial"/>
                <a:cs typeface="Arial"/>
              </a:rPr>
              <a:t>ng</a:t>
            </a:r>
            <a:endParaRPr sz="1000">
              <a:latin typeface="Arial"/>
              <a:cs typeface="Arial"/>
            </a:endParaRPr>
          </a:p>
          <a:p>
            <a:pPr marL="177965" marR="190000" algn="ctr">
              <a:lnSpc>
                <a:spcPct val="95825"/>
              </a:lnSpc>
            </a:pPr>
            <a:r>
              <a:rPr sz="1000" dirty="0">
                <a:latin typeface="Arial"/>
                <a:cs typeface="Arial"/>
              </a:rPr>
              <a:t>Reaso</a:t>
            </a:r>
            <a:r>
              <a:rPr sz="1000" spc="-4" dirty="0">
                <a:latin typeface="Arial"/>
                <a:cs typeface="Arial"/>
              </a:rPr>
              <a:t>n</a:t>
            </a:r>
            <a:r>
              <a:rPr sz="1000" dirty="0">
                <a:latin typeface="Arial"/>
                <a:cs typeface="Arial"/>
              </a:rPr>
              <a:t>s</a:t>
            </a:r>
            <a:endParaRPr sz="1000">
              <a:latin typeface="Arial"/>
              <a:cs typeface="Arial"/>
            </a:endParaRPr>
          </a:p>
        </p:txBody>
      </p:sp>
      <p:sp>
        <p:nvSpPr>
          <p:cNvPr id="7" name="object 7"/>
          <p:cNvSpPr txBox="1"/>
          <p:nvPr/>
        </p:nvSpPr>
        <p:spPr>
          <a:xfrm>
            <a:off x="1441477" y="5867400"/>
            <a:ext cx="1163142" cy="254000"/>
          </a:xfrm>
          <a:prstGeom prst="rect">
            <a:avLst/>
          </a:prstGeom>
        </p:spPr>
        <p:txBody>
          <a:bodyPr wrap="square" lIns="0" tIns="0" rIns="0" bIns="0" rtlCol="0">
            <a:noAutofit/>
          </a:bodyPr>
          <a:lstStyle/>
          <a:p>
            <a:pPr marL="12700">
              <a:lnSpc>
                <a:spcPts val="1939"/>
              </a:lnSpc>
              <a:spcBef>
                <a:spcPts val="97"/>
              </a:spcBef>
            </a:pPr>
            <a:r>
              <a:rPr sz="1600" dirty="0">
                <a:cs typeface="Arial"/>
              </a:rPr>
              <a:t>Me</a:t>
            </a:r>
            <a:r>
              <a:rPr sz="1600" spc="-9" dirty="0">
                <a:cs typeface="Arial"/>
              </a:rPr>
              <a:t>n</a:t>
            </a:r>
            <a:r>
              <a:rPr sz="1600" dirty="0">
                <a:cs typeface="Arial"/>
              </a:rPr>
              <a:t>u P</a:t>
            </a:r>
            <a:r>
              <a:rPr sz="1600" spc="-4" dirty="0">
                <a:cs typeface="Arial"/>
              </a:rPr>
              <a:t>a</a:t>
            </a:r>
            <a:r>
              <a:rPr sz="1600" dirty="0">
                <a:cs typeface="Arial"/>
              </a:rPr>
              <a:t>th</a:t>
            </a:r>
          </a:p>
        </p:txBody>
      </p:sp>
      <p:sp>
        <p:nvSpPr>
          <p:cNvPr id="6" name="object 6"/>
          <p:cNvSpPr txBox="1"/>
          <p:nvPr/>
        </p:nvSpPr>
        <p:spPr>
          <a:xfrm>
            <a:off x="2584298" y="5867400"/>
            <a:ext cx="2140103" cy="197061"/>
          </a:xfrm>
          <a:prstGeom prst="rect">
            <a:avLst/>
          </a:prstGeom>
        </p:spPr>
        <p:txBody>
          <a:bodyPr wrap="square" lIns="0" tIns="0" rIns="0" bIns="0" rtlCol="0">
            <a:noAutofit/>
          </a:bodyPr>
          <a:lstStyle/>
          <a:p>
            <a:pPr marL="12700">
              <a:lnSpc>
                <a:spcPts val="1939"/>
              </a:lnSpc>
              <a:spcBef>
                <a:spcPts val="97"/>
              </a:spcBef>
            </a:pPr>
            <a:r>
              <a:rPr lang="en-US" sz="1600" spc="4" dirty="0">
                <a:cs typeface="Arial"/>
              </a:rPr>
              <a:t>F</a:t>
            </a:r>
            <a:r>
              <a:rPr sz="1600" dirty="0">
                <a:cs typeface="Arial"/>
              </a:rPr>
              <a:t>or</a:t>
            </a:r>
            <a:r>
              <a:rPr lang="en-US" sz="1600" spc="-9" dirty="0">
                <a:cs typeface="Arial"/>
              </a:rPr>
              <a:t> </a:t>
            </a:r>
            <a:r>
              <a:rPr sz="1600" dirty="0">
                <a:cs typeface="Arial"/>
              </a:rPr>
              <a:t>co</a:t>
            </a:r>
            <a:r>
              <a:rPr sz="1600" spc="-9" dirty="0">
                <a:cs typeface="Arial"/>
              </a:rPr>
              <a:t>n</a:t>
            </a:r>
            <a:r>
              <a:rPr sz="1600" dirty="0">
                <a:cs typeface="Arial"/>
              </a:rPr>
              <a:t>fig</a:t>
            </a:r>
            <a:r>
              <a:rPr sz="1600" spc="-9" dirty="0">
                <a:cs typeface="Arial"/>
              </a:rPr>
              <a:t>u</a:t>
            </a:r>
            <a:r>
              <a:rPr sz="1600" dirty="0">
                <a:cs typeface="Arial"/>
              </a:rPr>
              <a:t>rati</a:t>
            </a:r>
            <a:r>
              <a:rPr sz="1600" spc="-9" dirty="0">
                <a:cs typeface="Arial"/>
              </a:rPr>
              <a:t>o</a:t>
            </a:r>
            <a:r>
              <a:rPr sz="1600" dirty="0">
                <a:cs typeface="Arial"/>
              </a:rPr>
              <a:t>n</a:t>
            </a:r>
            <a:r>
              <a:rPr dirty="0">
                <a:latin typeface="Arial"/>
                <a:cs typeface="Arial"/>
              </a:rPr>
              <a:t>:</a:t>
            </a:r>
          </a:p>
        </p:txBody>
      </p:sp>
      <p:sp>
        <p:nvSpPr>
          <p:cNvPr id="5" name="object 5"/>
          <p:cNvSpPr txBox="1"/>
          <p:nvPr/>
        </p:nvSpPr>
        <p:spPr>
          <a:xfrm>
            <a:off x="4479951" y="5883410"/>
            <a:ext cx="2963900" cy="254000"/>
          </a:xfrm>
          <a:prstGeom prst="rect">
            <a:avLst/>
          </a:prstGeom>
        </p:spPr>
        <p:txBody>
          <a:bodyPr wrap="square" lIns="0" tIns="0" rIns="0" bIns="0" rtlCol="0">
            <a:noAutofit/>
          </a:bodyPr>
          <a:lstStyle/>
          <a:p>
            <a:pPr marL="12700">
              <a:lnSpc>
                <a:spcPts val="1939"/>
              </a:lnSpc>
              <a:spcBef>
                <a:spcPts val="97"/>
              </a:spcBef>
            </a:pPr>
            <a:r>
              <a:rPr sz="1600" dirty="0">
                <a:cs typeface="Arial"/>
              </a:rPr>
              <a:t>IMG</a:t>
            </a:r>
            <a:r>
              <a:rPr sz="1600" spc="-9" dirty="0">
                <a:cs typeface="Arial"/>
              </a:rPr>
              <a:t> </a:t>
            </a:r>
            <a:r>
              <a:rPr sz="1600" dirty="0">
                <a:cs typeface="Arial"/>
              </a:rPr>
              <a:t>– S</a:t>
            </a:r>
            <a:r>
              <a:rPr sz="1600" spc="-4" dirty="0">
                <a:cs typeface="Arial"/>
              </a:rPr>
              <a:t>a</a:t>
            </a:r>
            <a:r>
              <a:rPr sz="1600" dirty="0">
                <a:cs typeface="Arial"/>
              </a:rPr>
              <a:t>l</a:t>
            </a:r>
            <a:r>
              <a:rPr sz="1600" spc="-9" dirty="0">
                <a:cs typeface="Arial"/>
              </a:rPr>
              <a:t>e</a:t>
            </a:r>
            <a:r>
              <a:rPr sz="1600" dirty="0">
                <a:cs typeface="Arial"/>
              </a:rPr>
              <a:t>s</a:t>
            </a:r>
            <a:r>
              <a:rPr sz="1600" spc="14" dirty="0">
                <a:cs typeface="Arial"/>
              </a:rPr>
              <a:t> </a:t>
            </a:r>
            <a:r>
              <a:rPr sz="1600" dirty="0">
                <a:cs typeface="Arial"/>
              </a:rPr>
              <a:t>a</a:t>
            </a:r>
            <a:r>
              <a:rPr sz="1600" spc="-9" dirty="0">
                <a:cs typeface="Arial"/>
              </a:rPr>
              <a:t>n</a:t>
            </a:r>
            <a:r>
              <a:rPr sz="1600" dirty="0">
                <a:cs typeface="Arial"/>
              </a:rPr>
              <a:t>d D</a:t>
            </a:r>
            <a:r>
              <a:rPr sz="1600" spc="-9" dirty="0">
                <a:cs typeface="Arial"/>
              </a:rPr>
              <a:t>i</a:t>
            </a:r>
            <a:r>
              <a:rPr sz="1600" dirty="0">
                <a:cs typeface="Arial"/>
              </a:rPr>
              <a:t>strib</a:t>
            </a:r>
            <a:r>
              <a:rPr sz="1600" spc="-9" dirty="0">
                <a:cs typeface="Arial"/>
              </a:rPr>
              <a:t>u</a:t>
            </a:r>
            <a:r>
              <a:rPr sz="1600" dirty="0">
                <a:cs typeface="Arial"/>
              </a:rPr>
              <a:t>tion</a:t>
            </a:r>
          </a:p>
        </p:txBody>
      </p:sp>
      <p:sp>
        <p:nvSpPr>
          <p:cNvPr id="4" name="object 4"/>
          <p:cNvSpPr txBox="1"/>
          <p:nvPr/>
        </p:nvSpPr>
        <p:spPr>
          <a:xfrm>
            <a:off x="7467600" y="5867400"/>
            <a:ext cx="2940126" cy="254000"/>
          </a:xfrm>
          <a:prstGeom prst="rect">
            <a:avLst/>
          </a:prstGeom>
        </p:spPr>
        <p:txBody>
          <a:bodyPr wrap="square" lIns="0" tIns="0" rIns="0" bIns="0" rtlCol="0">
            <a:noAutofit/>
          </a:bodyPr>
          <a:lstStyle/>
          <a:p>
            <a:pPr marL="12700">
              <a:lnSpc>
                <a:spcPts val="1939"/>
              </a:lnSpc>
              <a:spcBef>
                <a:spcPts val="97"/>
              </a:spcBef>
            </a:pPr>
            <a:r>
              <a:rPr sz="1600" dirty="0">
                <a:cs typeface="Arial"/>
              </a:rPr>
              <a:t>– Bi</a:t>
            </a:r>
            <a:r>
              <a:rPr sz="1600" spc="-4" dirty="0">
                <a:cs typeface="Arial"/>
              </a:rPr>
              <a:t>l</a:t>
            </a:r>
            <a:r>
              <a:rPr sz="1600" dirty="0">
                <a:cs typeface="Arial"/>
              </a:rPr>
              <a:t>l</a:t>
            </a:r>
            <a:r>
              <a:rPr sz="1600" spc="-4" dirty="0">
                <a:cs typeface="Arial"/>
              </a:rPr>
              <a:t>i</a:t>
            </a:r>
            <a:r>
              <a:rPr sz="1600" dirty="0">
                <a:cs typeface="Arial"/>
              </a:rPr>
              <a:t>ng</a:t>
            </a:r>
            <a:r>
              <a:rPr sz="1600" spc="19" dirty="0">
                <a:cs typeface="Arial"/>
              </a:rPr>
              <a:t> </a:t>
            </a:r>
            <a:r>
              <a:rPr sz="1600" dirty="0">
                <a:cs typeface="Arial"/>
              </a:rPr>
              <a:t>– Bi</a:t>
            </a:r>
            <a:r>
              <a:rPr sz="1600" spc="-4" dirty="0">
                <a:cs typeface="Arial"/>
              </a:rPr>
              <a:t>l</a:t>
            </a:r>
            <a:r>
              <a:rPr sz="1600" dirty="0">
                <a:cs typeface="Arial"/>
              </a:rPr>
              <a:t>l</a:t>
            </a:r>
            <a:r>
              <a:rPr sz="1600" spc="-4" dirty="0">
                <a:cs typeface="Arial"/>
              </a:rPr>
              <a:t>i</a:t>
            </a:r>
            <a:r>
              <a:rPr sz="1600" dirty="0">
                <a:cs typeface="Arial"/>
              </a:rPr>
              <a:t>ng</a:t>
            </a:r>
            <a:r>
              <a:rPr sz="1600" spc="4" dirty="0">
                <a:cs typeface="Arial"/>
              </a:rPr>
              <a:t> </a:t>
            </a:r>
            <a:r>
              <a:rPr sz="1600" dirty="0">
                <a:cs typeface="Arial"/>
              </a:rPr>
              <a:t>D</a:t>
            </a:r>
            <a:r>
              <a:rPr sz="1600" spc="-9" dirty="0">
                <a:cs typeface="Arial"/>
              </a:rPr>
              <a:t>o</a:t>
            </a:r>
            <a:r>
              <a:rPr sz="1600" dirty="0">
                <a:cs typeface="Arial"/>
              </a:rPr>
              <a:t>cum</a:t>
            </a:r>
            <a:r>
              <a:rPr sz="1600" spc="-9" dirty="0">
                <a:cs typeface="Arial"/>
              </a:rPr>
              <a:t>e</a:t>
            </a:r>
            <a:r>
              <a:rPr sz="1600" dirty="0">
                <a:cs typeface="Arial"/>
              </a:rPr>
              <a:t>nts</a:t>
            </a:r>
          </a:p>
        </p:txBody>
      </p:sp>
      <p:sp>
        <p:nvSpPr>
          <p:cNvPr id="2" name="object 2"/>
          <p:cNvSpPr txBox="1"/>
          <p:nvPr/>
        </p:nvSpPr>
        <p:spPr>
          <a:xfrm>
            <a:off x="3643250" y="1281050"/>
            <a:ext cx="4568825" cy="3927475"/>
          </a:xfrm>
          <a:prstGeom prst="rect">
            <a:avLst/>
          </a:prstGeom>
        </p:spPr>
        <p:txBody>
          <a:bodyPr wrap="square" lIns="0" tIns="0" rIns="0" bIns="0" rtlCol="0">
            <a:noAutofit/>
          </a:bodyPr>
          <a:lstStyle/>
          <a:p>
            <a:pPr marL="25400">
              <a:lnSpc>
                <a:spcPts val="1000"/>
              </a:lnSpc>
            </a:pPr>
            <a:endParaRPr sz="1000"/>
          </a:p>
        </p:txBody>
      </p:sp>
      <p:sp>
        <p:nvSpPr>
          <p:cNvPr id="3" name="Title 2"/>
          <p:cNvSpPr>
            <a:spLocks noGrp="1"/>
          </p:cNvSpPr>
          <p:nvPr>
            <p:ph type="title"/>
          </p:nvPr>
        </p:nvSpPr>
        <p:spPr/>
        <p:txBody>
          <a:bodyPr/>
          <a:lstStyle/>
          <a:p>
            <a:r>
              <a:rPr lang="en-US" sz="2400" dirty="0">
                <a:latin typeface="+mn-lt"/>
                <a:cs typeface="Arial"/>
              </a:rPr>
              <a:t>Bi</a:t>
            </a:r>
            <a:r>
              <a:rPr lang="en-US" sz="2400" spc="9" dirty="0">
                <a:latin typeface="+mn-lt"/>
                <a:cs typeface="Arial"/>
              </a:rPr>
              <a:t>l</a:t>
            </a:r>
            <a:r>
              <a:rPr lang="en-US" sz="2400" dirty="0">
                <a:latin typeface="+mn-lt"/>
                <a:cs typeface="Arial"/>
              </a:rPr>
              <a:t>l</a:t>
            </a:r>
            <a:r>
              <a:rPr lang="en-US" sz="2400" spc="9" dirty="0">
                <a:latin typeface="+mn-lt"/>
                <a:cs typeface="Arial"/>
              </a:rPr>
              <a:t>i</a:t>
            </a:r>
            <a:r>
              <a:rPr lang="en-US" sz="2400" dirty="0">
                <a:latin typeface="+mn-lt"/>
                <a:cs typeface="Arial"/>
              </a:rPr>
              <a:t>ng</a:t>
            </a:r>
            <a:br>
              <a:rPr lang="en-US" sz="2800" dirty="0">
                <a:latin typeface="Arial"/>
                <a:cs typeface="Arial"/>
              </a:rPr>
            </a:b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2"/>
          <p:cNvSpPr>
            <a:spLocks noGrp="1"/>
          </p:cNvSpPr>
          <p:nvPr>
            <p:ph type="body" sz="quarter" idx="11"/>
          </p:nvPr>
        </p:nvSpPr>
        <p:spPr>
          <a:xfrm>
            <a:off x="7239000" y="533400"/>
            <a:ext cx="4195292" cy="6035498"/>
          </a:xfrm>
          <a:prstGeom prst="rect">
            <a:avLst/>
          </a:prstGeom>
        </p:spPr>
        <p:txBody>
          <a:bodyPr wrap="square">
            <a:spAutoFit/>
          </a:bodyPr>
          <a:lstStyle/>
          <a:p>
            <a:pPr marL="376238" defTabSz="914400">
              <a:lnSpc>
                <a:spcPct val="100000"/>
              </a:lnSpc>
              <a:spcBef>
                <a:spcPts val="600"/>
              </a:spcBef>
              <a:buClr>
                <a:schemeClr val="accent2"/>
              </a:buClr>
            </a:pPr>
            <a:r>
              <a:rPr lang="en-US" altLang="en-US" sz="1400" dirty="0">
                <a:solidFill>
                  <a:prstClr val="black"/>
                </a:solidFill>
              </a:rPr>
              <a:t> </a:t>
            </a:r>
          </a:p>
          <a:p>
            <a:pPr marL="285750" lvl="1" indent="-285750" defTabSz="914400">
              <a:spcBef>
                <a:spcPts val="500"/>
              </a:spcBef>
              <a:buClr>
                <a:schemeClr val="accent1">
                  <a:lumMod val="60000"/>
                  <a:lumOff val="40000"/>
                </a:schemeClr>
              </a:buClr>
              <a:buFont typeface="Wingdings" panose="05000000000000000000" pitchFamily="2" charset="2"/>
              <a:buChar char="§"/>
            </a:pPr>
            <a:r>
              <a:rPr lang="en-US" altLang="en-US" sz="1400" dirty="0">
                <a:solidFill>
                  <a:prstClr val="black"/>
                </a:solidFill>
              </a:rPr>
              <a:t>Billing</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Purpose</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Use</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Challenges</a:t>
            </a:r>
          </a:p>
          <a:p>
            <a:pPr marL="719138" lvl="1" indent="-342900" defTabSz="914400">
              <a:lnSpc>
                <a:spcPct val="100000"/>
              </a:lnSpc>
              <a:spcBef>
                <a:spcPts val="600"/>
              </a:spcBef>
              <a:buClr>
                <a:schemeClr val="accent2"/>
              </a:buClr>
              <a:buFont typeface="Arial" panose="020B0604020202020204" pitchFamily="34" charset="0"/>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Billing Functions</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Billing Processing</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Interface to Finance Accounting</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Billing Document Structure</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Billing Method</a:t>
            </a:r>
          </a:p>
          <a:p>
            <a:pPr marL="0" lvl="1" defTabSz="914400">
              <a:spcBef>
                <a:spcPts val="500"/>
              </a:spcBef>
              <a:buClr>
                <a:srgbClr val="00B0F0"/>
              </a:buCl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Billing</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 Types</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 Type-Controls</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Blocking Reasons</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 Document-Create</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 Document-Header Views</a:t>
            </a:r>
          </a:p>
        </p:txBody>
      </p:sp>
      <p:sp>
        <p:nvSpPr>
          <p:cNvPr id="33794" name="Title 1"/>
          <p:cNvSpPr>
            <a:spLocks noGrp="1"/>
          </p:cNvSpPr>
          <p:nvPr>
            <p:ph type="title" idx="4294967295"/>
          </p:nvPr>
        </p:nvSpPr>
        <p:spPr>
          <a:xfrm>
            <a:off x="533400" y="1066800"/>
            <a:ext cx="3733800" cy="1295400"/>
          </a:xfrm>
        </p:spPr>
        <p:txBody>
          <a:bodyPr>
            <a:noAutofit/>
          </a:bodyPr>
          <a:lstStyle/>
          <a:p>
            <a:pPr defTabSz="914400">
              <a:spcBef>
                <a:spcPts val="1000"/>
              </a:spcBef>
              <a:buFont typeface="Arial" panose="020B0604020202020204" pitchFamily="34" charset="0"/>
            </a:pPr>
            <a:r>
              <a:rPr lang="en-US" altLang="en-US" sz="3600" dirty="0">
                <a:solidFill>
                  <a:schemeClr val="bg1"/>
                </a:solidFill>
                <a:ea typeface="+mn-ea"/>
                <a:cs typeface="+mn-cs"/>
              </a:rPr>
              <a:t>Lesson Objectives</a:t>
            </a:r>
          </a:p>
        </p:txBody>
      </p:sp>
    </p:spTree>
    <p:extLst>
      <p:ext uri="{BB962C8B-B14F-4D97-AF65-F5344CB8AC3E}">
        <p14:creationId xmlns:p14="http://schemas.microsoft.com/office/powerpoint/2010/main" val="1956212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58"/>
          <p:cNvSpPr/>
          <p:nvPr/>
        </p:nvSpPr>
        <p:spPr>
          <a:xfrm>
            <a:off x="5275327" y="3603626"/>
            <a:ext cx="1641475" cy="974725"/>
          </a:xfrm>
          <a:custGeom>
            <a:avLst/>
            <a:gdLst/>
            <a:ahLst/>
            <a:cxnLst/>
            <a:rect l="l" t="t" r="r" b="b"/>
            <a:pathLst>
              <a:path w="1641475" h="974725">
                <a:moveTo>
                  <a:pt x="0" y="487425"/>
                </a:moveTo>
                <a:lnTo>
                  <a:pt x="2720" y="527390"/>
                </a:lnTo>
                <a:lnTo>
                  <a:pt x="10740" y="566464"/>
                </a:lnTo>
                <a:lnTo>
                  <a:pt x="23849" y="604524"/>
                </a:lnTo>
                <a:lnTo>
                  <a:pt x="41836" y="641444"/>
                </a:lnTo>
                <a:lnTo>
                  <a:pt x="64490" y="677098"/>
                </a:lnTo>
                <a:lnTo>
                  <a:pt x="91598" y="711361"/>
                </a:lnTo>
                <a:lnTo>
                  <a:pt x="122951" y="744107"/>
                </a:lnTo>
                <a:lnTo>
                  <a:pt x="158337" y="775212"/>
                </a:lnTo>
                <a:lnTo>
                  <a:pt x="197545" y="804548"/>
                </a:lnTo>
                <a:lnTo>
                  <a:pt x="240363" y="831992"/>
                </a:lnTo>
                <a:lnTo>
                  <a:pt x="286581" y="857418"/>
                </a:lnTo>
                <a:lnTo>
                  <a:pt x="335987" y="880700"/>
                </a:lnTo>
                <a:lnTo>
                  <a:pt x="388370" y="901712"/>
                </a:lnTo>
                <a:lnTo>
                  <a:pt x="443519" y="920330"/>
                </a:lnTo>
                <a:lnTo>
                  <a:pt x="501223" y="936428"/>
                </a:lnTo>
                <a:lnTo>
                  <a:pt x="561270" y="949880"/>
                </a:lnTo>
                <a:lnTo>
                  <a:pt x="623450" y="960561"/>
                </a:lnTo>
                <a:lnTo>
                  <a:pt x="687552" y="968346"/>
                </a:lnTo>
                <a:lnTo>
                  <a:pt x="753363" y="973109"/>
                </a:lnTo>
                <a:lnTo>
                  <a:pt x="820674" y="974725"/>
                </a:lnTo>
                <a:lnTo>
                  <a:pt x="887985" y="973109"/>
                </a:lnTo>
                <a:lnTo>
                  <a:pt x="953799" y="968346"/>
                </a:lnTo>
                <a:lnTo>
                  <a:pt x="1017904" y="960561"/>
                </a:lnTo>
                <a:lnTo>
                  <a:pt x="1080090" y="949880"/>
                </a:lnTo>
                <a:lnTo>
                  <a:pt x="1140144" y="936428"/>
                </a:lnTo>
                <a:lnTo>
                  <a:pt x="1197855" y="920330"/>
                </a:lnTo>
                <a:lnTo>
                  <a:pt x="1253013" y="901712"/>
                </a:lnTo>
                <a:lnTo>
                  <a:pt x="1305405" y="880700"/>
                </a:lnTo>
                <a:lnTo>
                  <a:pt x="1354820" y="857418"/>
                </a:lnTo>
                <a:lnTo>
                  <a:pt x="1401048" y="831992"/>
                </a:lnTo>
                <a:lnTo>
                  <a:pt x="1443875" y="804548"/>
                </a:lnTo>
                <a:lnTo>
                  <a:pt x="1483092" y="775212"/>
                </a:lnTo>
                <a:lnTo>
                  <a:pt x="1518487" y="744107"/>
                </a:lnTo>
                <a:lnTo>
                  <a:pt x="1549848" y="711361"/>
                </a:lnTo>
                <a:lnTo>
                  <a:pt x="1576964" y="677098"/>
                </a:lnTo>
                <a:lnTo>
                  <a:pt x="1599624" y="641444"/>
                </a:lnTo>
                <a:lnTo>
                  <a:pt x="1617617" y="604524"/>
                </a:lnTo>
                <a:lnTo>
                  <a:pt x="1630730" y="566464"/>
                </a:lnTo>
                <a:lnTo>
                  <a:pt x="1638753" y="527390"/>
                </a:lnTo>
                <a:lnTo>
                  <a:pt x="1641475" y="487425"/>
                </a:lnTo>
                <a:lnTo>
                  <a:pt x="1638753" y="447443"/>
                </a:lnTo>
                <a:lnTo>
                  <a:pt x="1630730" y="408352"/>
                </a:lnTo>
                <a:lnTo>
                  <a:pt x="1617617" y="370278"/>
                </a:lnTo>
                <a:lnTo>
                  <a:pt x="1599624" y="333345"/>
                </a:lnTo>
                <a:lnTo>
                  <a:pt x="1576964" y="297680"/>
                </a:lnTo>
                <a:lnTo>
                  <a:pt x="1549848" y="263407"/>
                </a:lnTo>
                <a:lnTo>
                  <a:pt x="1518487" y="230652"/>
                </a:lnTo>
                <a:lnTo>
                  <a:pt x="1483092" y="199540"/>
                </a:lnTo>
                <a:lnTo>
                  <a:pt x="1443875" y="170197"/>
                </a:lnTo>
                <a:lnTo>
                  <a:pt x="1401048" y="142748"/>
                </a:lnTo>
                <a:lnTo>
                  <a:pt x="1354820" y="117318"/>
                </a:lnTo>
                <a:lnTo>
                  <a:pt x="1305405" y="94032"/>
                </a:lnTo>
                <a:lnTo>
                  <a:pt x="1253013" y="73017"/>
                </a:lnTo>
                <a:lnTo>
                  <a:pt x="1197855" y="54397"/>
                </a:lnTo>
                <a:lnTo>
                  <a:pt x="1140144" y="38298"/>
                </a:lnTo>
                <a:lnTo>
                  <a:pt x="1080090" y="24845"/>
                </a:lnTo>
                <a:lnTo>
                  <a:pt x="1017904" y="14163"/>
                </a:lnTo>
                <a:lnTo>
                  <a:pt x="953799" y="6378"/>
                </a:lnTo>
                <a:lnTo>
                  <a:pt x="887985" y="1615"/>
                </a:lnTo>
                <a:lnTo>
                  <a:pt x="820674" y="0"/>
                </a:lnTo>
                <a:lnTo>
                  <a:pt x="753363" y="1615"/>
                </a:lnTo>
                <a:lnTo>
                  <a:pt x="687552" y="6378"/>
                </a:lnTo>
                <a:lnTo>
                  <a:pt x="623450" y="14163"/>
                </a:lnTo>
                <a:lnTo>
                  <a:pt x="561270" y="24845"/>
                </a:lnTo>
                <a:lnTo>
                  <a:pt x="501223" y="38298"/>
                </a:lnTo>
                <a:lnTo>
                  <a:pt x="443519" y="54397"/>
                </a:lnTo>
                <a:lnTo>
                  <a:pt x="388370" y="73017"/>
                </a:lnTo>
                <a:lnTo>
                  <a:pt x="335987" y="94032"/>
                </a:lnTo>
                <a:lnTo>
                  <a:pt x="286581" y="117318"/>
                </a:lnTo>
                <a:lnTo>
                  <a:pt x="240363" y="142748"/>
                </a:lnTo>
                <a:lnTo>
                  <a:pt x="197545" y="170197"/>
                </a:lnTo>
                <a:lnTo>
                  <a:pt x="158337" y="199540"/>
                </a:lnTo>
                <a:lnTo>
                  <a:pt x="122951" y="230652"/>
                </a:lnTo>
                <a:lnTo>
                  <a:pt x="91598" y="263407"/>
                </a:lnTo>
                <a:lnTo>
                  <a:pt x="64490" y="297680"/>
                </a:lnTo>
                <a:lnTo>
                  <a:pt x="41836" y="333345"/>
                </a:lnTo>
                <a:lnTo>
                  <a:pt x="23849" y="370278"/>
                </a:lnTo>
                <a:lnTo>
                  <a:pt x="10740" y="408352"/>
                </a:lnTo>
                <a:lnTo>
                  <a:pt x="2720" y="447443"/>
                </a:lnTo>
                <a:lnTo>
                  <a:pt x="0" y="487425"/>
                </a:lnTo>
                <a:close/>
              </a:path>
            </a:pathLst>
          </a:custGeom>
          <a:solidFill>
            <a:srgbClr val="00279F"/>
          </a:solidFill>
        </p:spPr>
        <p:txBody>
          <a:bodyPr wrap="square" lIns="0" tIns="0" rIns="0" bIns="0" rtlCol="0">
            <a:noAutofit/>
          </a:bodyPr>
          <a:lstStyle/>
          <a:p>
            <a:endParaRPr/>
          </a:p>
        </p:txBody>
      </p:sp>
      <p:sp>
        <p:nvSpPr>
          <p:cNvPr id="59" name="object 59"/>
          <p:cNvSpPr/>
          <p:nvPr/>
        </p:nvSpPr>
        <p:spPr>
          <a:xfrm>
            <a:off x="5275327" y="3603626"/>
            <a:ext cx="1641475" cy="974725"/>
          </a:xfrm>
          <a:custGeom>
            <a:avLst/>
            <a:gdLst/>
            <a:ahLst/>
            <a:cxnLst/>
            <a:rect l="l" t="t" r="r" b="b"/>
            <a:pathLst>
              <a:path w="1641475" h="974725">
                <a:moveTo>
                  <a:pt x="0" y="487425"/>
                </a:moveTo>
                <a:lnTo>
                  <a:pt x="2720" y="447443"/>
                </a:lnTo>
                <a:lnTo>
                  <a:pt x="10740" y="408352"/>
                </a:lnTo>
                <a:lnTo>
                  <a:pt x="23849" y="370278"/>
                </a:lnTo>
                <a:lnTo>
                  <a:pt x="41836" y="333345"/>
                </a:lnTo>
                <a:lnTo>
                  <a:pt x="64490" y="297680"/>
                </a:lnTo>
                <a:lnTo>
                  <a:pt x="91598" y="263407"/>
                </a:lnTo>
                <a:lnTo>
                  <a:pt x="122951" y="230652"/>
                </a:lnTo>
                <a:lnTo>
                  <a:pt x="158337" y="199540"/>
                </a:lnTo>
                <a:lnTo>
                  <a:pt x="197545" y="170197"/>
                </a:lnTo>
                <a:lnTo>
                  <a:pt x="240363" y="142748"/>
                </a:lnTo>
                <a:lnTo>
                  <a:pt x="286581" y="117318"/>
                </a:lnTo>
                <a:lnTo>
                  <a:pt x="335987" y="94032"/>
                </a:lnTo>
                <a:lnTo>
                  <a:pt x="388370" y="73017"/>
                </a:lnTo>
                <a:lnTo>
                  <a:pt x="443519" y="54397"/>
                </a:lnTo>
                <a:lnTo>
                  <a:pt x="501223" y="38298"/>
                </a:lnTo>
                <a:lnTo>
                  <a:pt x="561270" y="24845"/>
                </a:lnTo>
                <a:lnTo>
                  <a:pt x="623450" y="14163"/>
                </a:lnTo>
                <a:lnTo>
                  <a:pt x="687552" y="6378"/>
                </a:lnTo>
                <a:lnTo>
                  <a:pt x="753363" y="1615"/>
                </a:lnTo>
                <a:lnTo>
                  <a:pt x="820674" y="0"/>
                </a:lnTo>
                <a:lnTo>
                  <a:pt x="887985" y="1615"/>
                </a:lnTo>
                <a:lnTo>
                  <a:pt x="953799" y="6378"/>
                </a:lnTo>
                <a:lnTo>
                  <a:pt x="1017904" y="14163"/>
                </a:lnTo>
                <a:lnTo>
                  <a:pt x="1080090" y="24845"/>
                </a:lnTo>
                <a:lnTo>
                  <a:pt x="1140144" y="38298"/>
                </a:lnTo>
                <a:lnTo>
                  <a:pt x="1197855" y="54397"/>
                </a:lnTo>
                <a:lnTo>
                  <a:pt x="1253013" y="73017"/>
                </a:lnTo>
                <a:lnTo>
                  <a:pt x="1305405" y="94032"/>
                </a:lnTo>
                <a:lnTo>
                  <a:pt x="1354820" y="117318"/>
                </a:lnTo>
                <a:lnTo>
                  <a:pt x="1401048" y="142748"/>
                </a:lnTo>
                <a:lnTo>
                  <a:pt x="1443875" y="170197"/>
                </a:lnTo>
                <a:lnTo>
                  <a:pt x="1483092" y="199540"/>
                </a:lnTo>
                <a:lnTo>
                  <a:pt x="1518487" y="230652"/>
                </a:lnTo>
                <a:lnTo>
                  <a:pt x="1549848" y="263407"/>
                </a:lnTo>
                <a:lnTo>
                  <a:pt x="1576964" y="297680"/>
                </a:lnTo>
                <a:lnTo>
                  <a:pt x="1599624" y="333345"/>
                </a:lnTo>
                <a:lnTo>
                  <a:pt x="1617617" y="370278"/>
                </a:lnTo>
                <a:lnTo>
                  <a:pt x="1630730" y="408352"/>
                </a:lnTo>
                <a:lnTo>
                  <a:pt x="1638753" y="447443"/>
                </a:lnTo>
                <a:lnTo>
                  <a:pt x="1641475" y="487425"/>
                </a:lnTo>
                <a:lnTo>
                  <a:pt x="1638753" y="527390"/>
                </a:lnTo>
                <a:lnTo>
                  <a:pt x="1630730" y="566464"/>
                </a:lnTo>
                <a:lnTo>
                  <a:pt x="1617617" y="604524"/>
                </a:lnTo>
                <a:lnTo>
                  <a:pt x="1599624" y="641444"/>
                </a:lnTo>
                <a:lnTo>
                  <a:pt x="1576964" y="677098"/>
                </a:lnTo>
                <a:lnTo>
                  <a:pt x="1549848" y="711361"/>
                </a:lnTo>
                <a:lnTo>
                  <a:pt x="1518487" y="744107"/>
                </a:lnTo>
                <a:lnTo>
                  <a:pt x="1483092" y="775212"/>
                </a:lnTo>
                <a:lnTo>
                  <a:pt x="1443875" y="804548"/>
                </a:lnTo>
                <a:lnTo>
                  <a:pt x="1401048" y="831992"/>
                </a:lnTo>
                <a:lnTo>
                  <a:pt x="1354820" y="857418"/>
                </a:lnTo>
                <a:lnTo>
                  <a:pt x="1305405" y="880700"/>
                </a:lnTo>
                <a:lnTo>
                  <a:pt x="1253013" y="901712"/>
                </a:lnTo>
                <a:lnTo>
                  <a:pt x="1197855" y="920330"/>
                </a:lnTo>
                <a:lnTo>
                  <a:pt x="1140144" y="936428"/>
                </a:lnTo>
                <a:lnTo>
                  <a:pt x="1080090" y="949880"/>
                </a:lnTo>
                <a:lnTo>
                  <a:pt x="1017904" y="960561"/>
                </a:lnTo>
                <a:lnTo>
                  <a:pt x="953799" y="968346"/>
                </a:lnTo>
                <a:lnTo>
                  <a:pt x="887985" y="973109"/>
                </a:lnTo>
                <a:lnTo>
                  <a:pt x="820674" y="974725"/>
                </a:lnTo>
                <a:lnTo>
                  <a:pt x="753363" y="973109"/>
                </a:lnTo>
                <a:lnTo>
                  <a:pt x="687552" y="968346"/>
                </a:lnTo>
                <a:lnTo>
                  <a:pt x="623450" y="960561"/>
                </a:lnTo>
                <a:lnTo>
                  <a:pt x="561270" y="949880"/>
                </a:lnTo>
                <a:lnTo>
                  <a:pt x="501223" y="936428"/>
                </a:lnTo>
                <a:lnTo>
                  <a:pt x="443519" y="920330"/>
                </a:lnTo>
                <a:lnTo>
                  <a:pt x="388370" y="901712"/>
                </a:lnTo>
                <a:lnTo>
                  <a:pt x="335987" y="880700"/>
                </a:lnTo>
                <a:lnTo>
                  <a:pt x="286581" y="857418"/>
                </a:lnTo>
                <a:lnTo>
                  <a:pt x="240363" y="831992"/>
                </a:lnTo>
                <a:lnTo>
                  <a:pt x="197545" y="804548"/>
                </a:lnTo>
                <a:lnTo>
                  <a:pt x="158337" y="775212"/>
                </a:lnTo>
                <a:lnTo>
                  <a:pt x="122951" y="744107"/>
                </a:lnTo>
                <a:lnTo>
                  <a:pt x="91598" y="711361"/>
                </a:lnTo>
                <a:lnTo>
                  <a:pt x="64490" y="677098"/>
                </a:lnTo>
                <a:lnTo>
                  <a:pt x="41836" y="641444"/>
                </a:lnTo>
                <a:lnTo>
                  <a:pt x="23849" y="604524"/>
                </a:lnTo>
                <a:lnTo>
                  <a:pt x="10740" y="566464"/>
                </a:lnTo>
                <a:lnTo>
                  <a:pt x="2720" y="527390"/>
                </a:lnTo>
                <a:lnTo>
                  <a:pt x="0" y="487425"/>
                </a:lnTo>
                <a:close/>
              </a:path>
            </a:pathLst>
          </a:custGeom>
          <a:ln w="25400">
            <a:solidFill>
              <a:srgbClr val="000000"/>
            </a:solidFill>
          </a:ln>
        </p:spPr>
        <p:txBody>
          <a:bodyPr wrap="square" lIns="0" tIns="0" rIns="0" bIns="0" rtlCol="0">
            <a:noAutofit/>
          </a:bodyPr>
          <a:lstStyle/>
          <a:p>
            <a:endParaRPr/>
          </a:p>
        </p:txBody>
      </p:sp>
      <p:sp>
        <p:nvSpPr>
          <p:cNvPr id="60" name="object 60"/>
          <p:cNvSpPr/>
          <p:nvPr/>
        </p:nvSpPr>
        <p:spPr>
          <a:xfrm>
            <a:off x="5548885" y="3703320"/>
            <a:ext cx="1120139" cy="420624"/>
          </a:xfrm>
          <a:prstGeom prst="rect">
            <a:avLst/>
          </a:prstGeom>
          <a:blipFill>
            <a:blip r:embed="rId2" cstate="print"/>
            <a:stretch>
              <a:fillRect/>
            </a:stretch>
          </a:blipFill>
        </p:spPr>
        <p:txBody>
          <a:bodyPr wrap="square" lIns="0" tIns="0" rIns="0" bIns="0" rtlCol="0">
            <a:noAutofit/>
          </a:bodyPr>
          <a:lstStyle/>
          <a:p>
            <a:endParaRPr/>
          </a:p>
        </p:txBody>
      </p:sp>
      <p:sp>
        <p:nvSpPr>
          <p:cNvPr id="61" name="object 61"/>
          <p:cNvSpPr/>
          <p:nvPr/>
        </p:nvSpPr>
        <p:spPr>
          <a:xfrm>
            <a:off x="6324601" y="3703320"/>
            <a:ext cx="414527" cy="420624"/>
          </a:xfrm>
          <a:prstGeom prst="rect">
            <a:avLst/>
          </a:prstGeom>
          <a:blipFill>
            <a:blip r:embed="rId3" cstate="print"/>
            <a:stretch>
              <a:fillRect/>
            </a:stretch>
          </a:blipFill>
        </p:spPr>
        <p:txBody>
          <a:bodyPr wrap="square" lIns="0" tIns="0" rIns="0" bIns="0" rtlCol="0">
            <a:noAutofit/>
          </a:bodyPr>
          <a:lstStyle/>
          <a:p>
            <a:endParaRPr/>
          </a:p>
        </p:txBody>
      </p:sp>
      <p:sp>
        <p:nvSpPr>
          <p:cNvPr id="62" name="object 62"/>
          <p:cNvSpPr/>
          <p:nvPr/>
        </p:nvSpPr>
        <p:spPr>
          <a:xfrm>
            <a:off x="5650991" y="4008120"/>
            <a:ext cx="915924" cy="420624"/>
          </a:xfrm>
          <a:prstGeom prst="rect">
            <a:avLst/>
          </a:prstGeom>
          <a:blipFill>
            <a:blip r:embed="rId4" cstate="print"/>
            <a:stretch>
              <a:fillRect/>
            </a:stretch>
          </a:blipFill>
        </p:spPr>
        <p:txBody>
          <a:bodyPr wrap="square" lIns="0" tIns="0" rIns="0" bIns="0" rtlCol="0">
            <a:noAutofit/>
          </a:bodyPr>
          <a:lstStyle/>
          <a:p>
            <a:endParaRPr/>
          </a:p>
        </p:txBody>
      </p:sp>
      <p:sp>
        <p:nvSpPr>
          <p:cNvPr id="63" name="object 63"/>
          <p:cNvSpPr/>
          <p:nvPr/>
        </p:nvSpPr>
        <p:spPr>
          <a:xfrm>
            <a:off x="6222493" y="4008120"/>
            <a:ext cx="414527" cy="420624"/>
          </a:xfrm>
          <a:prstGeom prst="rect">
            <a:avLst/>
          </a:prstGeom>
          <a:blipFill>
            <a:blip r:embed="rId3" cstate="print"/>
            <a:stretch>
              <a:fillRect/>
            </a:stretch>
          </a:blipFill>
        </p:spPr>
        <p:txBody>
          <a:bodyPr wrap="square" lIns="0" tIns="0" rIns="0" bIns="0" rtlCol="0">
            <a:noAutofit/>
          </a:bodyPr>
          <a:lstStyle/>
          <a:p>
            <a:endParaRPr/>
          </a:p>
        </p:txBody>
      </p:sp>
      <p:sp>
        <p:nvSpPr>
          <p:cNvPr id="64" name="object 64"/>
          <p:cNvSpPr/>
          <p:nvPr/>
        </p:nvSpPr>
        <p:spPr>
          <a:xfrm>
            <a:off x="6953251" y="4543425"/>
            <a:ext cx="884301" cy="476250"/>
          </a:xfrm>
          <a:custGeom>
            <a:avLst/>
            <a:gdLst/>
            <a:ahLst/>
            <a:cxnLst/>
            <a:rect l="l" t="t" r="r" b="b"/>
            <a:pathLst>
              <a:path w="884301" h="476250">
                <a:moveTo>
                  <a:pt x="0" y="0"/>
                </a:moveTo>
                <a:lnTo>
                  <a:pt x="884301" y="476250"/>
                </a:lnTo>
              </a:path>
            </a:pathLst>
          </a:custGeom>
          <a:ln w="25400">
            <a:solidFill>
              <a:srgbClr val="000000"/>
            </a:solidFill>
          </a:ln>
        </p:spPr>
        <p:txBody>
          <a:bodyPr wrap="square" lIns="0" tIns="0" rIns="0" bIns="0" rtlCol="0">
            <a:noAutofit/>
          </a:bodyPr>
          <a:lstStyle/>
          <a:p>
            <a:endParaRPr/>
          </a:p>
        </p:txBody>
      </p:sp>
      <p:sp>
        <p:nvSpPr>
          <p:cNvPr id="65" name="object 65"/>
          <p:cNvSpPr/>
          <p:nvPr/>
        </p:nvSpPr>
        <p:spPr>
          <a:xfrm>
            <a:off x="6953250" y="3971925"/>
            <a:ext cx="84200" cy="0"/>
          </a:xfrm>
          <a:custGeom>
            <a:avLst/>
            <a:gdLst/>
            <a:ahLst/>
            <a:cxnLst/>
            <a:rect l="l" t="t" r="r" b="b"/>
            <a:pathLst>
              <a:path w="84200">
                <a:moveTo>
                  <a:pt x="0" y="0"/>
                </a:moveTo>
                <a:lnTo>
                  <a:pt x="84200" y="0"/>
                </a:lnTo>
              </a:path>
            </a:pathLst>
          </a:custGeom>
          <a:ln w="25400">
            <a:solidFill>
              <a:srgbClr val="000000"/>
            </a:solidFill>
          </a:ln>
        </p:spPr>
        <p:txBody>
          <a:bodyPr wrap="square" lIns="0" tIns="0" rIns="0" bIns="0" rtlCol="0">
            <a:noAutofit/>
          </a:bodyPr>
          <a:lstStyle/>
          <a:p>
            <a:endParaRPr/>
          </a:p>
        </p:txBody>
      </p:sp>
      <p:sp>
        <p:nvSpPr>
          <p:cNvPr id="66" name="object 66"/>
          <p:cNvSpPr/>
          <p:nvPr/>
        </p:nvSpPr>
        <p:spPr>
          <a:xfrm>
            <a:off x="7512113" y="3971925"/>
            <a:ext cx="393636" cy="0"/>
          </a:xfrm>
          <a:custGeom>
            <a:avLst/>
            <a:gdLst/>
            <a:ahLst/>
            <a:cxnLst/>
            <a:rect l="l" t="t" r="r" b="b"/>
            <a:pathLst>
              <a:path w="393636">
                <a:moveTo>
                  <a:pt x="0" y="0"/>
                </a:moveTo>
                <a:lnTo>
                  <a:pt x="393636" y="0"/>
                </a:lnTo>
              </a:path>
            </a:pathLst>
          </a:custGeom>
          <a:ln w="25400">
            <a:solidFill>
              <a:srgbClr val="000000"/>
            </a:solidFill>
          </a:ln>
        </p:spPr>
        <p:txBody>
          <a:bodyPr wrap="square" lIns="0" tIns="0" rIns="0" bIns="0" rtlCol="0">
            <a:noAutofit/>
          </a:bodyPr>
          <a:lstStyle/>
          <a:p>
            <a:endParaRPr/>
          </a:p>
        </p:txBody>
      </p:sp>
      <p:sp>
        <p:nvSpPr>
          <p:cNvPr id="67" name="object 67"/>
          <p:cNvSpPr/>
          <p:nvPr/>
        </p:nvSpPr>
        <p:spPr>
          <a:xfrm>
            <a:off x="7037451" y="3949636"/>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ln w="25400">
            <a:solidFill>
              <a:srgbClr val="000000"/>
            </a:solidFill>
          </a:ln>
        </p:spPr>
        <p:txBody>
          <a:bodyPr wrap="square" lIns="0" tIns="0" rIns="0" bIns="0" rtlCol="0">
            <a:noAutofit/>
          </a:bodyPr>
          <a:lstStyle/>
          <a:p>
            <a:endParaRPr/>
          </a:p>
        </p:txBody>
      </p:sp>
      <p:sp>
        <p:nvSpPr>
          <p:cNvPr id="56" name="object 56"/>
          <p:cNvSpPr/>
          <p:nvPr/>
        </p:nvSpPr>
        <p:spPr>
          <a:xfrm>
            <a:off x="2465388" y="1830452"/>
            <a:ext cx="1689163" cy="1046099"/>
          </a:xfrm>
          <a:custGeom>
            <a:avLst/>
            <a:gdLst/>
            <a:ahLst/>
            <a:cxnLst/>
            <a:rect l="l" t="t" r="r" b="b"/>
            <a:pathLst>
              <a:path w="1689163" h="1046099">
                <a:moveTo>
                  <a:pt x="0" y="306324"/>
                </a:moveTo>
                <a:lnTo>
                  <a:pt x="0" y="739775"/>
                </a:lnTo>
                <a:lnTo>
                  <a:pt x="306336" y="1046099"/>
                </a:lnTo>
                <a:lnTo>
                  <a:pt x="1382712" y="1046099"/>
                </a:lnTo>
                <a:lnTo>
                  <a:pt x="1689163" y="739775"/>
                </a:lnTo>
                <a:lnTo>
                  <a:pt x="1689163" y="306324"/>
                </a:lnTo>
                <a:lnTo>
                  <a:pt x="1382712" y="0"/>
                </a:lnTo>
                <a:lnTo>
                  <a:pt x="306336" y="0"/>
                </a:lnTo>
                <a:lnTo>
                  <a:pt x="0" y="306324"/>
                </a:lnTo>
                <a:close/>
              </a:path>
            </a:pathLst>
          </a:custGeom>
          <a:solidFill>
            <a:srgbClr val="FBFDB8"/>
          </a:solidFill>
        </p:spPr>
        <p:txBody>
          <a:bodyPr wrap="square" lIns="0" tIns="0" rIns="0" bIns="0" rtlCol="0">
            <a:noAutofit/>
          </a:bodyPr>
          <a:lstStyle/>
          <a:p>
            <a:endParaRPr/>
          </a:p>
        </p:txBody>
      </p:sp>
      <p:sp>
        <p:nvSpPr>
          <p:cNvPr id="57" name="object 57"/>
          <p:cNvSpPr/>
          <p:nvPr/>
        </p:nvSpPr>
        <p:spPr>
          <a:xfrm>
            <a:off x="2465388" y="1830452"/>
            <a:ext cx="1689163" cy="1046099"/>
          </a:xfrm>
          <a:custGeom>
            <a:avLst/>
            <a:gdLst/>
            <a:ahLst/>
            <a:cxnLst/>
            <a:rect l="l" t="t" r="r" b="b"/>
            <a:pathLst>
              <a:path w="1689163" h="1046099">
                <a:moveTo>
                  <a:pt x="0" y="306324"/>
                </a:moveTo>
                <a:lnTo>
                  <a:pt x="306336" y="0"/>
                </a:lnTo>
                <a:lnTo>
                  <a:pt x="1382712" y="0"/>
                </a:lnTo>
                <a:lnTo>
                  <a:pt x="1689163" y="306324"/>
                </a:lnTo>
                <a:lnTo>
                  <a:pt x="1689163" y="739775"/>
                </a:lnTo>
                <a:lnTo>
                  <a:pt x="1382712" y="1046099"/>
                </a:lnTo>
                <a:lnTo>
                  <a:pt x="306336" y="1046099"/>
                </a:lnTo>
                <a:lnTo>
                  <a:pt x="0" y="739775"/>
                </a:lnTo>
                <a:lnTo>
                  <a:pt x="0" y="306324"/>
                </a:lnTo>
                <a:close/>
              </a:path>
            </a:pathLst>
          </a:custGeom>
          <a:ln w="25400">
            <a:solidFill>
              <a:srgbClr val="000000"/>
            </a:solidFill>
          </a:ln>
        </p:spPr>
        <p:txBody>
          <a:bodyPr wrap="square" lIns="0" tIns="0" rIns="0" bIns="0" rtlCol="0">
            <a:noAutofit/>
          </a:bodyPr>
          <a:lstStyle/>
          <a:p>
            <a:endParaRPr/>
          </a:p>
        </p:txBody>
      </p:sp>
      <p:sp>
        <p:nvSpPr>
          <p:cNvPr id="54" name="object 54"/>
          <p:cNvSpPr/>
          <p:nvPr/>
        </p:nvSpPr>
        <p:spPr>
          <a:xfrm>
            <a:off x="2417763" y="3354452"/>
            <a:ext cx="1689163" cy="1046099"/>
          </a:xfrm>
          <a:custGeom>
            <a:avLst/>
            <a:gdLst/>
            <a:ahLst/>
            <a:cxnLst/>
            <a:rect l="l" t="t" r="r" b="b"/>
            <a:pathLst>
              <a:path w="1689163" h="1046099">
                <a:moveTo>
                  <a:pt x="0" y="306324"/>
                </a:moveTo>
                <a:lnTo>
                  <a:pt x="0" y="739775"/>
                </a:lnTo>
                <a:lnTo>
                  <a:pt x="306336" y="1046099"/>
                </a:lnTo>
                <a:lnTo>
                  <a:pt x="1382712" y="1046099"/>
                </a:lnTo>
                <a:lnTo>
                  <a:pt x="1689163" y="739775"/>
                </a:lnTo>
                <a:lnTo>
                  <a:pt x="1689163" y="306324"/>
                </a:lnTo>
                <a:lnTo>
                  <a:pt x="1382712" y="0"/>
                </a:lnTo>
                <a:lnTo>
                  <a:pt x="306336" y="0"/>
                </a:lnTo>
                <a:lnTo>
                  <a:pt x="0" y="306324"/>
                </a:lnTo>
                <a:close/>
              </a:path>
            </a:pathLst>
          </a:custGeom>
          <a:solidFill>
            <a:srgbClr val="FBFDB8"/>
          </a:solidFill>
        </p:spPr>
        <p:txBody>
          <a:bodyPr wrap="square" lIns="0" tIns="0" rIns="0" bIns="0" rtlCol="0">
            <a:noAutofit/>
          </a:bodyPr>
          <a:lstStyle/>
          <a:p>
            <a:endParaRPr/>
          </a:p>
        </p:txBody>
      </p:sp>
      <p:sp>
        <p:nvSpPr>
          <p:cNvPr id="55" name="object 55"/>
          <p:cNvSpPr/>
          <p:nvPr/>
        </p:nvSpPr>
        <p:spPr>
          <a:xfrm>
            <a:off x="2417763" y="3354452"/>
            <a:ext cx="1689163" cy="1046099"/>
          </a:xfrm>
          <a:custGeom>
            <a:avLst/>
            <a:gdLst/>
            <a:ahLst/>
            <a:cxnLst/>
            <a:rect l="l" t="t" r="r" b="b"/>
            <a:pathLst>
              <a:path w="1689163" h="1046099">
                <a:moveTo>
                  <a:pt x="0" y="306324"/>
                </a:moveTo>
                <a:lnTo>
                  <a:pt x="306336" y="0"/>
                </a:lnTo>
                <a:lnTo>
                  <a:pt x="1382712" y="0"/>
                </a:lnTo>
                <a:lnTo>
                  <a:pt x="1689163" y="306324"/>
                </a:lnTo>
                <a:lnTo>
                  <a:pt x="1689163" y="739775"/>
                </a:lnTo>
                <a:lnTo>
                  <a:pt x="1382712" y="1046099"/>
                </a:lnTo>
                <a:lnTo>
                  <a:pt x="306336" y="1046099"/>
                </a:lnTo>
                <a:lnTo>
                  <a:pt x="0" y="739775"/>
                </a:lnTo>
                <a:lnTo>
                  <a:pt x="0" y="306324"/>
                </a:lnTo>
                <a:close/>
              </a:path>
            </a:pathLst>
          </a:custGeom>
          <a:ln w="25400">
            <a:solidFill>
              <a:srgbClr val="000000"/>
            </a:solidFill>
          </a:ln>
        </p:spPr>
        <p:txBody>
          <a:bodyPr wrap="square" lIns="0" tIns="0" rIns="0" bIns="0" rtlCol="0">
            <a:noAutofit/>
          </a:bodyPr>
          <a:lstStyle/>
          <a:p>
            <a:endParaRPr/>
          </a:p>
        </p:txBody>
      </p:sp>
      <p:sp>
        <p:nvSpPr>
          <p:cNvPr id="52" name="object 52"/>
          <p:cNvSpPr/>
          <p:nvPr/>
        </p:nvSpPr>
        <p:spPr>
          <a:xfrm>
            <a:off x="2417763" y="4902200"/>
            <a:ext cx="1689163" cy="1046162"/>
          </a:xfrm>
          <a:custGeom>
            <a:avLst/>
            <a:gdLst/>
            <a:ahLst/>
            <a:cxnLst/>
            <a:rect l="l" t="t" r="r" b="b"/>
            <a:pathLst>
              <a:path w="1689163" h="1046162">
                <a:moveTo>
                  <a:pt x="0" y="306324"/>
                </a:moveTo>
                <a:lnTo>
                  <a:pt x="0" y="739825"/>
                </a:lnTo>
                <a:lnTo>
                  <a:pt x="306336" y="1046162"/>
                </a:lnTo>
                <a:lnTo>
                  <a:pt x="1382712" y="1046162"/>
                </a:lnTo>
                <a:lnTo>
                  <a:pt x="1689163" y="739825"/>
                </a:lnTo>
                <a:lnTo>
                  <a:pt x="1689163" y="306324"/>
                </a:lnTo>
                <a:lnTo>
                  <a:pt x="1382712" y="0"/>
                </a:lnTo>
                <a:lnTo>
                  <a:pt x="306336" y="0"/>
                </a:lnTo>
                <a:lnTo>
                  <a:pt x="0" y="306324"/>
                </a:lnTo>
                <a:close/>
              </a:path>
            </a:pathLst>
          </a:custGeom>
          <a:solidFill>
            <a:srgbClr val="FBFDB8"/>
          </a:solidFill>
        </p:spPr>
        <p:txBody>
          <a:bodyPr wrap="square" lIns="0" tIns="0" rIns="0" bIns="0" rtlCol="0">
            <a:noAutofit/>
          </a:bodyPr>
          <a:lstStyle/>
          <a:p>
            <a:endParaRPr/>
          </a:p>
        </p:txBody>
      </p:sp>
      <p:sp>
        <p:nvSpPr>
          <p:cNvPr id="53" name="object 53"/>
          <p:cNvSpPr/>
          <p:nvPr/>
        </p:nvSpPr>
        <p:spPr>
          <a:xfrm>
            <a:off x="2417763" y="4902200"/>
            <a:ext cx="1689163" cy="1046162"/>
          </a:xfrm>
          <a:custGeom>
            <a:avLst/>
            <a:gdLst/>
            <a:ahLst/>
            <a:cxnLst/>
            <a:rect l="l" t="t" r="r" b="b"/>
            <a:pathLst>
              <a:path w="1689163" h="1046162">
                <a:moveTo>
                  <a:pt x="0" y="306324"/>
                </a:moveTo>
                <a:lnTo>
                  <a:pt x="306336" y="0"/>
                </a:lnTo>
                <a:lnTo>
                  <a:pt x="1382712" y="0"/>
                </a:lnTo>
                <a:lnTo>
                  <a:pt x="1689163" y="306324"/>
                </a:lnTo>
                <a:lnTo>
                  <a:pt x="1689163" y="739825"/>
                </a:lnTo>
                <a:lnTo>
                  <a:pt x="1382712" y="1046162"/>
                </a:lnTo>
                <a:lnTo>
                  <a:pt x="306336" y="1046162"/>
                </a:lnTo>
                <a:lnTo>
                  <a:pt x="0" y="739825"/>
                </a:lnTo>
                <a:lnTo>
                  <a:pt x="0" y="306324"/>
                </a:lnTo>
                <a:close/>
              </a:path>
            </a:pathLst>
          </a:custGeom>
          <a:ln w="25400">
            <a:solidFill>
              <a:srgbClr val="000000"/>
            </a:solidFill>
          </a:ln>
        </p:spPr>
        <p:txBody>
          <a:bodyPr wrap="square" lIns="0" tIns="0" rIns="0" bIns="0" rtlCol="0">
            <a:noAutofit/>
          </a:bodyPr>
          <a:lstStyle/>
          <a:p>
            <a:endParaRPr/>
          </a:p>
        </p:txBody>
      </p:sp>
      <p:sp>
        <p:nvSpPr>
          <p:cNvPr id="50" name="object 50"/>
          <p:cNvSpPr/>
          <p:nvPr/>
        </p:nvSpPr>
        <p:spPr>
          <a:xfrm>
            <a:off x="5251450" y="5413375"/>
            <a:ext cx="1689100" cy="1046162"/>
          </a:xfrm>
          <a:custGeom>
            <a:avLst/>
            <a:gdLst/>
            <a:ahLst/>
            <a:cxnLst/>
            <a:rect l="l" t="t" r="r" b="b"/>
            <a:pathLst>
              <a:path w="1689100" h="1046162">
                <a:moveTo>
                  <a:pt x="0" y="306336"/>
                </a:moveTo>
                <a:lnTo>
                  <a:pt x="0" y="739825"/>
                </a:lnTo>
                <a:lnTo>
                  <a:pt x="306324" y="1046162"/>
                </a:lnTo>
                <a:lnTo>
                  <a:pt x="1382776" y="1046162"/>
                </a:lnTo>
                <a:lnTo>
                  <a:pt x="1689100" y="739825"/>
                </a:lnTo>
                <a:lnTo>
                  <a:pt x="1689100" y="306336"/>
                </a:lnTo>
                <a:lnTo>
                  <a:pt x="1382776" y="0"/>
                </a:lnTo>
                <a:lnTo>
                  <a:pt x="306324" y="0"/>
                </a:lnTo>
                <a:lnTo>
                  <a:pt x="0" y="306336"/>
                </a:lnTo>
                <a:close/>
              </a:path>
            </a:pathLst>
          </a:custGeom>
          <a:solidFill>
            <a:srgbClr val="FBFDB8"/>
          </a:solidFill>
        </p:spPr>
        <p:txBody>
          <a:bodyPr wrap="square" lIns="0" tIns="0" rIns="0" bIns="0" rtlCol="0">
            <a:noAutofit/>
          </a:bodyPr>
          <a:lstStyle/>
          <a:p>
            <a:endParaRPr/>
          </a:p>
        </p:txBody>
      </p:sp>
      <p:sp>
        <p:nvSpPr>
          <p:cNvPr id="51" name="object 51"/>
          <p:cNvSpPr/>
          <p:nvPr/>
        </p:nvSpPr>
        <p:spPr>
          <a:xfrm>
            <a:off x="5251450" y="5413375"/>
            <a:ext cx="1689100" cy="1046162"/>
          </a:xfrm>
          <a:custGeom>
            <a:avLst/>
            <a:gdLst/>
            <a:ahLst/>
            <a:cxnLst/>
            <a:rect l="l" t="t" r="r" b="b"/>
            <a:pathLst>
              <a:path w="1689100" h="1046162">
                <a:moveTo>
                  <a:pt x="0" y="306336"/>
                </a:moveTo>
                <a:lnTo>
                  <a:pt x="306324" y="0"/>
                </a:lnTo>
                <a:lnTo>
                  <a:pt x="1382776" y="0"/>
                </a:lnTo>
                <a:lnTo>
                  <a:pt x="1689100" y="306336"/>
                </a:lnTo>
                <a:lnTo>
                  <a:pt x="1689100" y="739825"/>
                </a:lnTo>
                <a:lnTo>
                  <a:pt x="1382776" y="1046162"/>
                </a:lnTo>
                <a:lnTo>
                  <a:pt x="306324" y="1046162"/>
                </a:lnTo>
                <a:lnTo>
                  <a:pt x="0" y="739825"/>
                </a:lnTo>
                <a:lnTo>
                  <a:pt x="0" y="306336"/>
                </a:lnTo>
                <a:close/>
              </a:path>
            </a:pathLst>
          </a:custGeom>
          <a:ln w="25400">
            <a:solidFill>
              <a:srgbClr val="000000"/>
            </a:solidFill>
          </a:ln>
        </p:spPr>
        <p:txBody>
          <a:bodyPr wrap="square" lIns="0" tIns="0" rIns="0" bIns="0" rtlCol="0">
            <a:noAutofit/>
          </a:bodyPr>
          <a:lstStyle/>
          <a:p>
            <a:endParaRPr/>
          </a:p>
        </p:txBody>
      </p:sp>
      <p:sp>
        <p:nvSpPr>
          <p:cNvPr id="48" name="object 48"/>
          <p:cNvSpPr/>
          <p:nvPr/>
        </p:nvSpPr>
        <p:spPr>
          <a:xfrm>
            <a:off x="8037576" y="4902200"/>
            <a:ext cx="1689100" cy="1046162"/>
          </a:xfrm>
          <a:custGeom>
            <a:avLst/>
            <a:gdLst/>
            <a:ahLst/>
            <a:cxnLst/>
            <a:rect l="l" t="t" r="r" b="b"/>
            <a:pathLst>
              <a:path w="1689100" h="1046162">
                <a:moveTo>
                  <a:pt x="0" y="306324"/>
                </a:moveTo>
                <a:lnTo>
                  <a:pt x="0" y="739825"/>
                </a:lnTo>
                <a:lnTo>
                  <a:pt x="306324" y="1046162"/>
                </a:lnTo>
                <a:lnTo>
                  <a:pt x="1382649" y="1046162"/>
                </a:lnTo>
                <a:lnTo>
                  <a:pt x="1689100" y="739825"/>
                </a:lnTo>
                <a:lnTo>
                  <a:pt x="1689100" y="306324"/>
                </a:lnTo>
                <a:lnTo>
                  <a:pt x="1382649" y="0"/>
                </a:lnTo>
                <a:lnTo>
                  <a:pt x="306324" y="0"/>
                </a:lnTo>
                <a:lnTo>
                  <a:pt x="0" y="306324"/>
                </a:lnTo>
                <a:close/>
              </a:path>
            </a:pathLst>
          </a:custGeom>
          <a:solidFill>
            <a:srgbClr val="FBFDB8"/>
          </a:solidFill>
        </p:spPr>
        <p:txBody>
          <a:bodyPr wrap="square" lIns="0" tIns="0" rIns="0" bIns="0" rtlCol="0">
            <a:noAutofit/>
          </a:bodyPr>
          <a:lstStyle/>
          <a:p>
            <a:endParaRPr/>
          </a:p>
        </p:txBody>
      </p:sp>
      <p:sp>
        <p:nvSpPr>
          <p:cNvPr id="49" name="object 49"/>
          <p:cNvSpPr/>
          <p:nvPr/>
        </p:nvSpPr>
        <p:spPr>
          <a:xfrm>
            <a:off x="8037576" y="4902200"/>
            <a:ext cx="1689100" cy="1046162"/>
          </a:xfrm>
          <a:custGeom>
            <a:avLst/>
            <a:gdLst/>
            <a:ahLst/>
            <a:cxnLst/>
            <a:rect l="l" t="t" r="r" b="b"/>
            <a:pathLst>
              <a:path w="1689100" h="1046162">
                <a:moveTo>
                  <a:pt x="0" y="306324"/>
                </a:moveTo>
                <a:lnTo>
                  <a:pt x="306324" y="0"/>
                </a:lnTo>
                <a:lnTo>
                  <a:pt x="1382649" y="0"/>
                </a:lnTo>
                <a:lnTo>
                  <a:pt x="1689100" y="306324"/>
                </a:lnTo>
                <a:lnTo>
                  <a:pt x="1689100" y="739825"/>
                </a:lnTo>
                <a:lnTo>
                  <a:pt x="1382649" y="1046162"/>
                </a:lnTo>
                <a:lnTo>
                  <a:pt x="306324" y="1046162"/>
                </a:lnTo>
                <a:lnTo>
                  <a:pt x="0" y="739825"/>
                </a:lnTo>
                <a:lnTo>
                  <a:pt x="0" y="306324"/>
                </a:lnTo>
                <a:close/>
              </a:path>
            </a:pathLst>
          </a:custGeom>
          <a:ln w="25400">
            <a:solidFill>
              <a:srgbClr val="000000"/>
            </a:solidFill>
          </a:ln>
        </p:spPr>
        <p:txBody>
          <a:bodyPr wrap="square" lIns="0" tIns="0" rIns="0" bIns="0" rtlCol="0">
            <a:noAutofit/>
          </a:bodyPr>
          <a:lstStyle/>
          <a:p>
            <a:endParaRPr/>
          </a:p>
        </p:txBody>
      </p:sp>
      <p:sp>
        <p:nvSpPr>
          <p:cNvPr id="46" name="object 46"/>
          <p:cNvSpPr/>
          <p:nvPr/>
        </p:nvSpPr>
        <p:spPr>
          <a:xfrm>
            <a:off x="8061325" y="3378201"/>
            <a:ext cx="1808226" cy="1046099"/>
          </a:xfrm>
          <a:custGeom>
            <a:avLst/>
            <a:gdLst/>
            <a:ahLst/>
            <a:cxnLst/>
            <a:rect l="l" t="t" r="r" b="b"/>
            <a:pathLst>
              <a:path w="1808226" h="1046099">
                <a:moveTo>
                  <a:pt x="0" y="306324"/>
                </a:moveTo>
                <a:lnTo>
                  <a:pt x="0" y="739775"/>
                </a:lnTo>
                <a:lnTo>
                  <a:pt x="306324" y="1046099"/>
                </a:lnTo>
                <a:lnTo>
                  <a:pt x="1501775" y="1046099"/>
                </a:lnTo>
                <a:lnTo>
                  <a:pt x="1808226" y="739775"/>
                </a:lnTo>
                <a:lnTo>
                  <a:pt x="1808226" y="306324"/>
                </a:lnTo>
                <a:lnTo>
                  <a:pt x="1501775" y="0"/>
                </a:lnTo>
                <a:lnTo>
                  <a:pt x="306324" y="0"/>
                </a:lnTo>
                <a:lnTo>
                  <a:pt x="0" y="306324"/>
                </a:lnTo>
                <a:close/>
              </a:path>
            </a:pathLst>
          </a:custGeom>
          <a:solidFill>
            <a:srgbClr val="FBFDB8"/>
          </a:solidFill>
        </p:spPr>
        <p:txBody>
          <a:bodyPr wrap="square" lIns="0" tIns="0" rIns="0" bIns="0" rtlCol="0">
            <a:noAutofit/>
          </a:bodyPr>
          <a:lstStyle/>
          <a:p>
            <a:endParaRPr/>
          </a:p>
        </p:txBody>
      </p:sp>
      <p:sp>
        <p:nvSpPr>
          <p:cNvPr id="47" name="object 47"/>
          <p:cNvSpPr/>
          <p:nvPr/>
        </p:nvSpPr>
        <p:spPr>
          <a:xfrm>
            <a:off x="8061325" y="3378201"/>
            <a:ext cx="1808226" cy="1046099"/>
          </a:xfrm>
          <a:custGeom>
            <a:avLst/>
            <a:gdLst/>
            <a:ahLst/>
            <a:cxnLst/>
            <a:rect l="l" t="t" r="r" b="b"/>
            <a:pathLst>
              <a:path w="1808226" h="1046099">
                <a:moveTo>
                  <a:pt x="0" y="306324"/>
                </a:moveTo>
                <a:lnTo>
                  <a:pt x="306324" y="0"/>
                </a:lnTo>
                <a:lnTo>
                  <a:pt x="1501775" y="0"/>
                </a:lnTo>
                <a:lnTo>
                  <a:pt x="1808226" y="306324"/>
                </a:lnTo>
                <a:lnTo>
                  <a:pt x="1808226" y="739775"/>
                </a:lnTo>
                <a:lnTo>
                  <a:pt x="1501775" y="1046099"/>
                </a:lnTo>
                <a:lnTo>
                  <a:pt x="306324" y="1046099"/>
                </a:lnTo>
                <a:lnTo>
                  <a:pt x="0" y="739775"/>
                </a:lnTo>
                <a:lnTo>
                  <a:pt x="0" y="306324"/>
                </a:lnTo>
                <a:close/>
              </a:path>
            </a:pathLst>
          </a:custGeom>
          <a:ln w="25400">
            <a:solidFill>
              <a:srgbClr val="000000"/>
            </a:solidFill>
          </a:ln>
        </p:spPr>
        <p:txBody>
          <a:bodyPr wrap="square" lIns="0" tIns="0" rIns="0" bIns="0" rtlCol="0">
            <a:noAutofit/>
          </a:bodyPr>
          <a:lstStyle/>
          <a:p>
            <a:endParaRPr/>
          </a:p>
        </p:txBody>
      </p:sp>
      <p:sp>
        <p:nvSpPr>
          <p:cNvPr id="44" name="object 44"/>
          <p:cNvSpPr/>
          <p:nvPr/>
        </p:nvSpPr>
        <p:spPr>
          <a:xfrm>
            <a:off x="8061325" y="1830452"/>
            <a:ext cx="1689100" cy="1046099"/>
          </a:xfrm>
          <a:custGeom>
            <a:avLst/>
            <a:gdLst/>
            <a:ahLst/>
            <a:cxnLst/>
            <a:rect l="l" t="t" r="r" b="b"/>
            <a:pathLst>
              <a:path w="1689100" h="1046099">
                <a:moveTo>
                  <a:pt x="0" y="306324"/>
                </a:moveTo>
                <a:lnTo>
                  <a:pt x="0" y="739775"/>
                </a:lnTo>
                <a:lnTo>
                  <a:pt x="306324" y="1046099"/>
                </a:lnTo>
                <a:lnTo>
                  <a:pt x="1382776" y="1046099"/>
                </a:lnTo>
                <a:lnTo>
                  <a:pt x="1689100" y="739775"/>
                </a:lnTo>
                <a:lnTo>
                  <a:pt x="1689100" y="306324"/>
                </a:lnTo>
                <a:lnTo>
                  <a:pt x="1382776" y="0"/>
                </a:lnTo>
                <a:lnTo>
                  <a:pt x="306324" y="0"/>
                </a:lnTo>
                <a:lnTo>
                  <a:pt x="0" y="306324"/>
                </a:lnTo>
                <a:close/>
              </a:path>
            </a:pathLst>
          </a:custGeom>
          <a:solidFill>
            <a:srgbClr val="FBFDB8"/>
          </a:solidFill>
        </p:spPr>
        <p:txBody>
          <a:bodyPr wrap="square" lIns="0" tIns="0" rIns="0" bIns="0" rtlCol="0">
            <a:noAutofit/>
          </a:bodyPr>
          <a:lstStyle/>
          <a:p>
            <a:endParaRPr/>
          </a:p>
        </p:txBody>
      </p:sp>
      <p:sp>
        <p:nvSpPr>
          <p:cNvPr id="45" name="object 45"/>
          <p:cNvSpPr/>
          <p:nvPr/>
        </p:nvSpPr>
        <p:spPr>
          <a:xfrm>
            <a:off x="8061325" y="1830452"/>
            <a:ext cx="1689100" cy="1046099"/>
          </a:xfrm>
          <a:custGeom>
            <a:avLst/>
            <a:gdLst/>
            <a:ahLst/>
            <a:cxnLst/>
            <a:rect l="l" t="t" r="r" b="b"/>
            <a:pathLst>
              <a:path w="1689100" h="1046099">
                <a:moveTo>
                  <a:pt x="0" y="306324"/>
                </a:moveTo>
                <a:lnTo>
                  <a:pt x="306324" y="0"/>
                </a:lnTo>
                <a:lnTo>
                  <a:pt x="1382776" y="0"/>
                </a:lnTo>
                <a:lnTo>
                  <a:pt x="1689100" y="306324"/>
                </a:lnTo>
                <a:lnTo>
                  <a:pt x="1689100" y="739775"/>
                </a:lnTo>
                <a:lnTo>
                  <a:pt x="1382776" y="1046099"/>
                </a:lnTo>
                <a:lnTo>
                  <a:pt x="306324" y="1046099"/>
                </a:lnTo>
                <a:lnTo>
                  <a:pt x="0" y="739775"/>
                </a:lnTo>
                <a:lnTo>
                  <a:pt x="0" y="306324"/>
                </a:lnTo>
                <a:close/>
              </a:path>
            </a:pathLst>
          </a:custGeom>
          <a:ln w="25400">
            <a:solidFill>
              <a:srgbClr val="000000"/>
            </a:solidFill>
          </a:ln>
        </p:spPr>
        <p:txBody>
          <a:bodyPr wrap="square" lIns="0" tIns="0" rIns="0" bIns="0" rtlCol="0">
            <a:noAutofit/>
          </a:bodyPr>
          <a:lstStyle/>
          <a:p>
            <a:endParaRPr/>
          </a:p>
        </p:txBody>
      </p:sp>
      <p:sp>
        <p:nvSpPr>
          <p:cNvPr id="42" name="object 42"/>
          <p:cNvSpPr/>
          <p:nvPr/>
        </p:nvSpPr>
        <p:spPr>
          <a:xfrm>
            <a:off x="5251450" y="1793876"/>
            <a:ext cx="1689100" cy="1046099"/>
          </a:xfrm>
          <a:custGeom>
            <a:avLst/>
            <a:gdLst/>
            <a:ahLst/>
            <a:cxnLst/>
            <a:rect l="l" t="t" r="r" b="b"/>
            <a:pathLst>
              <a:path w="1689100" h="1046099">
                <a:moveTo>
                  <a:pt x="0" y="306324"/>
                </a:moveTo>
                <a:lnTo>
                  <a:pt x="0" y="739775"/>
                </a:lnTo>
                <a:lnTo>
                  <a:pt x="306324" y="1046099"/>
                </a:lnTo>
                <a:lnTo>
                  <a:pt x="1382776" y="1046099"/>
                </a:lnTo>
                <a:lnTo>
                  <a:pt x="1689100" y="739775"/>
                </a:lnTo>
                <a:lnTo>
                  <a:pt x="1689100" y="306324"/>
                </a:lnTo>
                <a:lnTo>
                  <a:pt x="1382776" y="0"/>
                </a:lnTo>
                <a:lnTo>
                  <a:pt x="306324" y="0"/>
                </a:lnTo>
                <a:lnTo>
                  <a:pt x="0" y="306324"/>
                </a:lnTo>
                <a:close/>
              </a:path>
            </a:pathLst>
          </a:custGeom>
          <a:solidFill>
            <a:srgbClr val="FBFDB8"/>
          </a:solidFill>
        </p:spPr>
        <p:txBody>
          <a:bodyPr wrap="square" lIns="0" tIns="0" rIns="0" bIns="0" rtlCol="0">
            <a:noAutofit/>
          </a:bodyPr>
          <a:lstStyle/>
          <a:p>
            <a:endParaRPr/>
          </a:p>
        </p:txBody>
      </p:sp>
      <p:sp>
        <p:nvSpPr>
          <p:cNvPr id="43" name="object 43"/>
          <p:cNvSpPr/>
          <p:nvPr/>
        </p:nvSpPr>
        <p:spPr>
          <a:xfrm>
            <a:off x="5251450" y="1793876"/>
            <a:ext cx="1689100" cy="1046099"/>
          </a:xfrm>
          <a:custGeom>
            <a:avLst/>
            <a:gdLst/>
            <a:ahLst/>
            <a:cxnLst/>
            <a:rect l="l" t="t" r="r" b="b"/>
            <a:pathLst>
              <a:path w="1689100" h="1046099">
                <a:moveTo>
                  <a:pt x="0" y="306324"/>
                </a:moveTo>
                <a:lnTo>
                  <a:pt x="306324" y="0"/>
                </a:lnTo>
                <a:lnTo>
                  <a:pt x="1382776" y="0"/>
                </a:lnTo>
                <a:lnTo>
                  <a:pt x="1689100" y="306324"/>
                </a:lnTo>
                <a:lnTo>
                  <a:pt x="1689100" y="739775"/>
                </a:lnTo>
                <a:lnTo>
                  <a:pt x="1382776" y="1046099"/>
                </a:lnTo>
                <a:lnTo>
                  <a:pt x="306324" y="1046099"/>
                </a:lnTo>
                <a:lnTo>
                  <a:pt x="0" y="739775"/>
                </a:lnTo>
                <a:lnTo>
                  <a:pt x="0" y="306324"/>
                </a:lnTo>
                <a:close/>
              </a:path>
            </a:pathLst>
          </a:custGeom>
          <a:ln w="25400">
            <a:solidFill>
              <a:srgbClr val="000000"/>
            </a:solidFill>
          </a:ln>
        </p:spPr>
        <p:txBody>
          <a:bodyPr wrap="square" lIns="0" tIns="0" rIns="0" bIns="0" rtlCol="0">
            <a:noAutofit/>
          </a:bodyPr>
          <a:lstStyle/>
          <a:p>
            <a:endParaRPr/>
          </a:p>
        </p:txBody>
      </p:sp>
      <p:sp>
        <p:nvSpPr>
          <p:cNvPr id="39" name="object 39"/>
          <p:cNvSpPr/>
          <p:nvPr/>
        </p:nvSpPr>
        <p:spPr>
          <a:xfrm>
            <a:off x="6072251" y="2924175"/>
            <a:ext cx="0" cy="246062"/>
          </a:xfrm>
          <a:custGeom>
            <a:avLst/>
            <a:gdLst/>
            <a:ahLst/>
            <a:cxnLst/>
            <a:rect l="l" t="t" r="r" b="b"/>
            <a:pathLst>
              <a:path h="246062">
                <a:moveTo>
                  <a:pt x="0" y="0"/>
                </a:moveTo>
                <a:lnTo>
                  <a:pt x="0" y="246062"/>
                </a:lnTo>
              </a:path>
            </a:pathLst>
          </a:custGeom>
          <a:ln w="25400">
            <a:solidFill>
              <a:srgbClr val="000000"/>
            </a:solidFill>
          </a:ln>
        </p:spPr>
        <p:txBody>
          <a:bodyPr wrap="square" lIns="0" tIns="0" rIns="0" bIns="0" rtlCol="0">
            <a:noAutofit/>
          </a:bodyPr>
          <a:lstStyle/>
          <a:p>
            <a:endParaRPr/>
          </a:p>
        </p:txBody>
      </p:sp>
      <p:sp>
        <p:nvSpPr>
          <p:cNvPr id="40" name="object 40"/>
          <p:cNvSpPr/>
          <p:nvPr/>
        </p:nvSpPr>
        <p:spPr>
          <a:xfrm>
            <a:off x="6072251" y="3454400"/>
            <a:ext cx="0" cy="88900"/>
          </a:xfrm>
          <a:custGeom>
            <a:avLst/>
            <a:gdLst/>
            <a:ahLst/>
            <a:cxnLst/>
            <a:rect l="l" t="t" r="r" b="b"/>
            <a:pathLst>
              <a:path h="88900">
                <a:moveTo>
                  <a:pt x="0" y="0"/>
                </a:moveTo>
                <a:lnTo>
                  <a:pt x="0" y="88900"/>
                </a:lnTo>
              </a:path>
            </a:pathLst>
          </a:custGeom>
          <a:ln w="25400">
            <a:solidFill>
              <a:srgbClr val="000000"/>
            </a:solidFill>
          </a:ln>
        </p:spPr>
        <p:txBody>
          <a:bodyPr wrap="square" lIns="0" tIns="0" rIns="0" bIns="0" rtlCol="0">
            <a:noAutofit/>
          </a:bodyPr>
          <a:lstStyle/>
          <a:p>
            <a:endParaRPr/>
          </a:p>
        </p:txBody>
      </p:sp>
      <p:sp>
        <p:nvSpPr>
          <p:cNvPr id="41" name="object 41"/>
          <p:cNvSpPr/>
          <p:nvPr/>
        </p:nvSpPr>
        <p:spPr>
          <a:xfrm>
            <a:off x="5851525" y="3170237"/>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ln w="25400">
            <a:solidFill>
              <a:srgbClr val="000000"/>
            </a:solidFill>
          </a:ln>
        </p:spPr>
        <p:txBody>
          <a:bodyPr wrap="square" lIns="0" tIns="0" rIns="0" bIns="0" rtlCol="0">
            <a:noAutofit/>
          </a:bodyPr>
          <a:lstStyle/>
          <a:p>
            <a:endParaRPr/>
          </a:p>
        </p:txBody>
      </p:sp>
      <p:sp>
        <p:nvSpPr>
          <p:cNvPr id="36" name="object 36"/>
          <p:cNvSpPr/>
          <p:nvPr/>
        </p:nvSpPr>
        <p:spPr>
          <a:xfrm>
            <a:off x="6072251" y="4662424"/>
            <a:ext cx="0" cy="28638"/>
          </a:xfrm>
          <a:custGeom>
            <a:avLst/>
            <a:gdLst/>
            <a:ahLst/>
            <a:cxnLst/>
            <a:rect l="l" t="t" r="r" b="b"/>
            <a:pathLst>
              <a:path h="28638">
                <a:moveTo>
                  <a:pt x="0" y="0"/>
                </a:moveTo>
                <a:lnTo>
                  <a:pt x="0" y="28638"/>
                </a:lnTo>
              </a:path>
            </a:pathLst>
          </a:custGeom>
          <a:ln w="25400">
            <a:solidFill>
              <a:srgbClr val="000000"/>
            </a:solidFill>
          </a:ln>
        </p:spPr>
        <p:txBody>
          <a:bodyPr wrap="square" lIns="0" tIns="0" rIns="0" bIns="0" rtlCol="0">
            <a:noAutofit/>
          </a:bodyPr>
          <a:lstStyle/>
          <a:p>
            <a:endParaRPr/>
          </a:p>
        </p:txBody>
      </p:sp>
      <p:sp>
        <p:nvSpPr>
          <p:cNvPr id="37" name="object 37"/>
          <p:cNvSpPr/>
          <p:nvPr/>
        </p:nvSpPr>
        <p:spPr>
          <a:xfrm>
            <a:off x="6072251" y="4975225"/>
            <a:ext cx="0" cy="306450"/>
          </a:xfrm>
          <a:custGeom>
            <a:avLst/>
            <a:gdLst/>
            <a:ahLst/>
            <a:cxnLst/>
            <a:rect l="l" t="t" r="r" b="b"/>
            <a:pathLst>
              <a:path h="306450">
                <a:moveTo>
                  <a:pt x="0" y="0"/>
                </a:moveTo>
                <a:lnTo>
                  <a:pt x="0" y="306450"/>
                </a:lnTo>
              </a:path>
            </a:pathLst>
          </a:custGeom>
          <a:ln w="25400">
            <a:solidFill>
              <a:srgbClr val="000000"/>
            </a:solidFill>
          </a:ln>
        </p:spPr>
        <p:txBody>
          <a:bodyPr wrap="square" lIns="0" tIns="0" rIns="0" bIns="0" rtlCol="0">
            <a:noAutofit/>
          </a:bodyPr>
          <a:lstStyle/>
          <a:p>
            <a:endParaRPr/>
          </a:p>
        </p:txBody>
      </p:sp>
      <p:sp>
        <p:nvSpPr>
          <p:cNvPr id="38" name="object 38"/>
          <p:cNvSpPr/>
          <p:nvPr/>
        </p:nvSpPr>
        <p:spPr>
          <a:xfrm>
            <a:off x="5851525" y="4691062"/>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ln w="25400">
            <a:solidFill>
              <a:srgbClr val="000000"/>
            </a:solidFill>
          </a:ln>
        </p:spPr>
        <p:txBody>
          <a:bodyPr wrap="square" lIns="0" tIns="0" rIns="0" bIns="0" rtlCol="0">
            <a:noAutofit/>
          </a:bodyPr>
          <a:lstStyle/>
          <a:p>
            <a:endParaRPr/>
          </a:p>
        </p:txBody>
      </p:sp>
      <p:sp>
        <p:nvSpPr>
          <p:cNvPr id="35" name="object 35"/>
          <p:cNvSpPr/>
          <p:nvPr/>
        </p:nvSpPr>
        <p:spPr>
          <a:xfrm>
            <a:off x="6953250" y="2995550"/>
            <a:ext cx="881126" cy="524001"/>
          </a:xfrm>
          <a:custGeom>
            <a:avLst/>
            <a:gdLst/>
            <a:ahLst/>
            <a:cxnLst/>
            <a:rect l="l" t="t" r="r" b="b"/>
            <a:pathLst>
              <a:path w="881126" h="524001">
                <a:moveTo>
                  <a:pt x="0" y="524001"/>
                </a:moveTo>
                <a:lnTo>
                  <a:pt x="881126" y="0"/>
                </a:lnTo>
              </a:path>
            </a:pathLst>
          </a:custGeom>
          <a:ln w="25400">
            <a:solidFill>
              <a:srgbClr val="000000"/>
            </a:solidFill>
          </a:ln>
        </p:spPr>
        <p:txBody>
          <a:bodyPr wrap="square" lIns="0" tIns="0" rIns="0" bIns="0" rtlCol="0">
            <a:noAutofit/>
          </a:bodyPr>
          <a:lstStyle/>
          <a:p>
            <a:endParaRPr/>
          </a:p>
        </p:txBody>
      </p:sp>
      <p:sp>
        <p:nvSpPr>
          <p:cNvPr id="32" name="object 32"/>
          <p:cNvSpPr/>
          <p:nvPr/>
        </p:nvSpPr>
        <p:spPr>
          <a:xfrm>
            <a:off x="4262502" y="4448176"/>
            <a:ext cx="880999" cy="523875"/>
          </a:xfrm>
          <a:custGeom>
            <a:avLst/>
            <a:gdLst/>
            <a:ahLst/>
            <a:cxnLst/>
            <a:rect l="l" t="t" r="r" b="b"/>
            <a:pathLst>
              <a:path w="880999" h="523875">
                <a:moveTo>
                  <a:pt x="0" y="523875"/>
                </a:moveTo>
                <a:lnTo>
                  <a:pt x="880999" y="0"/>
                </a:lnTo>
              </a:path>
            </a:pathLst>
          </a:custGeom>
          <a:ln w="25400">
            <a:solidFill>
              <a:srgbClr val="000000"/>
            </a:solidFill>
          </a:ln>
        </p:spPr>
        <p:txBody>
          <a:bodyPr wrap="square" lIns="0" tIns="0" rIns="0" bIns="0" rtlCol="0">
            <a:noAutofit/>
          </a:bodyPr>
          <a:lstStyle/>
          <a:p>
            <a:endParaRPr/>
          </a:p>
        </p:txBody>
      </p:sp>
      <p:sp>
        <p:nvSpPr>
          <p:cNvPr id="33" name="object 33"/>
          <p:cNvSpPr/>
          <p:nvPr/>
        </p:nvSpPr>
        <p:spPr>
          <a:xfrm>
            <a:off x="4924425" y="4705286"/>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solidFill>
            <a:srgbClr val="FFFFFF"/>
          </a:solidFill>
        </p:spPr>
        <p:txBody>
          <a:bodyPr wrap="square" lIns="0" tIns="0" rIns="0" bIns="0" rtlCol="0">
            <a:noAutofit/>
          </a:bodyPr>
          <a:lstStyle/>
          <a:p>
            <a:endParaRPr/>
          </a:p>
        </p:txBody>
      </p:sp>
      <p:sp>
        <p:nvSpPr>
          <p:cNvPr id="34" name="object 34"/>
          <p:cNvSpPr/>
          <p:nvPr/>
        </p:nvSpPr>
        <p:spPr>
          <a:xfrm>
            <a:off x="4924425" y="4705286"/>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ln w="25400">
            <a:solidFill>
              <a:srgbClr val="000000"/>
            </a:solidFill>
          </a:ln>
        </p:spPr>
        <p:txBody>
          <a:bodyPr wrap="square" lIns="0" tIns="0" rIns="0" bIns="0" rtlCol="0">
            <a:noAutofit/>
          </a:bodyPr>
          <a:lstStyle/>
          <a:p>
            <a:endParaRPr/>
          </a:p>
        </p:txBody>
      </p:sp>
      <p:sp>
        <p:nvSpPr>
          <p:cNvPr id="31" name="object 31"/>
          <p:cNvSpPr/>
          <p:nvPr/>
        </p:nvSpPr>
        <p:spPr>
          <a:xfrm>
            <a:off x="4214877" y="3019426"/>
            <a:ext cx="976249" cy="523875"/>
          </a:xfrm>
          <a:custGeom>
            <a:avLst/>
            <a:gdLst/>
            <a:ahLst/>
            <a:cxnLst/>
            <a:rect l="l" t="t" r="r" b="b"/>
            <a:pathLst>
              <a:path w="976249" h="523875">
                <a:moveTo>
                  <a:pt x="0" y="0"/>
                </a:moveTo>
                <a:lnTo>
                  <a:pt x="976249" y="523875"/>
                </a:lnTo>
              </a:path>
            </a:pathLst>
          </a:custGeom>
          <a:ln w="25400">
            <a:solidFill>
              <a:srgbClr val="000000"/>
            </a:solidFill>
          </a:ln>
        </p:spPr>
        <p:txBody>
          <a:bodyPr wrap="square" lIns="0" tIns="0" rIns="0" bIns="0" rtlCol="0">
            <a:noAutofit/>
          </a:bodyPr>
          <a:lstStyle/>
          <a:p>
            <a:endParaRPr/>
          </a:p>
        </p:txBody>
      </p:sp>
      <p:sp>
        <p:nvSpPr>
          <p:cNvPr id="29" name="object 29"/>
          <p:cNvSpPr/>
          <p:nvPr/>
        </p:nvSpPr>
        <p:spPr>
          <a:xfrm>
            <a:off x="4191001" y="3971925"/>
            <a:ext cx="512825" cy="0"/>
          </a:xfrm>
          <a:custGeom>
            <a:avLst/>
            <a:gdLst/>
            <a:ahLst/>
            <a:cxnLst/>
            <a:rect l="l" t="t" r="r" b="b"/>
            <a:pathLst>
              <a:path w="512825">
                <a:moveTo>
                  <a:pt x="0" y="0"/>
                </a:moveTo>
                <a:lnTo>
                  <a:pt x="512825" y="0"/>
                </a:lnTo>
              </a:path>
            </a:pathLst>
          </a:custGeom>
          <a:ln w="25400">
            <a:solidFill>
              <a:srgbClr val="000000"/>
            </a:solidFill>
          </a:ln>
        </p:spPr>
        <p:txBody>
          <a:bodyPr wrap="square" lIns="0" tIns="0" rIns="0" bIns="0" rtlCol="0">
            <a:noAutofit/>
          </a:bodyPr>
          <a:lstStyle/>
          <a:p>
            <a:endParaRPr/>
          </a:p>
        </p:txBody>
      </p:sp>
      <p:sp>
        <p:nvSpPr>
          <p:cNvPr id="30" name="object 30"/>
          <p:cNvSpPr/>
          <p:nvPr/>
        </p:nvSpPr>
        <p:spPr>
          <a:xfrm>
            <a:off x="4703826" y="3949636"/>
            <a:ext cx="474662" cy="284162"/>
          </a:xfrm>
          <a:custGeom>
            <a:avLst/>
            <a:gdLst/>
            <a:ahLst/>
            <a:cxnLst/>
            <a:rect l="l" t="t" r="r" b="b"/>
            <a:pathLst>
              <a:path w="474662" h="284162">
                <a:moveTo>
                  <a:pt x="0" y="284162"/>
                </a:moveTo>
                <a:lnTo>
                  <a:pt x="474662" y="284162"/>
                </a:lnTo>
                <a:lnTo>
                  <a:pt x="474662" y="0"/>
                </a:lnTo>
                <a:lnTo>
                  <a:pt x="0" y="0"/>
                </a:lnTo>
                <a:lnTo>
                  <a:pt x="0" y="284162"/>
                </a:lnTo>
                <a:close/>
              </a:path>
            </a:pathLst>
          </a:custGeom>
          <a:ln w="25400">
            <a:solidFill>
              <a:srgbClr val="000000"/>
            </a:solidFill>
          </a:ln>
        </p:spPr>
        <p:txBody>
          <a:bodyPr wrap="square" lIns="0" tIns="0" rIns="0" bIns="0" rtlCol="0">
            <a:noAutofit/>
          </a:bodyPr>
          <a:lstStyle/>
          <a:p>
            <a:endParaRPr/>
          </a:p>
        </p:txBody>
      </p:sp>
      <p:sp>
        <p:nvSpPr>
          <p:cNvPr id="25" name="object 25"/>
          <p:cNvSpPr txBox="1"/>
          <p:nvPr/>
        </p:nvSpPr>
        <p:spPr>
          <a:xfrm>
            <a:off x="5455412" y="2040525"/>
            <a:ext cx="1303284" cy="584708"/>
          </a:xfrm>
          <a:prstGeom prst="rect">
            <a:avLst/>
          </a:prstGeom>
        </p:spPr>
        <p:txBody>
          <a:bodyPr wrap="square" lIns="0" tIns="0" rIns="0" bIns="0" rtlCol="0">
            <a:noAutofit/>
          </a:bodyPr>
          <a:lstStyle/>
          <a:p>
            <a:pPr marL="191223" marR="214461" algn="ctr">
              <a:lnSpc>
                <a:spcPts val="2150"/>
              </a:lnSpc>
              <a:spcBef>
                <a:spcPts val="107"/>
              </a:spcBef>
            </a:pPr>
            <a:r>
              <a:rPr sz="2000" b="1" dirty="0">
                <a:latin typeface="Arial"/>
                <a:cs typeface="Arial"/>
              </a:rPr>
              <a:t>Output</a:t>
            </a:r>
            <a:endParaRPr sz="2000">
              <a:latin typeface="Arial"/>
              <a:cs typeface="Arial"/>
            </a:endParaRPr>
          </a:p>
          <a:p>
            <a:pPr algn="ctr">
              <a:lnSpc>
                <a:spcPct val="95825"/>
              </a:lnSpc>
            </a:pPr>
            <a:r>
              <a:rPr sz="2000" b="1" dirty="0">
                <a:latin typeface="Arial"/>
                <a:cs typeface="Arial"/>
              </a:rPr>
              <a:t>Procedure</a:t>
            </a:r>
            <a:endParaRPr sz="2000">
              <a:latin typeface="Arial"/>
              <a:cs typeface="Arial"/>
            </a:endParaRPr>
          </a:p>
        </p:txBody>
      </p:sp>
      <p:sp>
        <p:nvSpPr>
          <p:cNvPr id="24" name="object 24"/>
          <p:cNvSpPr txBox="1"/>
          <p:nvPr/>
        </p:nvSpPr>
        <p:spPr>
          <a:xfrm>
            <a:off x="2816734" y="2077101"/>
            <a:ext cx="1006019" cy="584708"/>
          </a:xfrm>
          <a:prstGeom prst="rect">
            <a:avLst/>
          </a:prstGeom>
        </p:spPr>
        <p:txBody>
          <a:bodyPr wrap="square" lIns="0" tIns="0" rIns="0" bIns="0" rtlCol="0">
            <a:noAutofit/>
          </a:bodyPr>
          <a:lstStyle/>
          <a:p>
            <a:pPr algn="ctr">
              <a:lnSpc>
                <a:spcPts val="2150"/>
              </a:lnSpc>
              <a:spcBef>
                <a:spcPts val="107"/>
              </a:spcBef>
            </a:pPr>
            <a:r>
              <a:rPr sz="2000" b="1" dirty="0">
                <a:latin typeface="Arial"/>
                <a:cs typeface="Arial"/>
              </a:rPr>
              <a:t>Number</a:t>
            </a:r>
            <a:endParaRPr sz="2000">
              <a:latin typeface="Arial"/>
              <a:cs typeface="Arial"/>
            </a:endParaRPr>
          </a:p>
          <a:p>
            <a:pPr marL="72351" marR="91805" algn="ctr">
              <a:lnSpc>
                <a:spcPct val="95825"/>
              </a:lnSpc>
            </a:pPr>
            <a:r>
              <a:rPr sz="2000" b="1" dirty="0">
                <a:latin typeface="Arial"/>
                <a:cs typeface="Arial"/>
              </a:rPr>
              <a:t>R</a:t>
            </a:r>
            <a:r>
              <a:rPr sz="2000" b="1" spc="4" dirty="0">
                <a:latin typeface="Arial"/>
                <a:cs typeface="Arial"/>
              </a:rPr>
              <a:t>a</a:t>
            </a:r>
            <a:r>
              <a:rPr sz="2000" b="1" dirty="0">
                <a:latin typeface="Arial"/>
                <a:cs typeface="Arial"/>
              </a:rPr>
              <a:t>nge</a:t>
            </a:r>
            <a:endParaRPr sz="2000">
              <a:latin typeface="Arial"/>
              <a:cs typeface="Arial"/>
            </a:endParaRPr>
          </a:p>
        </p:txBody>
      </p:sp>
      <p:sp>
        <p:nvSpPr>
          <p:cNvPr id="23" name="object 23"/>
          <p:cNvSpPr txBox="1"/>
          <p:nvPr/>
        </p:nvSpPr>
        <p:spPr>
          <a:xfrm>
            <a:off x="8265668" y="2077101"/>
            <a:ext cx="1303284" cy="584708"/>
          </a:xfrm>
          <a:prstGeom prst="rect">
            <a:avLst/>
          </a:prstGeom>
        </p:spPr>
        <p:txBody>
          <a:bodyPr wrap="square" lIns="0" tIns="0" rIns="0" bIns="0" rtlCol="0">
            <a:noAutofit/>
          </a:bodyPr>
          <a:lstStyle/>
          <a:p>
            <a:pPr marL="163791" marR="184884" algn="ctr">
              <a:lnSpc>
                <a:spcPts val="2150"/>
              </a:lnSpc>
              <a:spcBef>
                <a:spcPts val="107"/>
              </a:spcBef>
            </a:pPr>
            <a:r>
              <a:rPr sz="2000" b="1" dirty="0">
                <a:latin typeface="Arial"/>
                <a:cs typeface="Arial"/>
              </a:rPr>
              <a:t>Partner</a:t>
            </a:r>
            <a:endParaRPr sz="2000">
              <a:latin typeface="Arial"/>
              <a:cs typeface="Arial"/>
            </a:endParaRPr>
          </a:p>
          <a:p>
            <a:pPr algn="ctr">
              <a:lnSpc>
                <a:spcPct val="95825"/>
              </a:lnSpc>
            </a:pPr>
            <a:r>
              <a:rPr sz="2000" b="1" dirty="0">
                <a:latin typeface="Arial"/>
                <a:cs typeface="Arial"/>
              </a:rPr>
              <a:t>Procedure</a:t>
            </a:r>
            <a:endParaRPr sz="2000">
              <a:latin typeface="Arial"/>
              <a:cs typeface="Arial"/>
            </a:endParaRPr>
          </a:p>
        </p:txBody>
      </p:sp>
      <p:sp>
        <p:nvSpPr>
          <p:cNvPr id="22" name="object 22"/>
          <p:cNvSpPr txBox="1"/>
          <p:nvPr/>
        </p:nvSpPr>
        <p:spPr>
          <a:xfrm>
            <a:off x="8098282" y="3472832"/>
            <a:ext cx="1758108" cy="889507"/>
          </a:xfrm>
          <a:prstGeom prst="rect">
            <a:avLst/>
          </a:prstGeom>
        </p:spPr>
        <p:txBody>
          <a:bodyPr wrap="square" lIns="0" tIns="0" rIns="0" bIns="0" rtlCol="0">
            <a:noAutofit/>
          </a:bodyPr>
          <a:lstStyle/>
          <a:p>
            <a:pPr marL="326859" marR="349131" algn="ctr">
              <a:lnSpc>
                <a:spcPts val="2150"/>
              </a:lnSpc>
              <a:spcBef>
                <a:spcPts val="107"/>
              </a:spcBef>
            </a:pPr>
            <a:r>
              <a:rPr sz="2000" b="1" dirty="0">
                <a:latin typeface="Arial"/>
                <a:cs typeface="Arial"/>
              </a:rPr>
              <a:t>A</a:t>
            </a:r>
            <a:r>
              <a:rPr sz="2000" b="1" spc="4" dirty="0">
                <a:latin typeface="Arial"/>
                <a:cs typeface="Arial"/>
              </a:rPr>
              <a:t>c</a:t>
            </a:r>
            <a:r>
              <a:rPr sz="2000" b="1" dirty="0">
                <a:latin typeface="Arial"/>
                <a:cs typeface="Arial"/>
              </a:rPr>
              <a:t>count</a:t>
            </a:r>
            <a:endParaRPr sz="2000">
              <a:latin typeface="Arial"/>
              <a:cs typeface="Arial"/>
            </a:endParaRPr>
          </a:p>
          <a:p>
            <a:pPr algn="ctr">
              <a:lnSpc>
                <a:spcPct val="95825"/>
              </a:lnSpc>
            </a:pPr>
            <a:r>
              <a:rPr sz="2000" b="1" dirty="0">
                <a:latin typeface="Arial"/>
                <a:cs typeface="Arial"/>
              </a:rPr>
              <a:t>D</a:t>
            </a:r>
            <a:r>
              <a:rPr sz="2000" b="1" spc="4" dirty="0">
                <a:latin typeface="Arial"/>
                <a:cs typeface="Arial"/>
              </a:rPr>
              <a:t>e</a:t>
            </a:r>
            <a:r>
              <a:rPr sz="2000" b="1" dirty="0">
                <a:latin typeface="Arial"/>
                <a:cs typeface="Arial"/>
              </a:rPr>
              <a:t>t</a:t>
            </a:r>
            <a:r>
              <a:rPr sz="2000" b="1" spc="4" dirty="0">
                <a:latin typeface="Arial"/>
                <a:cs typeface="Arial"/>
              </a:rPr>
              <a:t>e</a:t>
            </a:r>
            <a:r>
              <a:rPr sz="2000" b="1" dirty="0">
                <a:latin typeface="Arial"/>
                <a:cs typeface="Arial"/>
              </a:rPr>
              <a:t>rm</a:t>
            </a:r>
            <a:r>
              <a:rPr sz="2000" b="1" spc="-9" dirty="0">
                <a:latin typeface="Arial"/>
                <a:cs typeface="Arial"/>
              </a:rPr>
              <a:t>i</a:t>
            </a:r>
            <a:r>
              <a:rPr sz="2000" b="1" dirty="0">
                <a:latin typeface="Arial"/>
                <a:cs typeface="Arial"/>
              </a:rPr>
              <a:t>nation</a:t>
            </a:r>
            <a:endParaRPr sz="2000">
              <a:latin typeface="Arial"/>
              <a:cs typeface="Arial"/>
            </a:endParaRPr>
          </a:p>
          <a:p>
            <a:pPr marL="206463" marR="229271" algn="ctr">
              <a:lnSpc>
                <a:spcPct val="95825"/>
              </a:lnSpc>
              <a:spcBef>
                <a:spcPts val="100"/>
              </a:spcBef>
            </a:pPr>
            <a:r>
              <a:rPr sz="2000" b="1" dirty="0">
                <a:latin typeface="Arial"/>
                <a:cs typeface="Arial"/>
              </a:rPr>
              <a:t>Procedure</a:t>
            </a:r>
            <a:endParaRPr sz="2000">
              <a:latin typeface="Arial"/>
              <a:cs typeface="Arial"/>
            </a:endParaRPr>
          </a:p>
        </p:txBody>
      </p:sp>
      <p:sp>
        <p:nvSpPr>
          <p:cNvPr id="21" name="object 21"/>
          <p:cNvSpPr txBox="1"/>
          <p:nvPr/>
        </p:nvSpPr>
        <p:spPr>
          <a:xfrm>
            <a:off x="2493365" y="3601483"/>
            <a:ext cx="1576880" cy="584707"/>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C</a:t>
            </a:r>
            <a:r>
              <a:rPr sz="2000" b="1" spc="4" dirty="0">
                <a:latin typeface="Arial"/>
                <a:cs typeface="Arial"/>
              </a:rPr>
              <a:t>a</a:t>
            </a:r>
            <a:r>
              <a:rPr sz="2000" b="1" dirty="0">
                <a:latin typeface="Arial"/>
                <a:cs typeface="Arial"/>
              </a:rPr>
              <a:t>ncel</a:t>
            </a:r>
            <a:r>
              <a:rPr sz="2000" b="1" spc="-9" dirty="0">
                <a:latin typeface="Arial"/>
                <a:cs typeface="Arial"/>
              </a:rPr>
              <a:t>l</a:t>
            </a:r>
            <a:r>
              <a:rPr sz="2000" b="1" dirty="0">
                <a:latin typeface="Arial"/>
                <a:cs typeface="Arial"/>
              </a:rPr>
              <a:t>a</a:t>
            </a:r>
            <a:r>
              <a:rPr sz="2000" b="1" spc="4" dirty="0">
                <a:latin typeface="Arial"/>
                <a:cs typeface="Arial"/>
              </a:rPr>
              <a:t>t</a:t>
            </a:r>
            <a:r>
              <a:rPr sz="2000" b="1" dirty="0">
                <a:latin typeface="Arial"/>
                <a:cs typeface="Arial"/>
              </a:rPr>
              <a:t>ion</a:t>
            </a:r>
            <a:endParaRPr sz="2000">
              <a:latin typeface="Arial"/>
              <a:cs typeface="Arial"/>
            </a:endParaRPr>
          </a:p>
          <a:p>
            <a:pPr marL="62991" marR="38176">
              <a:lnSpc>
                <a:spcPct val="95825"/>
              </a:lnSpc>
            </a:pPr>
            <a:r>
              <a:rPr sz="2000" b="1" dirty="0">
                <a:latin typeface="Arial"/>
                <a:cs typeface="Arial"/>
              </a:rPr>
              <a:t>Bil</a:t>
            </a:r>
            <a:r>
              <a:rPr sz="2000" b="1" spc="-9" dirty="0">
                <a:latin typeface="Arial"/>
                <a:cs typeface="Arial"/>
              </a:rPr>
              <a:t>l</a:t>
            </a:r>
            <a:r>
              <a:rPr sz="2000" b="1" dirty="0">
                <a:latin typeface="Arial"/>
                <a:cs typeface="Arial"/>
              </a:rPr>
              <a:t>ing</a:t>
            </a:r>
            <a:r>
              <a:rPr sz="2000" b="1" spc="-34" dirty="0">
                <a:latin typeface="Arial"/>
                <a:cs typeface="Arial"/>
              </a:rPr>
              <a:t> </a:t>
            </a:r>
            <a:r>
              <a:rPr sz="2000" b="1" spc="-144" dirty="0">
                <a:latin typeface="Arial"/>
                <a:cs typeface="Arial"/>
              </a:rPr>
              <a:t>T</a:t>
            </a:r>
            <a:r>
              <a:rPr sz="2000" b="1" spc="-34" dirty="0">
                <a:latin typeface="Arial"/>
                <a:cs typeface="Arial"/>
              </a:rPr>
              <a:t>y</a:t>
            </a:r>
            <a:r>
              <a:rPr sz="2000" b="1" dirty="0">
                <a:latin typeface="Arial"/>
                <a:cs typeface="Arial"/>
              </a:rPr>
              <a:t>pe</a:t>
            </a:r>
            <a:endParaRPr sz="2000">
              <a:latin typeface="Arial"/>
              <a:cs typeface="Arial"/>
            </a:endParaRPr>
          </a:p>
        </p:txBody>
      </p:sp>
      <p:sp>
        <p:nvSpPr>
          <p:cNvPr id="20" name="object 20"/>
          <p:cNvSpPr txBox="1"/>
          <p:nvPr/>
        </p:nvSpPr>
        <p:spPr>
          <a:xfrm>
            <a:off x="5696204" y="3814843"/>
            <a:ext cx="820992" cy="584961"/>
          </a:xfrm>
          <a:prstGeom prst="rect">
            <a:avLst/>
          </a:prstGeom>
        </p:spPr>
        <p:txBody>
          <a:bodyPr wrap="square" lIns="0" tIns="0" rIns="0" bIns="0" rtlCol="0">
            <a:noAutofit/>
          </a:bodyPr>
          <a:lstStyle/>
          <a:p>
            <a:pPr algn="ctr">
              <a:lnSpc>
                <a:spcPts val="2150"/>
              </a:lnSpc>
              <a:spcBef>
                <a:spcPts val="107"/>
              </a:spcBef>
            </a:pPr>
            <a:r>
              <a:rPr sz="2000" b="1" dirty="0">
                <a:solidFill>
                  <a:srgbClr val="FFFFFF"/>
                </a:solidFill>
                <a:latin typeface="Arial"/>
                <a:cs typeface="Arial"/>
              </a:rPr>
              <a:t>Bil</a:t>
            </a:r>
            <a:r>
              <a:rPr sz="2000" b="1" spc="-9" dirty="0">
                <a:solidFill>
                  <a:srgbClr val="FFFFFF"/>
                </a:solidFill>
                <a:latin typeface="Arial"/>
                <a:cs typeface="Arial"/>
              </a:rPr>
              <a:t>l</a:t>
            </a:r>
            <a:r>
              <a:rPr sz="2000" b="1" dirty="0">
                <a:solidFill>
                  <a:srgbClr val="FFFFFF"/>
                </a:solidFill>
                <a:latin typeface="Arial"/>
                <a:cs typeface="Arial"/>
              </a:rPr>
              <a:t>ing</a:t>
            </a:r>
            <a:endParaRPr sz="2000">
              <a:latin typeface="Arial"/>
              <a:cs typeface="Arial"/>
            </a:endParaRPr>
          </a:p>
          <a:p>
            <a:pPr marL="83019" marR="103025" algn="ctr">
              <a:lnSpc>
                <a:spcPct val="95825"/>
              </a:lnSpc>
            </a:pPr>
            <a:r>
              <a:rPr sz="2000" b="1" spc="-144" dirty="0">
                <a:solidFill>
                  <a:srgbClr val="FFFFFF"/>
                </a:solidFill>
                <a:latin typeface="Arial"/>
                <a:cs typeface="Arial"/>
              </a:rPr>
              <a:t>T</a:t>
            </a:r>
            <a:r>
              <a:rPr sz="2000" b="1" spc="-34" dirty="0">
                <a:solidFill>
                  <a:srgbClr val="FFFFFF"/>
                </a:solidFill>
                <a:latin typeface="Arial"/>
                <a:cs typeface="Arial"/>
              </a:rPr>
              <a:t>y</a:t>
            </a:r>
            <a:r>
              <a:rPr sz="2000" b="1" dirty="0">
                <a:solidFill>
                  <a:srgbClr val="FFFFFF"/>
                </a:solidFill>
                <a:latin typeface="Arial"/>
                <a:cs typeface="Arial"/>
              </a:rPr>
              <a:t>pe</a:t>
            </a:r>
            <a:endParaRPr sz="2000">
              <a:latin typeface="Arial"/>
              <a:cs typeface="Arial"/>
            </a:endParaRPr>
          </a:p>
        </p:txBody>
      </p:sp>
      <p:sp>
        <p:nvSpPr>
          <p:cNvPr id="19" name="object 19"/>
          <p:cNvSpPr txBox="1"/>
          <p:nvPr/>
        </p:nvSpPr>
        <p:spPr>
          <a:xfrm>
            <a:off x="2552802" y="5149486"/>
            <a:ext cx="1440209" cy="584733"/>
          </a:xfrm>
          <a:prstGeom prst="rect">
            <a:avLst/>
          </a:prstGeom>
        </p:spPr>
        <p:txBody>
          <a:bodyPr wrap="square" lIns="0" tIns="0" rIns="0" bIns="0" rtlCol="0">
            <a:noAutofit/>
          </a:bodyPr>
          <a:lstStyle/>
          <a:p>
            <a:pPr algn="ctr">
              <a:lnSpc>
                <a:spcPts val="2150"/>
              </a:lnSpc>
              <a:spcBef>
                <a:spcPts val="107"/>
              </a:spcBef>
            </a:pPr>
            <a:r>
              <a:rPr sz="2000" b="1" dirty="0">
                <a:latin typeface="Arial"/>
                <a:cs typeface="Arial"/>
              </a:rPr>
              <a:t>In</a:t>
            </a:r>
            <a:r>
              <a:rPr sz="2000" b="1" spc="-29" dirty="0">
                <a:latin typeface="Arial"/>
                <a:cs typeface="Arial"/>
              </a:rPr>
              <a:t>v</a:t>
            </a:r>
            <a:r>
              <a:rPr sz="2000" b="1" dirty="0">
                <a:latin typeface="Arial"/>
                <a:cs typeface="Arial"/>
              </a:rPr>
              <a:t>oice List</a:t>
            </a:r>
            <a:endParaRPr sz="2000">
              <a:latin typeface="Arial"/>
              <a:cs typeface="Arial"/>
            </a:endParaRPr>
          </a:p>
          <a:p>
            <a:pPr marL="392417" marR="412846" algn="ctr">
              <a:lnSpc>
                <a:spcPct val="95825"/>
              </a:lnSpc>
            </a:pPr>
            <a:r>
              <a:rPr sz="2000" b="1" spc="-144" dirty="0">
                <a:latin typeface="Arial"/>
                <a:cs typeface="Arial"/>
              </a:rPr>
              <a:t>T</a:t>
            </a:r>
            <a:r>
              <a:rPr sz="2000" b="1" spc="-34" dirty="0">
                <a:latin typeface="Arial"/>
                <a:cs typeface="Arial"/>
              </a:rPr>
              <a:t>y</a:t>
            </a:r>
            <a:r>
              <a:rPr sz="2000" b="1" dirty="0">
                <a:latin typeface="Arial"/>
                <a:cs typeface="Arial"/>
              </a:rPr>
              <a:t>pe</a:t>
            </a:r>
            <a:endParaRPr sz="2000">
              <a:latin typeface="Arial"/>
              <a:cs typeface="Arial"/>
            </a:endParaRPr>
          </a:p>
        </p:txBody>
      </p:sp>
      <p:sp>
        <p:nvSpPr>
          <p:cNvPr id="18" name="object 18"/>
          <p:cNvSpPr txBox="1"/>
          <p:nvPr/>
        </p:nvSpPr>
        <p:spPr>
          <a:xfrm>
            <a:off x="8403464" y="5149486"/>
            <a:ext cx="996857" cy="584733"/>
          </a:xfrm>
          <a:prstGeom prst="rect">
            <a:avLst/>
          </a:prstGeom>
        </p:spPr>
        <p:txBody>
          <a:bodyPr wrap="square" lIns="0" tIns="0" rIns="0" bIns="0" rtlCol="0">
            <a:noAutofit/>
          </a:bodyPr>
          <a:lstStyle/>
          <a:p>
            <a:pPr marL="12700">
              <a:lnSpc>
                <a:spcPts val="2150"/>
              </a:lnSpc>
              <a:spcBef>
                <a:spcPts val="107"/>
              </a:spcBef>
            </a:pPr>
            <a:r>
              <a:rPr sz="2000" b="1" dirty="0">
                <a:latin typeface="Arial"/>
                <a:cs typeface="Arial"/>
              </a:rPr>
              <a:t>Posting</a:t>
            </a:r>
            <a:endParaRPr sz="2000">
              <a:latin typeface="Arial"/>
              <a:cs typeface="Arial"/>
            </a:endParaRPr>
          </a:p>
          <a:p>
            <a:pPr marL="55371" marR="38176">
              <a:lnSpc>
                <a:spcPct val="95825"/>
              </a:lnSpc>
            </a:pPr>
            <a:r>
              <a:rPr sz="2000" b="1" dirty="0">
                <a:latin typeface="Arial"/>
                <a:cs typeface="Arial"/>
              </a:rPr>
              <a:t>Block?</a:t>
            </a:r>
            <a:endParaRPr sz="2000">
              <a:latin typeface="Arial"/>
              <a:cs typeface="Arial"/>
            </a:endParaRPr>
          </a:p>
        </p:txBody>
      </p:sp>
      <p:sp>
        <p:nvSpPr>
          <p:cNvPr id="17" name="object 17"/>
          <p:cNvSpPr txBox="1"/>
          <p:nvPr/>
        </p:nvSpPr>
        <p:spPr>
          <a:xfrm>
            <a:off x="5554473" y="5508260"/>
            <a:ext cx="1102477" cy="889812"/>
          </a:xfrm>
          <a:prstGeom prst="rect">
            <a:avLst/>
          </a:prstGeom>
        </p:spPr>
        <p:txBody>
          <a:bodyPr wrap="square" lIns="0" tIns="0" rIns="0" bIns="0" rtlCol="0">
            <a:noAutofit/>
          </a:bodyPr>
          <a:lstStyle/>
          <a:p>
            <a:pPr algn="ctr">
              <a:lnSpc>
                <a:spcPts val="2150"/>
              </a:lnSpc>
              <a:spcBef>
                <a:spcPts val="107"/>
              </a:spcBef>
            </a:pPr>
            <a:r>
              <a:rPr sz="2000" b="1" dirty="0">
                <a:latin typeface="Arial"/>
                <a:cs typeface="Arial"/>
              </a:rPr>
              <a:t>R</a:t>
            </a:r>
            <a:r>
              <a:rPr sz="2000" b="1" spc="4" dirty="0">
                <a:latin typeface="Arial"/>
                <a:cs typeface="Arial"/>
              </a:rPr>
              <a:t>e</a:t>
            </a:r>
            <a:r>
              <a:rPr sz="2000" b="1" dirty="0">
                <a:latin typeface="Arial"/>
                <a:cs typeface="Arial"/>
              </a:rPr>
              <a:t>le</a:t>
            </a:r>
            <a:r>
              <a:rPr sz="2000" b="1" spc="-25" dirty="0">
                <a:latin typeface="Arial"/>
                <a:cs typeface="Arial"/>
              </a:rPr>
              <a:t>v</a:t>
            </a:r>
            <a:r>
              <a:rPr sz="2000" b="1" dirty="0">
                <a:latin typeface="Arial"/>
                <a:cs typeface="Arial"/>
              </a:rPr>
              <a:t>ant</a:t>
            </a:r>
            <a:endParaRPr sz="2000">
              <a:latin typeface="Arial"/>
              <a:cs typeface="Arial"/>
            </a:endParaRPr>
          </a:p>
          <a:p>
            <a:pPr marL="338012" marR="355995" algn="ctr">
              <a:lnSpc>
                <a:spcPct val="95825"/>
              </a:lnSpc>
            </a:pPr>
            <a:r>
              <a:rPr sz="2000" b="1" dirty="0">
                <a:latin typeface="Arial"/>
                <a:cs typeface="Arial"/>
              </a:rPr>
              <a:t>for</a:t>
            </a:r>
            <a:endParaRPr sz="2000">
              <a:latin typeface="Arial"/>
              <a:cs typeface="Arial"/>
            </a:endParaRPr>
          </a:p>
          <a:p>
            <a:pPr marL="6819" marR="26775" algn="ctr">
              <a:lnSpc>
                <a:spcPct val="95825"/>
              </a:lnSpc>
              <a:spcBef>
                <a:spcPts val="100"/>
              </a:spcBef>
            </a:pPr>
            <a:r>
              <a:rPr sz="2000" b="1" dirty="0">
                <a:latin typeface="Arial"/>
                <a:cs typeface="Arial"/>
              </a:rPr>
              <a:t>R</a:t>
            </a:r>
            <a:r>
              <a:rPr sz="2000" b="1" spc="4" dirty="0">
                <a:latin typeface="Arial"/>
                <a:cs typeface="Arial"/>
              </a:rPr>
              <a:t>e</a:t>
            </a:r>
            <a:r>
              <a:rPr sz="2000" b="1" dirty="0">
                <a:latin typeface="Arial"/>
                <a:cs typeface="Arial"/>
              </a:rPr>
              <a:t>bat</a:t>
            </a:r>
            <a:r>
              <a:rPr sz="2000" b="1" spc="4" dirty="0">
                <a:latin typeface="Arial"/>
                <a:cs typeface="Arial"/>
              </a:rPr>
              <a:t>e</a:t>
            </a:r>
            <a:r>
              <a:rPr sz="2000" b="1" dirty="0">
                <a:latin typeface="Arial"/>
                <a:cs typeface="Arial"/>
              </a:rPr>
              <a:t>?</a:t>
            </a:r>
            <a:endParaRPr sz="2000">
              <a:latin typeface="Arial"/>
              <a:cs typeface="Arial"/>
            </a:endParaRPr>
          </a:p>
        </p:txBody>
      </p:sp>
      <p:sp>
        <p:nvSpPr>
          <p:cNvPr id="15" name="object 15"/>
          <p:cNvSpPr txBox="1"/>
          <p:nvPr/>
        </p:nvSpPr>
        <p:spPr>
          <a:xfrm>
            <a:off x="5851525" y="4691062"/>
            <a:ext cx="474662" cy="284162"/>
          </a:xfrm>
          <a:prstGeom prst="rect">
            <a:avLst/>
          </a:prstGeom>
        </p:spPr>
        <p:txBody>
          <a:bodyPr wrap="square" lIns="0" tIns="0" rIns="0" bIns="0" rtlCol="0">
            <a:noAutofit/>
          </a:bodyPr>
          <a:lstStyle/>
          <a:p>
            <a:pPr marL="62229">
              <a:lnSpc>
                <a:spcPts val="2240"/>
              </a:lnSpc>
              <a:spcBef>
                <a:spcPts val="111"/>
              </a:spcBef>
            </a:pPr>
            <a:r>
              <a:rPr sz="3000" b="1" spc="4" baseline="-2898" dirty="0">
                <a:latin typeface="Arial"/>
                <a:cs typeface="Arial"/>
              </a:rPr>
              <a:t>BV</a:t>
            </a:r>
            <a:endParaRPr sz="2000">
              <a:latin typeface="Arial"/>
              <a:cs typeface="Arial"/>
            </a:endParaRPr>
          </a:p>
        </p:txBody>
      </p:sp>
      <p:sp>
        <p:nvSpPr>
          <p:cNvPr id="14" name="object 14"/>
          <p:cNvSpPr txBox="1"/>
          <p:nvPr/>
        </p:nvSpPr>
        <p:spPr>
          <a:xfrm>
            <a:off x="5851526" y="4975225"/>
            <a:ext cx="220725" cy="306450"/>
          </a:xfrm>
          <a:prstGeom prst="rect">
            <a:avLst/>
          </a:prstGeom>
        </p:spPr>
        <p:txBody>
          <a:bodyPr wrap="square" lIns="0" tIns="0" rIns="0" bIns="0" rtlCol="0">
            <a:noAutofit/>
          </a:bodyPr>
          <a:lstStyle/>
          <a:p>
            <a:pPr marL="25400">
              <a:lnSpc>
                <a:spcPts val="1000"/>
              </a:lnSpc>
            </a:pPr>
            <a:endParaRPr sz="1000"/>
          </a:p>
        </p:txBody>
      </p:sp>
      <p:sp>
        <p:nvSpPr>
          <p:cNvPr id="13" name="object 13"/>
          <p:cNvSpPr txBox="1"/>
          <p:nvPr/>
        </p:nvSpPr>
        <p:spPr>
          <a:xfrm>
            <a:off x="6072251" y="4975225"/>
            <a:ext cx="253936" cy="306450"/>
          </a:xfrm>
          <a:prstGeom prst="rect">
            <a:avLst/>
          </a:prstGeom>
        </p:spPr>
        <p:txBody>
          <a:bodyPr wrap="square" lIns="0" tIns="0" rIns="0" bIns="0" rtlCol="0">
            <a:noAutofit/>
          </a:bodyPr>
          <a:lstStyle/>
          <a:p>
            <a:pPr marL="25400">
              <a:lnSpc>
                <a:spcPts val="1000"/>
              </a:lnSpc>
            </a:pPr>
            <a:endParaRPr sz="1000"/>
          </a:p>
        </p:txBody>
      </p:sp>
      <p:sp>
        <p:nvSpPr>
          <p:cNvPr id="12" name="object 12"/>
          <p:cNvSpPr txBox="1"/>
          <p:nvPr/>
        </p:nvSpPr>
        <p:spPr>
          <a:xfrm>
            <a:off x="4924425" y="4705286"/>
            <a:ext cx="474662" cy="284162"/>
          </a:xfrm>
          <a:prstGeom prst="rect">
            <a:avLst/>
          </a:prstGeom>
        </p:spPr>
        <p:txBody>
          <a:bodyPr wrap="square" lIns="0" tIns="0" rIns="0" bIns="0" rtlCol="0">
            <a:noAutofit/>
          </a:bodyPr>
          <a:lstStyle/>
          <a:p>
            <a:pPr marL="89280">
              <a:lnSpc>
                <a:spcPts val="2240"/>
              </a:lnSpc>
              <a:spcBef>
                <a:spcPts val="111"/>
              </a:spcBef>
            </a:pPr>
            <a:r>
              <a:rPr sz="3000" b="1" baseline="-2898" dirty="0">
                <a:latin typeface="Arial"/>
                <a:cs typeface="Arial"/>
              </a:rPr>
              <a:t>L2</a:t>
            </a:r>
            <a:endParaRPr sz="2000">
              <a:latin typeface="Arial"/>
              <a:cs typeface="Arial"/>
            </a:endParaRPr>
          </a:p>
        </p:txBody>
      </p:sp>
      <p:sp>
        <p:nvSpPr>
          <p:cNvPr id="11" name="object 11"/>
          <p:cNvSpPr txBox="1"/>
          <p:nvPr/>
        </p:nvSpPr>
        <p:spPr>
          <a:xfrm>
            <a:off x="6953250" y="3960780"/>
            <a:ext cx="84200" cy="273018"/>
          </a:xfrm>
          <a:prstGeom prst="rect">
            <a:avLst/>
          </a:prstGeom>
        </p:spPr>
        <p:txBody>
          <a:bodyPr wrap="square" lIns="0" tIns="0" rIns="0" bIns="0" rtlCol="0">
            <a:noAutofit/>
          </a:bodyPr>
          <a:lstStyle/>
          <a:p>
            <a:pPr marL="25400">
              <a:lnSpc>
                <a:spcPts val="1000"/>
              </a:lnSpc>
            </a:pPr>
            <a:endParaRPr sz="1000"/>
          </a:p>
        </p:txBody>
      </p:sp>
      <p:sp>
        <p:nvSpPr>
          <p:cNvPr id="10" name="object 10"/>
          <p:cNvSpPr txBox="1"/>
          <p:nvPr/>
        </p:nvSpPr>
        <p:spPr>
          <a:xfrm>
            <a:off x="7037451" y="3960780"/>
            <a:ext cx="474662" cy="273018"/>
          </a:xfrm>
          <a:prstGeom prst="rect">
            <a:avLst/>
          </a:prstGeom>
        </p:spPr>
        <p:txBody>
          <a:bodyPr wrap="square" lIns="0" tIns="0" rIns="0" bIns="0" rtlCol="0">
            <a:noAutofit/>
          </a:bodyPr>
          <a:lstStyle/>
          <a:p>
            <a:pPr marL="69214">
              <a:lnSpc>
                <a:spcPts val="2150"/>
              </a:lnSpc>
              <a:spcBef>
                <a:spcPts val="107"/>
              </a:spcBef>
            </a:pPr>
            <a:r>
              <a:rPr sz="3000" b="1" baseline="-1449" dirty="0">
                <a:latin typeface="Arial"/>
                <a:cs typeface="Arial"/>
              </a:rPr>
              <a:t>G2</a:t>
            </a:r>
            <a:endParaRPr sz="2000">
              <a:latin typeface="Arial"/>
              <a:cs typeface="Arial"/>
            </a:endParaRPr>
          </a:p>
        </p:txBody>
      </p:sp>
      <p:sp>
        <p:nvSpPr>
          <p:cNvPr id="9" name="object 9"/>
          <p:cNvSpPr txBox="1"/>
          <p:nvPr/>
        </p:nvSpPr>
        <p:spPr>
          <a:xfrm>
            <a:off x="7512113" y="3960780"/>
            <a:ext cx="393636" cy="273018"/>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4191001" y="3960780"/>
            <a:ext cx="512825" cy="273018"/>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4703826" y="3960780"/>
            <a:ext cx="474662" cy="273018"/>
          </a:xfrm>
          <a:prstGeom prst="rect">
            <a:avLst/>
          </a:prstGeom>
        </p:spPr>
        <p:txBody>
          <a:bodyPr wrap="square" lIns="0" tIns="0" rIns="0" bIns="0" rtlCol="0">
            <a:noAutofit/>
          </a:bodyPr>
          <a:lstStyle/>
          <a:p>
            <a:pPr marL="90043">
              <a:lnSpc>
                <a:spcPts val="2150"/>
              </a:lnSpc>
              <a:spcBef>
                <a:spcPts val="107"/>
              </a:spcBef>
            </a:pPr>
            <a:r>
              <a:rPr sz="3000" b="1" baseline="-1449" dirty="0">
                <a:latin typeface="Arial"/>
                <a:cs typeface="Arial"/>
              </a:rPr>
              <a:t>F5</a:t>
            </a:r>
            <a:endParaRPr sz="2000">
              <a:latin typeface="Arial"/>
              <a:cs typeface="Arial"/>
            </a:endParaRPr>
          </a:p>
        </p:txBody>
      </p:sp>
      <p:sp>
        <p:nvSpPr>
          <p:cNvPr id="6" name="object 6"/>
          <p:cNvSpPr txBox="1"/>
          <p:nvPr/>
        </p:nvSpPr>
        <p:spPr>
          <a:xfrm>
            <a:off x="5851526" y="2924175"/>
            <a:ext cx="220725" cy="246062"/>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6072251" y="2924175"/>
            <a:ext cx="253936" cy="246062"/>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5851525" y="3170237"/>
            <a:ext cx="474662" cy="284162"/>
          </a:xfrm>
          <a:prstGeom prst="rect">
            <a:avLst/>
          </a:prstGeom>
        </p:spPr>
        <p:txBody>
          <a:bodyPr wrap="square" lIns="0" tIns="0" rIns="0" bIns="0" rtlCol="0">
            <a:noAutofit/>
          </a:bodyPr>
          <a:lstStyle/>
          <a:p>
            <a:pPr marL="89662">
              <a:lnSpc>
                <a:spcPts val="2240"/>
              </a:lnSpc>
              <a:spcBef>
                <a:spcPts val="111"/>
              </a:spcBef>
            </a:pPr>
            <a:r>
              <a:rPr sz="3000" b="1" baseline="-2898" dirty="0">
                <a:latin typeface="Arial"/>
                <a:cs typeface="Arial"/>
              </a:rPr>
              <a:t>F2</a:t>
            </a:r>
            <a:endParaRPr sz="2000">
              <a:latin typeface="Arial"/>
              <a:cs typeface="Arial"/>
            </a:endParaRPr>
          </a:p>
        </p:txBody>
      </p:sp>
      <p:sp>
        <p:nvSpPr>
          <p:cNvPr id="3" name="object 3"/>
          <p:cNvSpPr txBox="1"/>
          <p:nvPr/>
        </p:nvSpPr>
        <p:spPr>
          <a:xfrm>
            <a:off x="5851526" y="3454400"/>
            <a:ext cx="220725" cy="88900"/>
          </a:xfrm>
          <a:prstGeom prst="rect">
            <a:avLst/>
          </a:prstGeom>
        </p:spPr>
        <p:txBody>
          <a:bodyPr wrap="square" lIns="0" tIns="0" rIns="0" bIns="0" rtlCol="0">
            <a:noAutofit/>
          </a:bodyPr>
          <a:lstStyle/>
          <a:p>
            <a:pPr marL="25400">
              <a:lnSpc>
                <a:spcPts val="700"/>
              </a:lnSpc>
            </a:pPr>
            <a:endParaRPr sz="700"/>
          </a:p>
        </p:txBody>
      </p:sp>
      <p:sp>
        <p:nvSpPr>
          <p:cNvPr id="2" name="object 2"/>
          <p:cNvSpPr txBox="1"/>
          <p:nvPr/>
        </p:nvSpPr>
        <p:spPr>
          <a:xfrm>
            <a:off x="6072251" y="3454400"/>
            <a:ext cx="253936" cy="88900"/>
          </a:xfrm>
          <a:prstGeom prst="rect">
            <a:avLst/>
          </a:prstGeom>
        </p:spPr>
        <p:txBody>
          <a:bodyPr wrap="square" lIns="0" tIns="0" rIns="0" bIns="0" rtlCol="0">
            <a:noAutofit/>
          </a:bodyPr>
          <a:lstStyle/>
          <a:p>
            <a:pPr marL="25400">
              <a:lnSpc>
                <a:spcPts val="700"/>
              </a:lnSpc>
            </a:pPr>
            <a:endParaRPr sz="700"/>
          </a:p>
        </p:txBody>
      </p:sp>
      <p:sp>
        <p:nvSpPr>
          <p:cNvPr id="16" name="Title 15"/>
          <p:cNvSpPr>
            <a:spLocks noGrp="1"/>
          </p:cNvSpPr>
          <p:nvPr>
            <p:ph type="title"/>
          </p:nvPr>
        </p:nvSpPr>
        <p:spPr/>
        <p:txBody>
          <a:bodyPr/>
          <a:lstStyle/>
          <a:p>
            <a:r>
              <a:rPr lang="en-US" sz="2400" dirty="0">
                <a:latin typeface="+mn-lt"/>
                <a:cs typeface="Arial"/>
              </a:rPr>
              <a:t>Billing Types</a:t>
            </a:r>
            <a:br>
              <a:rPr lang="en-US" sz="2800" dirty="0">
                <a:latin typeface="Arial"/>
                <a:cs typeface="Arial"/>
              </a:rPr>
            </a:b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14"/>
          <p:cNvSpPr/>
          <p:nvPr/>
        </p:nvSpPr>
        <p:spPr>
          <a:xfrm>
            <a:off x="3124200" y="1447800"/>
            <a:ext cx="3657600" cy="2743200"/>
          </a:xfrm>
          <a:custGeom>
            <a:avLst/>
            <a:gdLst/>
            <a:ahLst/>
            <a:cxnLst/>
            <a:rect l="l" t="t" r="r" b="b"/>
            <a:pathLst>
              <a:path w="3657600" h="2743200">
                <a:moveTo>
                  <a:pt x="0" y="2743200"/>
                </a:moveTo>
                <a:lnTo>
                  <a:pt x="3657600" y="2743200"/>
                </a:lnTo>
                <a:lnTo>
                  <a:pt x="3657600" y="0"/>
                </a:lnTo>
                <a:lnTo>
                  <a:pt x="0" y="0"/>
                </a:lnTo>
                <a:lnTo>
                  <a:pt x="0" y="2743200"/>
                </a:lnTo>
                <a:close/>
              </a:path>
            </a:pathLst>
          </a:custGeom>
          <a:solidFill>
            <a:srgbClr val="B1B1B1"/>
          </a:solidFill>
        </p:spPr>
        <p:txBody>
          <a:bodyPr wrap="square" lIns="0" tIns="0" rIns="0" bIns="0" rtlCol="0">
            <a:noAutofit/>
          </a:bodyPr>
          <a:lstStyle/>
          <a:p>
            <a:endParaRPr/>
          </a:p>
        </p:txBody>
      </p:sp>
      <p:sp>
        <p:nvSpPr>
          <p:cNvPr id="15" name="object 15"/>
          <p:cNvSpPr/>
          <p:nvPr/>
        </p:nvSpPr>
        <p:spPr>
          <a:xfrm>
            <a:off x="3124200" y="1447800"/>
            <a:ext cx="3657600" cy="2743200"/>
          </a:xfrm>
          <a:custGeom>
            <a:avLst/>
            <a:gdLst/>
            <a:ahLst/>
            <a:cxnLst/>
            <a:rect l="l" t="t" r="r" b="b"/>
            <a:pathLst>
              <a:path w="3657600" h="2743200">
                <a:moveTo>
                  <a:pt x="0" y="2743200"/>
                </a:moveTo>
                <a:lnTo>
                  <a:pt x="3657600" y="2743200"/>
                </a:lnTo>
                <a:lnTo>
                  <a:pt x="3657600" y="0"/>
                </a:lnTo>
                <a:lnTo>
                  <a:pt x="0" y="0"/>
                </a:lnTo>
                <a:lnTo>
                  <a:pt x="0" y="2743200"/>
                </a:lnTo>
                <a:close/>
              </a:path>
            </a:pathLst>
          </a:custGeom>
          <a:ln w="28575">
            <a:solidFill>
              <a:srgbClr val="3333CC"/>
            </a:solidFill>
          </a:ln>
        </p:spPr>
        <p:txBody>
          <a:bodyPr wrap="square" lIns="0" tIns="0" rIns="0" bIns="0" rtlCol="0">
            <a:noAutofit/>
          </a:bodyPr>
          <a:lstStyle/>
          <a:p>
            <a:endParaRPr/>
          </a:p>
        </p:txBody>
      </p:sp>
      <p:sp>
        <p:nvSpPr>
          <p:cNvPr id="16" name="object 16"/>
          <p:cNvSpPr/>
          <p:nvPr/>
        </p:nvSpPr>
        <p:spPr>
          <a:xfrm>
            <a:off x="5562600" y="3886200"/>
            <a:ext cx="3581400" cy="2743200"/>
          </a:xfrm>
          <a:custGeom>
            <a:avLst/>
            <a:gdLst/>
            <a:ahLst/>
            <a:cxnLst/>
            <a:rect l="l" t="t" r="r" b="b"/>
            <a:pathLst>
              <a:path w="3581400" h="2743200">
                <a:moveTo>
                  <a:pt x="0" y="2743200"/>
                </a:moveTo>
                <a:lnTo>
                  <a:pt x="3581400" y="2743200"/>
                </a:lnTo>
                <a:lnTo>
                  <a:pt x="3581400" y="0"/>
                </a:lnTo>
                <a:lnTo>
                  <a:pt x="0" y="0"/>
                </a:lnTo>
                <a:lnTo>
                  <a:pt x="0" y="2743200"/>
                </a:lnTo>
                <a:close/>
              </a:path>
            </a:pathLst>
          </a:custGeom>
          <a:solidFill>
            <a:srgbClr val="B1B1B1"/>
          </a:solidFill>
        </p:spPr>
        <p:txBody>
          <a:bodyPr wrap="square" lIns="0" tIns="0" rIns="0" bIns="0" rtlCol="0">
            <a:noAutofit/>
          </a:bodyPr>
          <a:lstStyle/>
          <a:p>
            <a:endParaRPr/>
          </a:p>
        </p:txBody>
      </p:sp>
      <p:sp>
        <p:nvSpPr>
          <p:cNvPr id="17" name="object 17"/>
          <p:cNvSpPr/>
          <p:nvPr/>
        </p:nvSpPr>
        <p:spPr>
          <a:xfrm>
            <a:off x="5562600" y="3886200"/>
            <a:ext cx="3581400" cy="2743200"/>
          </a:xfrm>
          <a:custGeom>
            <a:avLst/>
            <a:gdLst/>
            <a:ahLst/>
            <a:cxnLst/>
            <a:rect l="l" t="t" r="r" b="b"/>
            <a:pathLst>
              <a:path w="3581400" h="2743200">
                <a:moveTo>
                  <a:pt x="0" y="2743200"/>
                </a:moveTo>
                <a:lnTo>
                  <a:pt x="3581400" y="2743200"/>
                </a:lnTo>
                <a:lnTo>
                  <a:pt x="3581400" y="0"/>
                </a:lnTo>
                <a:lnTo>
                  <a:pt x="0" y="0"/>
                </a:lnTo>
                <a:lnTo>
                  <a:pt x="0" y="2743200"/>
                </a:lnTo>
                <a:close/>
              </a:path>
            </a:pathLst>
          </a:custGeom>
          <a:ln w="28575">
            <a:solidFill>
              <a:srgbClr val="3333CC"/>
            </a:solidFill>
          </a:ln>
        </p:spPr>
        <p:txBody>
          <a:bodyPr wrap="square" lIns="0" tIns="0" rIns="0" bIns="0" rtlCol="0">
            <a:noAutofit/>
          </a:bodyPr>
          <a:lstStyle/>
          <a:p>
            <a:endParaRPr/>
          </a:p>
        </p:txBody>
      </p:sp>
      <p:sp>
        <p:nvSpPr>
          <p:cNvPr id="18" name="object 18"/>
          <p:cNvSpPr/>
          <p:nvPr/>
        </p:nvSpPr>
        <p:spPr>
          <a:xfrm>
            <a:off x="7385474" y="1758587"/>
            <a:ext cx="1978911" cy="1790127"/>
          </a:xfrm>
          <a:custGeom>
            <a:avLst/>
            <a:gdLst/>
            <a:ahLst/>
            <a:cxnLst/>
            <a:rect l="l" t="t" r="r" b="b"/>
            <a:pathLst>
              <a:path w="1978911" h="1790127">
                <a:moveTo>
                  <a:pt x="889923" y="54847"/>
                </a:moveTo>
                <a:lnTo>
                  <a:pt x="891245" y="54847"/>
                </a:lnTo>
                <a:lnTo>
                  <a:pt x="880689" y="0"/>
                </a:lnTo>
                <a:lnTo>
                  <a:pt x="711935" y="20060"/>
                </a:lnTo>
                <a:lnTo>
                  <a:pt x="0" y="104236"/>
                </a:lnTo>
                <a:lnTo>
                  <a:pt x="218855" y="985140"/>
                </a:lnTo>
                <a:lnTo>
                  <a:pt x="212264" y="982398"/>
                </a:lnTo>
                <a:lnTo>
                  <a:pt x="205673" y="979655"/>
                </a:lnTo>
                <a:lnTo>
                  <a:pt x="199082" y="976913"/>
                </a:lnTo>
                <a:lnTo>
                  <a:pt x="192491" y="975085"/>
                </a:lnTo>
                <a:lnTo>
                  <a:pt x="184579" y="973256"/>
                </a:lnTo>
                <a:lnTo>
                  <a:pt x="176666" y="972342"/>
                </a:lnTo>
                <a:lnTo>
                  <a:pt x="168753" y="971428"/>
                </a:lnTo>
                <a:lnTo>
                  <a:pt x="160841" y="971428"/>
                </a:lnTo>
                <a:lnTo>
                  <a:pt x="141068" y="972342"/>
                </a:lnTo>
                <a:lnTo>
                  <a:pt x="122618" y="976913"/>
                </a:lnTo>
                <a:lnTo>
                  <a:pt x="106793" y="983312"/>
                </a:lnTo>
                <a:lnTo>
                  <a:pt x="92289" y="990638"/>
                </a:lnTo>
                <a:lnTo>
                  <a:pt x="80429" y="1000693"/>
                </a:lnTo>
                <a:lnTo>
                  <a:pt x="71195" y="1012589"/>
                </a:lnTo>
                <a:lnTo>
                  <a:pt x="64604" y="1024473"/>
                </a:lnTo>
                <a:lnTo>
                  <a:pt x="63282" y="1038198"/>
                </a:lnTo>
                <a:lnTo>
                  <a:pt x="64604" y="1051922"/>
                </a:lnTo>
                <a:lnTo>
                  <a:pt x="71195" y="1064733"/>
                </a:lnTo>
                <a:lnTo>
                  <a:pt x="80429" y="1075702"/>
                </a:lnTo>
                <a:lnTo>
                  <a:pt x="92289" y="1085771"/>
                </a:lnTo>
                <a:lnTo>
                  <a:pt x="106793" y="1093998"/>
                </a:lnTo>
                <a:lnTo>
                  <a:pt x="122618" y="1100397"/>
                </a:lnTo>
                <a:lnTo>
                  <a:pt x="141068" y="1104980"/>
                </a:lnTo>
                <a:lnTo>
                  <a:pt x="160841" y="1105894"/>
                </a:lnTo>
                <a:lnTo>
                  <a:pt x="172719" y="1104980"/>
                </a:lnTo>
                <a:lnTo>
                  <a:pt x="184579" y="1104066"/>
                </a:lnTo>
                <a:lnTo>
                  <a:pt x="196438" y="1101324"/>
                </a:lnTo>
                <a:lnTo>
                  <a:pt x="206995" y="1097654"/>
                </a:lnTo>
                <a:lnTo>
                  <a:pt x="217533" y="1093084"/>
                </a:lnTo>
                <a:lnTo>
                  <a:pt x="226767" y="1088513"/>
                </a:lnTo>
                <a:lnTo>
                  <a:pt x="234680" y="1082114"/>
                </a:lnTo>
                <a:lnTo>
                  <a:pt x="241271" y="1075702"/>
                </a:lnTo>
                <a:lnTo>
                  <a:pt x="266312" y="1177247"/>
                </a:lnTo>
                <a:lnTo>
                  <a:pt x="515496" y="1147055"/>
                </a:lnTo>
                <a:lnTo>
                  <a:pt x="515496" y="1286092"/>
                </a:lnTo>
                <a:lnTo>
                  <a:pt x="494401" y="1282436"/>
                </a:lnTo>
                <a:lnTo>
                  <a:pt x="474629" y="1281522"/>
                </a:lnTo>
                <a:lnTo>
                  <a:pt x="453535" y="1282436"/>
                </a:lnTo>
                <a:lnTo>
                  <a:pt x="433762" y="1285178"/>
                </a:lnTo>
                <a:lnTo>
                  <a:pt x="413972" y="1291590"/>
                </a:lnTo>
                <a:lnTo>
                  <a:pt x="395521" y="1298903"/>
                </a:lnTo>
                <a:lnTo>
                  <a:pt x="379696" y="1308971"/>
                </a:lnTo>
                <a:lnTo>
                  <a:pt x="366514" y="1320855"/>
                </a:lnTo>
                <a:lnTo>
                  <a:pt x="354654" y="1337322"/>
                </a:lnTo>
                <a:lnTo>
                  <a:pt x="346742" y="1353789"/>
                </a:lnTo>
                <a:lnTo>
                  <a:pt x="345420" y="1371170"/>
                </a:lnTo>
                <a:lnTo>
                  <a:pt x="348064" y="1387637"/>
                </a:lnTo>
                <a:lnTo>
                  <a:pt x="354654" y="1404104"/>
                </a:lnTo>
                <a:lnTo>
                  <a:pt x="366514" y="1419657"/>
                </a:lnTo>
                <a:lnTo>
                  <a:pt x="383661" y="1433369"/>
                </a:lnTo>
                <a:lnTo>
                  <a:pt x="403434" y="1444351"/>
                </a:lnTo>
                <a:lnTo>
                  <a:pt x="408703" y="1447093"/>
                </a:lnTo>
                <a:lnTo>
                  <a:pt x="420581" y="1450750"/>
                </a:lnTo>
                <a:lnTo>
                  <a:pt x="425850" y="1452578"/>
                </a:lnTo>
                <a:lnTo>
                  <a:pt x="432441" y="1454406"/>
                </a:lnTo>
                <a:lnTo>
                  <a:pt x="437710" y="1455333"/>
                </a:lnTo>
                <a:lnTo>
                  <a:pt x="444300" y="1456247"/>
                </a:lnTo>
                <a:lnTo>
                  <a:pt x="450891" y="1457162"/>
                </a:lnTo>
                <a:lnTo>
                  <a:pt x="469360" y="1458990"/>
                </a:lnTo>
                <a:lnTo>
                  <a:pt x="487811" y="1458076"/>
                </a:lnTo>
                <a:lnTo>
                  <a:pt x="504958" y="1456247"/>
                </a:lnTo>
                <a:lnTo>
                  <a:pt x="523408" y="1451664"/>
                </a:lnTo>
                <a:lnTo>
                  <a:pt x="539234" y="1446179"/>
                </a:lnTo>
                <a:lnTo>
                  <a:pt x="555041" y="1438866"/>
                </a:lnTo>
                <a:lnTo>
                  <a:pt x="568240" y="1429712"/>
                </a:lnTo>
                <a:lnTo>
                  <a:pt x="580100" y="1418743"/>
                </a:lnTo>
                <a:lnTo>
                  <a:pt x="594604" y="1398606"/>
                </a:lnTo>
                <a:lnTo>
                  <a:pt x="601194" y="1377569"/>
                </a:lnTo>
                <a:lnTo>
                  <a:pt x="599873" y="1357445"/>
                </a:lnTo>
                <a:lnTo>
                  <a:pt x="591960" y="1337322"/>
                </a:lnTo>
                <a:lnTo>
                  <a:pt x="813459" y="1337322"/>
                </a:lnTo>
                <a:lnTo>
                  <a:pt x="693484" y="1627304"/>
                </a:lnTo>
                <a:lnTo>
                  <a:pt x="1218215" y="1730668"/>
                </a:lnTo>
                <a:lnTo>
                  <a:pt x="1219518" y="1730668"/>
                </a:lnTo>
                <a:lnTo>
                  <a:pt x="1546488" y="1790127"/>
                </a:lnTo>
                <a:lnTo>
                  <a:pt x="1675624" y="1477285"/>
                </a:lnTo>
                <a:lnTo>
                  <a:pt x="1679663" y="1476371"/>
                </a:lnTo>
                <a:lnTo>
                  <a:pt x="1978911" y="750056"/>
                </a:lnTo>
                <a:lnTo>
                  <a:pt x="1404097" y="636628"/>
                </a:lnTo>
                <a:lnTo>
                  <a:pt x="1404097" y="249735"/>
                </a:lnTo>
                <a:lnTo>
                  <a:pt x="938702" y="249735"/>
                </a:lnTo>
                <a:lnTo>
                  <a:pt x="900479" y="95094"/>
                </a:lnTo>
                <a:lnTo>
                  <a:pt x="897836" y="95983"/>
                </a:lnTo>
                <a:lnTo>
                  <a:pt x="892567" y="62211"/>
                </a:lnTo>
                <a:lnTo>
                  <a:pt x="889923" y="54847"/>
                </a:lnTo>
                <a:close/>
              </a:path>
            </a:pathLst>
          </a:custGeom>
          <a:solidFill>
            <a:srgbClr val="D2CE82"/>
          </a:solidFill>
        </p:spPr>
        <p:txBody>
          <a:bodyPr wrap="square" lIns="0" tIns="0" rIns="0" bIns="0" rtlCol="0">
            <a:noAutofit/>
          </a:bodyPr>
          <a:lstStyle/>
          <a:p>
            <a:endParaRPr/>
          </a:p>
        </p:txBody>
      </p:sp>
      <p:sp>
        <p:nvSpPr>
          <p:cNvPr id="19" name="object 19"/>
          <p:cNvSpPr/>
          <p:nvPr/>
        </p:nvSpPr>
        <p:spPr>
          <a:xfrm>
            <a:off x="7161347" y="2868139"/>
            <a:ext cx="268959" cy="186609"/>
          </a:xfrm>
          <a:custGeom>
            <a:avLst/>
            <a:gdLst/>
            <a:ahLst/>
            <a:cxnLst/>
            <a:rect l="l" t="t" r="r" b="b"/>
            <a:pathLst>
              <a:path w="268959" h="186609">
                <a:moveTo>
                  <a:pt x="0" y="93304"/>
                </a:moveTo>
                <a:lnTo>
                  <a:pt x="2636" y="112514"/>
                </a:lnTo>
                <a:lnTo>
                  <a:pt x="10547" y="129895"/>
                </a:lnTo>
                <a:lnTo>
                  <a:pt x="22412" y="145448"/>
                </a:lnTo>
                <a:lnTo>
                  <a:pt x="39551" y="159172"/>
                </a:lnTo>
                <a:lnTo>
                  <a:pt x="59327" y="171056"/>
                </a:lnTo>
                <a:lnTo>
                  <a:pt x="81740" y="179296"/>
                </a:lnTo>
                <a:lnTo>
                  <a:pt x="106790" y="184781"/>
                </a:lnTo>
                <a:lnTo>
                  <a:pt x="134477" y="186609"/>
                </a:lnTo>
                <a:lnTo>
                  <a:pt x="147661" y="186609"/>
                </a:lnTo>
                <a:lnTo>
                  <a:pt x="154253" y="185695"/>
                </a:lnTo>
                <a:lnTo>
                  <a:pt x="159526" y="184781"/>
                </a:lnTo>
                <a:lnTo>
                  <a:pt x="166119" y="183867"/>
                </a:lnTo>
                <a:lnTo>
                  <a:pt x="177984" y="182038"/>
                </a:lnTo>
                <a:lnTo>
                  <a:pt x="201711" y="173799"/>
                </a:lnTo>
                <a:lnTo>
                  <a:pt x="218858" y="166486"/>
                </a:lnTo>
                <a:lnTo>
                  <a:pt x="233361" y="157332"/>
                </a:lnTo>
                <a:lnTo>
                  <a:pt x="245221" y="146362"/>
                </a:lnTo>
                <a:lnTo>
                  <a:pt x="255777" y="134466"/>
                </a:lnTo>
                <a:lnTo>
                  <a:pt x="262368" y="121655"/>
                </a:lnTo>
                <a:lnTo>
                  <a:pt x="267637" y="107943"/>
                </a:lnTo>
                <a:lnTo>
                  <a:pt x="268959" y="93304"/>
                </a:lnTo>
                <a:lnTo>
                  <a:pt x="268959" y="89648"/>
                </a:lnTo>
                <a:lnTo>
                  <a:pt x="267637" y="78666"/>
                </a:lnTo>
                <a:lnTo>
                  <a:pt x="262368" y="64027"/>
                </a:lnTo>
                <a:lnTo>
                  <a:pt x="253134" y="46646"/>
                </a:lnTo>
                <a:lnTo>
                  <a:pt x="237308" y="29277"/>
                </a:lnTo>
                <a:lnTo>
                  <a:pt x="213589" y="14638"/>
                </a:lnTo>
                <a:lnTo>
                  <a:pt x="180620" y="3656"/>
                </a:lnTo>
                <a:lnTo>
                  <a:pt x="134477" y="0"/>
                </a:lnTo>
                <a:lnTo>
                  <a:pt x="106790" y="1828"/>
                </a:lnTo>
                <a:lnTo>
                  <a:pt x="81740" y="7313"/>
                </a:lnTo>
                <a:lnTo>
                  <a:pt x="59327" y="16467"/>
                </a:lnTo>
                <a:lnTo>
                  <a:pt x="39551" y="27436"/>
                </a:lnTo>
                <a:lnTo>
                  <a:pt x="22412" y="41161"/>
                </a:lnTo>
                <a:lnTo>
                  <a:pt x="10547" y="56714"/>
                </a:lnTo>
                <a:lnTo>
                  <a:pt x="2636" y="75009"/>
                </a:lnTo>
                <a:lnTo>
                  <a:pt x="0" y="93304"/>
                </a:lnTo>
                <a:close/>
              </a:path>
            </a:pathLst>
          </a:custGeom>
          <a:solidFill>
            <a:srgbClr val="D2CE82"/>
          </a:solidFill>
        </p:spPr>
        <p:txBody>
          <a:bodyPr wrap="square" lIns="0" tIns="0" rIns="0" bIns="0" rtlCol="0">
            <a:noAutofit/>
          </a:bodyPr>
          <a:lstStyle/>
          <a:p>
            <a:endParaRPr/>
          </a:p>
        </p:txBody>
      </p:sp>
      <p:sp>
        <p:nvSpPr>
          <p:cNvPr id="20" name="object 20"/>
          <p:cNvSpPr/>
          <p:nvPr/>
        </p:nvSpPr>
        <p:spPr>
          <a:xfrm>
            <a:off x="7803412" y="3382235"/>
            <a:ext cx="193795" cy="134463"/>
          </a:xfrm>
          <a:custGeom>
            <a:avLst/>
            <a:gdLst/>
            <a:ahLst/>
            <a:cxnLst/>
            <a:rect l="l" t="t" r="r" b="b"/>
            <a:pathLst>
              <a:path w="193795" h="134463">
                <a:moveTo>
                  <a:pt x="27685" y="19209"/>
                </a:moveTo>
                <a:lnTo>
                  <a:pt x="15825" y="29264"/>
                </a:lnTo>
                <a:lnTo>
                  <a:pt x="7912" y="40243"/>
                </a:lnTo>
                <a:lnTo>
                  <a:pt x="1321" y="53050"/>
                </a:lnTo>
                <a:lnTo>
                  <a:pt x="0" y="66770"/>
                </a:lnTo>
                <a:lnTo>
                  <a:pt x="1321" y="80492"/>
                </a:lnTo>
                <a:lnTo>
                  <a:pt x="7912" y="93298"/>
                </a:lnTo>
                <a:lnTo>
                  <a:pt x="17128" y="104275"/>
                </a:lnTo>
                <a:lnTo>
                  <a:pt x="29006" y="114338"/>
                </a:lnTo>
                <a:lnTo>
                  <a:pt x="42188" y="122570"/>
                </a:lnTo>
                <a:lnTo>
                  <a:pt x="59317" y="128974"/>
                </a:lnTo>
                <a:lnTo>
                  <a:pt x="76464" y="133548"/>
                </a:lnTo>
                <a:lnTo>
                  <a:pt x="96236" y="134463"/>
                </a:lnTo>
                <a:lnTo>
                  <a:pt x="116009" y="133548"/>
                </a:lnTo>
                <a:lnTo>
                  <a:pt x="134478" y="128974"/>
                </a:lnTo>
                <a:lnTo>
                  <a:pt x="150303" y="122570"/>
                </a:lnTo>
                <a:lnTo>
                  <a:pt x="164806" y="114338"/>
                </a:lnTo>
                <a:lnTo>
                  <a:pt x="176666" y="104275"/>
                </a:lnTo>
                <a:lnTo>
                  <a:pt x="185901" y="93298"/>
                </a:lnTo>
                <a:lnTo>
                  <a:pt x="192491" y="80492"/>
                </a:lnTo>
                <a:lnTo>
                  <a:pt x="193795" y="66770"/>
                </a:lnTo>
                <a:lnTo>
                  <a:pt x="192491" y="53050"/>
                </a:lnTo>
                <a:lnTo>
                  <a:pt x="185901" y="40243"/>
                </a:lnTo>
                <a:lnTo>
                  <a:pt x="176666" y="29264"/>
                </a:lnTo>
                <a:lnTo>
                  <a:pt x="164806" y="19209"/>
                </a:lnTo>
                <a:lnTo>
                  <a:pt x="150303" y="10969"/>
                </a:lnTo>
                <a:lnTo>
                  <a:pt x="134478" y="5484"/>
                </a:lnTo>
                <a:lnTo>
                  <a:pt x="116009" y="914"/>
                </a:lnTo>
                <a:lnTo>
                  <a:pt x="96236" y="0"/>
                </a:lnTo>
                <a:lnTo>
                  <a:pt x="87020" y="0"/>
                </a:lnTo>
                <a:lnTo>
                  <a:pt x="76464" y="914"/>
                </a:lnTo>
                <a:lnTo>
                  <a:pt x="67229" y="2742"/>
                </a:lnTo>
                <a:lnTo>
                  <a:pt x="58013" y="5484"/>
                </a:lnTo>
                <a:lnTo>
                  <a:pt x="50101" y="8227"/>
                </a:lnTo>
                <a:lnTo>
                  <a:pt x="42188" y="10969"/>
                </a:lnTo>
                <a:lnTo>
                  <a:pt x="34275" y="14626"/>
                </a:lnTo>
                <a:lnTo>
                  <a:pt x="27685" y="19209"/>
                </a:lnTo>
                <a:close/>
              </a:path>
            </a:pathLst>
          </a:custGeom>
          <a:solidFill>
            <a:srgbClr val="D2CE82"/>
          </a:solidFill>
        </p:spPr>
        <p:txBody>
          <a:bodyPr wrap="square" lIns="0" tIns="0" rIns="0" bIns="0" rtlCol="0">
            <a:noAutofit/>
          </a:bodyPr>
          <a:lstStyle/>
          <a:p>
            <a:endParaRPr/>
          </a:p>
        </p:txBody>
      </p:sp>
      <p:sp>
        <p:nvSpPr>
          <p:cNvPr id="21" name="object 21"/>
          <p:cNvSpPr/>
          <p:nvPr/>
        </p:nvSpPr>
        <p:spPr>
          <a:xfrm>
            <a:off x="7219357" y="3105063"/>
            <a:ext cx="446933" cy="309179"/>
          </a:xfrm>
          <a:custGeom>
            <a:avLst/>
            <a:gdLst/>
            <a:ahLst/>
            <a:cxnLst/>
            <a:rect l="l" t="t" r="r" b="b"/>
            <a:pathLst>
              <a:path w="446933" h="309179">
                <a:moveTo>
                  <a:pt x="5274" y="186609"/>
                </a:moveTo>
                <a:lnTo>
                  <a:pt x="10547" y="202162"/>
                </a:lnTo>
                <a:lnTo>
                  <a:pt x="18457" y="216788"/>
                </a:lnTo>
                <a:lnTo>
                  <a:pt x="29005" y="230513"/>
                </a:lnTo>
                <a:lnTo>
                  <a:pt x="39552" y="243323"/>
                </a:lnTo>
                <a:lnTo>
                  <a:pt x="54053" y="255207"/>
                </a:lnTo>
                <a:lnTo>
                  <a:pt x="68557" y="266189"/>
                </a:lnTo>
                <a:lnTo>
                  <a:pt x="84378" y="276245"/>
                </a:lnTo>
                <a:lnTo>
                  <a:pt x="101516" y="284485"/>
                </a:lnTo>
                <a:lnTo>
                  <a:pt x="119974" y="291798"/>
                </a:lnTo>
                <a:lnTo>
                  <a:pt x="139754" y="298209"/>
                </a:lnTo>
                <a:lnTo>
                  <a:pt x="159526" y="302780"/>
                </a:lnTo>
                <a:lnTo>
                  <a:pt x="180621" y="306436"/>
                </a:lnTo>
                <a:lnTo>
                  <a:pt x="203037" y="308265"/>
                </a:lnTo>
                <a:lnTo>
                  <a:pt x="225453" y="309179"/>
                </a:lnTo>
                <a:lnTo>
                  <a:pt x="247869" y="308265"/>
                </a:lnTo>
                <a:lnTo>
                  <a:pt x="270266" y="305522"/>
                </a:lnTo>
                <a:lnTo>
                  <a:pt x="294004" y="300952"/>
                </a:lnTo>
                <a:lnTo>
                  <a:pt x="317742" y="295467"/>
                </a:lnTo>
                <a:lnTo>
                  <a:pt x="338836" y="287227"/>
                </a:lnTo>
                <a:lnTo>
                  <a:pt x="358609" y="278086"/>
                </a:lnTo>
                <a:lnTo>
                  <a:pt x="375738" y="267103"/>
                </a:lnTo>
                <a:lnTo>
                  <a:pt x="392885" y="255207"/>
                </a:lnTo>
                <a:lnTo>
                  <a:pt x="407388" y="242409"/>
                </a:lnTo>
                <a:lnTo>
                  <a:pt x="419248" y="228684"/>
                </a:lnTo>
                <a:lnTo>
                  <a:pt x="417926" y="227770"/>
                </a:lnTo>
                <a:lnTo>
                  <a:pt x="433751" y="203076"/>
                </a:lnTo>
                <a:lnTo>
                  <a:pt x="444308" y="177455"/>
                </a:lnTo>
                <a:lnTo>
                  <a:pt x="446933" y="150018"/>
                </a:lnTo>
                <a:lnTo>
                  <a:pt x="441664" y="121655"/>
                </a:lnTo>
                <a:lnTo>
                  <a:pt x="435073" y="106102"/>
                </a:lnTo>
                <a:lnTo>
                  <a:pt x="427161" y="92390"/>
                </a:lnTo>
                <a:lnTo>
                  <a:pt x="417926" y="78666"/>
                </a:lnTo>
                <a:lnTo>
                  <a:pt x="406066" y="65855"/>
                </a:lnTo>
                <a:lnTo>
                  <a:pt x="392885" y="53971"/>
                </a:lnTo>
                <a:lnTo>
                  <a:pt x="378381" y="42989"/>
                </a:lnTo>
                <a:lnTo>
                  <a:pt x="361234" y="32921"/>
                </a:lnTo>
                <a:lnTo>
                  <a:pt x="344105" y="24694"/>
                </a:lnTo>
                <a:lnTo>
                  <a:pt x="325637" y="17381"/>
                </a:lnTo>
                <a:lnTo>
                  <a:pt x="305864" y="10969"/>
                </a:lnTo>
                <a:lnTo>
                  <a:pt x="286092" y="6398"/>
                </a:lnTo>
                <a:lnTo>
                  <a:pt x="264997" y="2742"/>
                </a:lnTo>
                <a:lnTo>
                  <a:pt x="243903" y="914"/>
                </a:lnTo>
                <a:lnTo>
                  <a:pt x="221487" y="0"/>
                </a:lnTo>
                <a:lnTo>
                  <a:pt x="199071" y="914"/>
                </a:lnTo>
                <a:lnTo>
                  <a:pt x="176673" y="3656"/>
                </a:lnTo>
                <a:lnTo>
                  <a:pt x="170083" y="4570"/>
                </a:lnTo>
                <a:lnTo>
                  <a:pt x="162170" y="5484"/>
                </a:lnTo>
                <a:lnTo>
                  <a:pt x="155579" y="7313"/>
                </a:lnTo>
                <a:lnTo>
                  <a:pt x="148988" y="8227"/>
                </a:lnTo>
                <a:lnTo>
                  <a:pt x="112063" y="20123"/>
                </a:lnTo>
                <a:lnTo>
                  <a:pt x="79104" y="35676"/>
                </a:lnTo>
                <a:lnTo>
                  <a:pt x="51417" y="55800"/>
                </a:lnTo>
                <a:lnTo>
                  <a:pt x="29005" y="77751"/>
                </a:lnTo>
                <a:lnTo>
                  <a:pt x="13183" y="103360"/>
                </a:lnTo>
                <a:lnTo>
                  <a:pt x="2636" y="129895"/>
                </a:lnTo>
                <a:lnTo>
                  <a:pt x="0" y="158246"/>
                </a:lnTo>
                <a:lnTo>
                  <a:pt x="5274" y="186609"/>
                </a:lnTo>
                <a:close/>
              </a:path>
            </a:pathLst>
          </a:custGeom>
          <a:solidFill>
            <a:srgbClr val="D2CE82"/>
          </a:solidFill>
        </p:spPr>
        <p:txBody>
          <a:bodyPr wrap="square" lIns="0" tIns="0" rIns="0" bIns="0" rtlCol="0">
            <a:noAutofit/>
          </a:bodyPr>
          <a:lstStyle/>
          <a:p>
            <a:endParaRPr/>
          </a:p>
        </p:txBody>
      </p:sp>
      <p:sp>
        <p:nvSpPr>
          <p:cNvPr id="22" name="object 22"/>
          <p:cNvSpPr/>
          <p:nvPr/>
        </p:nvSpPr>
        <p:spPr>
          <a:xfrm>
            <a:off x="7526542" y="1866505"/>
            <a:ext cx="690840" cy="954060"/>
          </a:xfrm>
          <a:custGeom>
            <a:avLst/>
            <a:gdLst/>
            <a:ahLst/>
            <a:cxnLst/>
            <a:rect l="l" t="t" r="r" b="b"/>
            <a:pathLst>
              <a:path w="690840" h="954060">
                <a:moveTo>
                  <a:pt x="179310" y="878136"/>
                </a:moveTo>
                <a:lnTo>
                  <a:pt x="181935" y="877222"/>
                </a:lnTo>
                <a:lnTo>
                  <a:pt x="208317" y="876308"/>
                </a:lnTo>
                <a:lnTo>
                  <a:pt x="233358" y="878136"/>
                </a:lnTo>
                <a:lnTo>
                  <a:pt x="258418" y="884548"/>
                </a:lnTo>
                <a:lnTo>
                  <a:pt x="279512" y="892775"/>
                </a:lnTo>
                <a:lnTo>
                  <a:pt x="299284" y="904671"/>
                </a:lnTo>
                <a:lnTo>
                  <a:pt x="315091" y="918396"/>
                </a:lnTo>
                <a:lnTo>
                  <a:pt x="326969" y="934850"/>
                </a:lnTo>
                <a:lnTo>
                  <a:pt x="333560" y="952231"/>
                </a:lnTo>
                <a:lnTo>
                  <a:pt x="334882" y="954060"/>
                </a:lnTo>
                <a:lnTo>
                  <a:pt x="370480" y="950403"/>
                </a:lnTo>
                <a:lnTo>
                  <a:pt x="370480" y="141817"/>
                </a:lnTo>
                <a:lnTo>
                  <a:pt x="690840" y="141817"/>
                </a:lnTo>
                <a:lnTo>
                  <a:pt x="675034" y="74019"/>
                </a:lnTo>
                <a:lnTo>
                  <a:pt x="671068" y="74019"/>
                </a:lnTo>
                <a:lnTo>
                  <a:pt x="669746" y="75034"/>
                </a:lnTo>
                <a:lnTo>
                  <a:pt x="667121" y="75034"/>
                </a:lnTo>
                <a:lnTo>
                  <a:pt x="640739" y="75923"/>
                </a:lnTo>
                <a:lnTo>
                  <a:pt x="615698" y="74019"/>
                </a:lnTo>
                <a:lnTo>
                  <a:pt x="590638" y="68559"/>
                </a:lnTo>
                <a:lnTo>
                  <a:pt x="569544" y="59418"/>
                </a:lnTo>
                <a:lnTo>
                  <a:pt x="549772" y="47483"/>
                </a:lnTo>
                <a:lnTo>
                  <a:pt x="533946" y="33772"/>
                </a:lnTo>
                <a:lnTo>
                  <a:pt x="522087" y="18282"/>
                </a:lnTo>
                <a:lnTo>
                  <a:pt x="515496" y="0"/>
                </a:lnTo>
                <a:lnTo>
                  <a:pt x="109436" y="47483"/>
                </a:lnTo>
                <a:lnTo>
                  <a:pt x="109436" y="48499"/>
                </a:lnTo>
                <a:lnTo>
                  <a:pt x="110740" y="66782"/>
                </a:lnTo>
                <a:lnTo>
                  <a:pt x="108114" y="85064"/>
                </a:lnTo>
                <a:lnTo>
                  <a:pt x="100202" y="101570"/>
                </a:lnTo>
                <a:lnTo>
                  <a:pt x="87020" y="117059"/>
                </a:lnTo>
                <a:lnTo>
                  <a:pt x="71195" y="129882"/>
                </a:lnTo>
                <a:lnTo>
                  <a:pt x="51422" y="140801"/>
                </a:lnTo>
                <a:lnTo>
                  <a:pt x="27685" y="149054"/>
                </a:lnTo>
                <a:lnTo>
                  <a:pt x="2643" y="154513"/>
                </a:lnTo>
                <a:lnTo>
                  <a:pt x="0" y="154513"/>
                </a:lnTo>
                <a:lnTo>
                  <a:pt x="179310" y="878136"/>
                </a:lnTo>
                <a:close/>
              </a:path>
            </a:pathLst>
          </a:custGeom>
          <a:solidFill>
            <a:srgbClr val="840000"/>
          </a:solidFill>
        </p:spPr>
        <p:txBody>
          <a:bodyPr wrap="square" lIns="0" tIns="0" rIns="0" bIns="0" rtlCol="0">
            <a:noAutofit/>
          </a:bodyPr>
          <a:lstStyle/>
          <a:p>
            <a:endParaRPr/>
          </a:p>
        </p:txBody>
      </p:sp>
      <p:sp>
        <p:nvSpPr>
          <p:cNvPr id="23" name="object 23"/>
          <p:cNvSpPr/>
          <p:nvPr/>
        </p:nvSpPr>
        <p:spPr>
          <a:xfrm>
            <a:off x="8255625" y="2440032"/>
            <a:ext cx="185901" cy="69524"/>
          </a:xfrm>
          <a:custGeom>
            <a:avLst/>
            <a:gdLst/>
            <a:ahLst/>
            <a:cxnLst/>
            <a:rect l="l" t="t" r="r" b="b"/>
            <a:pathLst>
              <a:path w="185901" h="69524">
                <a:moveTo>
                  <a:pt x="18450" y="9154"/>
                </a:moveTo>
                <a:lnTo>
                  <a:pt x="10537" y="12810"/>
                </a:lnTo>
                <a:lnTo>
                  <a:pt x="5268" y="17381"/>
                </a:lnTo>
                <a:lnTo>
                  <a:pt x="1321" y="22865"/>
                </a:lnTo>
                <a:lnTo>
                  <a:pt x="0" y="29277"/>
                </a:lnTo>
                <a:lnTo>
                  <a:pt x="1321" y="34762"/>
                </a:lnTo>
                <a:lnTo>
                  <a:pt x="2625" y="39333"/>
                </a:lnTo>
                <a:lnTo>
                  <a:pt x="6590" y="43903"/>
                </a:lnTo>
                <a:lnTo>
                  <a:pt x="11859" y="47572"/>
                </a:lnTo>
                <a:lnTo>
                  <a:pt x="15825" y="49401"/>
                </a:lnTo>
                <a:lnTo>
                  <a:pt x="19772" y="51229"/>
                </a:lnTo>
                <a:lnTo>
                  <a:pt x="25041" y="52143"/>
                </a:lnTo>
                <a:lnTo>
                  <a:pt x="31632" y="53971"/>
                </a:lnTo>
                <a:lnTo>
                  <a:pt x="36919" y="54885"/>
                </a:lnTo>
                <a:lnTo>
                  <a:pt x="44813" y="56714"/>
                </a:lnTo>
                <a:lnTo>
                  <a:pt x="52726" y="57628"/>
                </a:lnTo>
                <a:lnTo>
                  <a:pt x="61960" y="58542"/>
                </a:lnTo>
                <a:lnTo>
                  <a:pt x="119974" y="64027"/>
                </a:lnTo>
                <a:lnTo>
                  <a:pt x="148981" y="67696"/>
                </a:lnTo>
                <a:lnTo>
                  <a:pt x="151606" y="68610"/>
                </a:lnTo>
                <a:lnTo>
                  <a:pt x="158197" y="68610"/>
                </a:lnTo>
                <a:lnTo>
                  <a:pt x="160841" y="69524"/>
                </a:lnTo>
                <a:lnTo>
                  <a:pt x="185901" y="6398"/>
                </a:lnTo>
                <a:lnTo>
                  <a:pt x="177988" y="5484"/>
                </a:lnTo>
                <a:lnTo>
                  <a:pt x="170075" y="3656"/>
                </a:lnTo>
                <a:lnTo>
                  <a:pt x="162163" y="2742"/>
                </a:lnTo>
                <a:lnTo>
                  <a:pt x="152928" y="1828"/>
                </a:lnTo>
                <a:lnTo>
                  <a:pt x="145016" y="1828"/>
                </a:lnTo>
                <a:lnTo>
                  <a:pt x="137103" y="914"/>
                </a:lnTo>
                <a:lnTo>
                  <a:pt x="127887" y="0"/>
                </a:lnTo>
                <a:lnTo>
                  <a:pt x="56691" y="0"/>
                </a:lnTo>
                <a:lnTo>
                  <a:pt x="50101" y="914"/>
                </a:lnTo>
                <a:lnTo>
                  <a:pt x="44813" y="1828"/>
                </a:lnTo>
                <a:lnTo>
                  <a:pt x="39544" y="2742"/>
                </a:lnTo>
                <a:lnTo>
                  <a:pt x="34275" y="3656"/>
                </a:lnTo>
                <a:lnTo>
                  <a:pt x="29006" y="5484"/>
                </a:lnTo>
                <a:lnTo>
                  <a:pt x="23719" y="7313"/>
                </a:lnTo>
                <a:lnTo>
                  <a:pt x="18450" y="9154"/>
                </a:lnTo>
                <a:close/>
              </a:path>
            </a:pathLst>
          </a:custGeom>
          <a:solidFill>
            <a:srgbClr val="840000"/>
          </a:solidFill>
        </p:spPr>
        <p:txBody>
          <a:bodyPr wrap="square" lIns="0" tIns="0" rIns="0" bIns="0" rtlCol="0">
            <a:noAutofit/>
          </a:bodyPr>
          <a:lstStyle/>
          <a:p>
            <a:endParaRPr/>
          </a:p>
        </p:txBody>
      </p:sp>
      <p:sp>
        <p:nvSpPr>
          <p:cNvPr id="24" name="object 24"/>
          <p:cNvSpPr/>
          <p:nvPr/>
        </p:nvSpPr>
        <p:spPr>
          <a:xfrm>
            <a:off x="8001172" y="2087800"/>
            <a:ext cx="682928" cy="920288"/>
          </a:xfrm>
          <a:custGeom>
            <a:avLst/>
            <a:gdLst/>
            <a:ahLst/>
            <a:cxnLst/>
            <a:rect l="l" t="t" r="r" b="b"/>
            <a:pathLst>
              <a:path w="682928" h="920288">
                <a:moveTo>
                  <a:pt x="2643" y="826069"/>
                </a:moveTo>
                <a:lnTo>
                  <a:pt x="29006" y="827910"/>
                </a:lnTo>
                <a:lnTo>
                  <a:pt x="54048" y="833394"/>
                </a:lnTo>
                <a:lnTo>
                  <a:pt x="76464" y="841622"/>
                </a:lnTo>
                <a:lnTo>
                  <a:pt x="96236" y="852604"/>
                </a:lnTo>
                <a:lnTo>
                  <a:pt x="112061" y="866329"/>
                </a:lnTo>
                <a:lnTo>
                  <a:pt x="123921" y="881869"/>
                </a:lnTo>
                <a:lnTo>
                  <a:pt x="131834" y="899250"/>
                </a:lnTo>
                <a:lnTo>
                  <a:pt x="134478" y="917545"/>
                </a:lnTo>
                <a:lnTo>
                  <a:pt x="134478" y="920288"/>
                </a:lnTo>
                <a:lnTo>
                  <a:pt x="218855" y="920288"/>
                </a:lnTo>
                <a:lnTo>
                  <a:pt x="315091" y="676050"/>
                </a:lnTo>
                <a:lnTo>
                  <a:pt x="313769" y="626661"/>
                </a:lnTo>
                <a:lnTo>
                  <a:pt x="303231" y="626661"/>
                </a:lnTo>
                <a:lnTo>
                  <a:pt x="292675" y="625747"/>
                </a:lnTo>
                <a:lnTo>
                  <a:pt x="282137" y="625747"/>
                </a:lnTo>
                <a:lnTo>
                  <a:pt x="270277" y="624833"/>
                </a:lnTo>
                <a:lnTo>
                  <a:pt x="258399" y="623919"/>
                </a:lnTo>
                <a:lnTo>
                  <a:pt x="245218" y="623005"/>
                </a:lnTo>
                <a:lnTo>
                  <a:pt x="232036" y="621164"/>
                </a:lnTo>
                <a:lnTo>
                  <a:pt x="218855" y="620250"/>
                </a:lnTo>
                <a:lnTo>
                  <a:pt x="205673" y="618421"/>
                </a:lnTo>
                <a:lnTo>
                  <a:pt x="193795" y="616593"/>
                </a:lnTo>
                <a:lnTo>
                  <a:pt x="181935" y="614765"/>
                </a:lnTo>
                <a:lnTo>
                  <a:pt x="171397" y="612937"/>
                </a:lnTo>
                <a:lnTo>
                  <a:pt x="160841" y="610194"/>
                </a:lnTo>
                <a:lnTo>
                  <a:pt x="151606" y="608366"/>
                </a:lnTo>
                <a:lnTo>
                  <a:pt x="143712" y="606538"/>
                </a:lnTo>
                <a:lnTo>
                  <a:pt x="135799" y="603795"/>
                </a:lnTo>
                <a:lnTo>
                  <a:pt x="134478" y="531528"/>
                </a:lnTo>
                <a:lnTo>
                  <a:pt x="150303" y="530614"/>
                </a:lnTo>
                <a:lnTo>
                  <a:pt x="159519" y="534271"/>
                </a:lnTo>
                <a:lnTo>
                  <a:pt x="167432" y="537013"/>
                </a:lnTo>
                <a:lnTo>
                  <a:pt x="176666" y="539755"/>
                </a:lnTo>
                <a:lnTo>
                  <a:pt x="187204" y="542498"/>
                </a:lnTo>
                <a:lnTo>
                  <a:pt x="196438" y="544326"/>
                </a:lnTo>
                <a:lnTo>
                  <a:pt x="206995" y="547068"/>
                </a:lnTo>
                <a:lnTo>
                  <a:pt x="217533" y="548909"/>
                </a:lnTo>
                <a:lnTo>
                  <a:pt x="228089" y="550738"/>
                </a:lnTo>
                <a:lnTo>
                  <a:pt x="238627" y="552566"/>
                </a:lnTo>
                <a:lnTo>
                  <a:pt x="250487" y="554394"/>
                </a:lnTo>
                <a:lnTo>
                  <a:pt x="261043" y="555308"/>
                </a:lnTo>
                <a:lnTo>
                  <a:pt x="271581" y="556222"/>
                </a:lnTo>
                <a:lnTo>
                  <a:pt x="282137" y="558051"/>
                </a:lnTo>
                <a:lnTo>
                  <a:pt x="293997" y="558965"/>
                </a:lnTo>
                <a:lnTo>
                  <a:pt x="304553" y="558965"/>
                </a:lnTo>
                <a:lnTo>
                  <a:pt x="315091" y="559879"/>
                </a:lnTo>
                <a:lnTo>
                  <a:pt x="361245" y="558965"/>
                </a:lnTo>
                <a:lnTo>
                  <a:pt x="384965" y="497680"/>
                </a:lnTo>
                <a:lnTo>
                  <a:pt x="382339" y="496766"/>
                </a:lnTo>
                <a:lnTo>
                  <a:pt x="379696" y="496766"/>
                </a:lnTo>
                <a:lnTo>
                  <a:pt x="377052" y="495852"/>
                </a:lnTo>
                <a:lnTo>
                  <a:pt x="374427" y="495852"/>
                </a:lnTo>
                <a:lnTo>
                  <a:pt x="313769" y="490354"/>
                </a:lnTo>
                <a:lnTo>
                  <a:pt x="278172" y="485784"/>
                </a:lnTo>
                <a:lnTo>
                  <a:pt x="270277" y="483955"/>
                </a:lnTo>
                <a:lnTo>
                  <a:pt x="262365" y="483041"/>
                </a:lnTo>
                <a:lnTo>
                  <a:pt x="254452" y="481213"/>
                </a:lnTo>
                <a:lnTo>
                  <a:pt x="246540" y="480299"/>
                </a:lnTo>
                <a:lnTo>
                  <a:pt x="238627" y="478471"/>
                </a:lnTo>
                <a:lnTo>
                  <a:pt x="230714" y="476642"/>
                </a:lnTo>
                <a:lnTo>
                  <a:pt x="224123" y="474814"/>
                </a:lnTo>
                <a:lnTo>
                  <a:pt x="216211" y="472973"/>
                </a:lnTo>
                <a:lnTo>
                  <a:pt x="209620" y="471145"/>
                </a:lnTo>
                <a:lnTo>
                  <a:pt x="203029" y="469317"/>
                </a:lnTo>
                <a:lnTo>
                  <a:pt x="196438" y="467488"/>
                </a:lnTo>
                <a:lnTo>
                  <a:pt x="189848" y="464746"/>
                </a:lnTo>
                <a:lnTo>
                  <a:pt x="184579" y="462918"/>
                </a:lnTo>
                <a:lnTo>
                  <a:pt x="177988" y="460175"/>
                </a:lnTo>
                <a:lnTo>
                  <a:pt x="172701" y="457433"/>
                </a:lnTo>
                <a:lnTo>
                  <a:pt x="167432" y="454691"/>
                </a:lnTo>
                <a:lnTo>
                  <a:pt x="158197" y="449193"/>
                </a:lnTo>
                <a:lnTo>
                  <a:pt x="150303" y="441880"/>
                </a:lnTo>
                <a:lnTo>
                  <a:pt x="142390" y="434554"/>
                </a:lnTo>
                <a:lnTo>
                  <a:pt x="135799" y="426327"/>
                </a:lnTo>
                <a:lnTo>
                  <a:pt x="130512" y="417173"/>
                </a:lnTo>
                <a:lnTo>
                  <a:pt x="126565" y="407118"/>
                </a:lnTo>
                <a:lnTo>
                  <a:pt x="125243" y="396135"/>
                </a:lnTo>
                <a:lnTo>
                  <a:pt x="123921" y="384252"/>
                </a:lnTo>
                <a:lnTo>
                  <a:pt x="125243" y="375098"/>
                </a:lnTo>
                <a:lnTo>
                  <a:pt x="126565" y="365956"/>
                </a:lnTo>
                <a:lnTo>
                  <a:pt x="130512" y="357717"/>
                </a:lnTo>
                <a:lnTo>
                  <a:pt x="135799" y="349489"/>
                </a:lnTo>
                <a:lnTo>
                  <a:pt x="142390" y="341249"/>
                </a:lnTo>
                <a:lnTo>
                  <a:pt x="151606" y="333936"/>
                </a:lnTo>
                <a:lnTo>
                  <a:pt x="160841" y="326623"/>
                </a:lnTo>
                <a:lnTo>
                  <a:pt x="172701" y="319298"/>
                </a:lnTo>
                <a:lnTo>
                  <a:pt x="185901" y="312899"/>
                </a:lnTo>
                <a:lnTo>
                  <a:pt x="199082" y="306500"/>
                </a:lnTo>
                <a:lnTo>
                  <a:pt x="214889" y="301916"/>
                </a:lnTo>
                <a:lnTo>
                  <a:pt x="232036" y="297346"/>
                </a:lnTo>
                <a:lnTo>
                  <a:pt x="249183" y="293689"/>
                </a:lnTo>
                <a:lnTo>
                  <a:pt x="267634" y="290033"/>
                </a:lnTo>
                <a:lnTo>
                  <a:pt x="288728" y="288205"/>
                </a:lnTo>
                <a:lnTo>
                  <a:pt x="309822" y="286364"/>
                </a:lnTo>
                <a:lnTo>
                  <a:pt x="308500" y="226907"/>
                </a:lnTo>
                <a:lnTo>
                  <a:pt x="371783" y="226907"/>
                </a:lnTo>
                <a:lnTo>
                  <a:pt x="373105" y="285449"/>
                </a:lnTo>
                <a:lnTo>
                  <a:pt x="382339" y="285449"/>
                </a:lnTo>
                <a:lnTo>
                  <a:pt x="390252" y="286364"/>
                </a:lnTo>
                <a:lnTo>
                  <a:pt x="399468" y="286364"/>
                </a:lnTo>
                <a:lnTo>
                  <a:pt x="410025" y="287290"/>
                </a:lnTo>
                <a:lnTo>
                  <a:pt x="419259" y="288205"/>
                </a:lnTo>
                <a:lnTo>
                  <a:pt x="429797" y="289119"/>
                </a:lnTo>
                <a:lnTo>
                  <a:pt x="441657" y="290947"/>
                </a:lnTo>
                <a:lnTo>
                  <a:pt x="452213" y="291861"/>
                </a:lnTo>
                <a:lnTo>
                  <a:pt x="454838" y="291861"/>
                </a:lnTo>
                <a:lnTo>
                  <a:pt x="458804" y="292775"/>
                </a:lnTo>
                <a:lnTo>
                  <a:pt x="462751" y="292775"/>
                </a:lnTo>
                <a:lnTo>
                  <a:pt x="465395" y="293689"/>
                </a:lnTo>
                <a:lnTo>
                  <a:pt x="482542" y="251614"/>
                </a:lnTo>
                <a:lnTo>
                  <a:pt x="682928" y="290033"/>
                </a:lnTo>
                <a:lnTo>
                  <a:pt x="682928" y="92428"/>
                </a:lnTo>
                <a:lnTo>
                  <a:pt x="676337" y="92428"/>
                </a:lnTo>
                <a:lnTo>
                  <a:pt x="649974" y="90651"/>
                </a:lnTo>
                <a:lnTo>
                  <a:pt x="624914" y="85064"/>
                </a:lnTo>
                <a:lnTo>
                  <a:pt x="603820" y="76939"/>
                </a:lnTo>
                <a:lnTo>
                  <a:pt x="584047" y="65893"/>
                </a:lnTo>
                <a:lnTo>
                  <a:pt x="568222" y="52181"/>
                </a:lnTo>
                <a:lnTo>
                  <a:pt x="556362" y="36692"/>
                </a:lnTo>
                <a:lnTo>
                  <a:pt x="548450" y="19298"/>
                </a:lnTo>
                <a:lnTo>
                  <a:pt x="545824" y="1015"/>
                </a:lnTo>
                <a:lnTo>
                  <a:pt x="545824" y="0"/>
                </a:lnTo>
                <a:lnTo>
                  <a:pt x="134478" y="0"/>
                </a:lnTo>
                <a:lnTo>
                  <a:pt x="134478" y="1015"/>
                </a:lnTo>
                <a:lnTo>
                  <a:pt x="131834" y="19298"/>
                </a:lnTo>
                <a:lnTo>
                  <a:pt x="123921" y="36692"/>
                </a:lnTo>
                <a:lnTo>
                  <a:pt x="112061" y="52181"/>
                </a:lnTo>
                <a:lnTo>
                  <a:pt x="96236" y="65893"/>
                </a:lnTo>
                <a:lnTo>
                  <a:pt x="76464" y="76939"/>
                </a:lnTo>
                <a:lnTo>
                  <a:pt x="54048" y="85064"/>
                </a:lnTo>
                <a:lnTo>
                  <a:pt x="29006" y="90651"/>
                </a:lnTo>
                <a:lnTo>
                  <a:pt x="2643" y="92428"/>
                </a:lnTo>
                <a:lnTo>
                  <a:pt x="0" y="92428"/>
                </a:lnTo>
                <a:lnTo>
                  <a:pt x="0" y="826069"/>
                </a:lnTo>
                <a:lnTo>
                  <a:pt x="2643" y="826069"/>
                </a:lnTo>
                <a:close/>
              </a:path>
            </a:pathLst>
          </a:custGeom>
          <a:solidFill>
            <a:srgbClr val="840000"/>
          </a:solidFill>
        </p:spPr>
        <p:txBody>
          <a:bodyPr wrap="square" lIns="0" tIns="0" rIns="0" bIns="0" rtlCol="0">
            <a:noAutofit/>
          </a:bodyPr>
          <a:lstStyle/>
          <a:p>
            <a:endParaRPr/>
          </a:p>
        </p:txBody>
      </p:sp>
      <p:sp>
        <p:nvSpPr>
          <p:cNvPr id="25" name="object 25"/>
          <p:cNvSpPr/>
          <p:nvPr/>
        </p:nvSpPr>
        <p:spPr>
          <a:xfrm>
            <a:off x="8247713" y="2461071"/>
            <a:ext cx="947955" cy="963237"/>
          </a:xfrm>
          <a:custGeom>
            <a:avLst/>
            <a:gdLst/>
            <a:ahLst/>
            <a:cxnLst/>
            <a:rect l="l" t="t" r="r" b="b"/>
            <a:pathLst>
              <a:path w="947955" h="963237">
                <a:moveTo>
                  <a:pt x="656565" y="899199"/>
                </a:moveTo>
                <a:lnTo>
                  <a:pt x="947955" y="193008"/>
                </a:lnTo>
                <a:lnTo>
                  <a:pt x="943916" y="193008"/>
                </a:lnTo>
                <a:lnTo>
                  <a:pt x="941346" y="192094"/>
                </a:lnTo>
                <a:lnTo>
                  <a:pt x="916378" y="185695"/>
                </a:lnTo>
                <a:lnTo>
                  <a:pt x="895265" y="175640"/>
                </a:lnTo>
                <a:lnTo>
                  <a:pt x="876723" y="162829"/>
                </a:lnTo>
                <a:lnTo>
                  <a:pt x="862220" y="149104"/>
                </a:lnTo>
                <a:lnTo>
                  <a:pt x="851755" y="132637"/>
                </a:lnTo>
                <a:lnTo>
                  <a:pt x="846431" y="115256"/>
                </a:lnTo>
                <a:lnTo>
                  <a:pt x="845146" y="97875"/>
                </a:lnTo>
                <a:lnTo>
                  <a:pt x="850286" y="79580"/>
                </a:lnTo>
                <a:lnTo>
                  <a:pt x="850286" y="78666"/>
                </a:lnTo>
                <a:lnTo>
                  <a:pt x="454857" y="0"/>
                </a:lnTo>
                <a:lnTo>
                  <a:pt x="454857" y="914"/>
                </a:lnTo>
                <a:lnTo>
                  <a:pt x="445622" y="18295"/>
                </a:lnTo>
                <a:lnTo>
                  <a:pt x="431119" y="32934"/>
                </a:lnTo>
                <a:lnTo>
                  <a:pt x="412668" y="45744"/>
                </a:lnTo>
                <a:lnTo>
                  <a:pt x="391574" y="55800"/>
                </a:lnTo>
                <a:lnTo>
                  <a:pt x="369158" y="62198"/>
                </a:lnTo>
                <a:lnTo>
                  <a:pt x="344098" y="66782"/>
                </a:lnTo>
                <a:lnTo>
                  <a:pt x="319057" y="66782"/>
                </a:lnTo>
                <a:lnTo>
                  <a:pt x="292694" y="63125"/>
                </a:lnTo>
                <a:lnTo>
                  <a:pt x="291372" y="63125"/>
                </a:lnTo>
                <a:lnTo>
                  <a:pt x="214907" y="246980"/>
                </a:lnTo>
                <a:lnTo>
                  <a:pt x="0" y="768390"/>
                </a:lnTo>
                <a:lnTo>
                  <a:pt x="2643" y="769304"/>
                </a:lnTo>
                <a:lnTo>
                  <a:pt x="27685" y="775715"/>
                </a:lnTo>
                <a:lnTo>
                  <a:pt x="48779" y="785771"/>
                </a:lnTo>
                <a:lnTo>
                  <a:pt x="67229" y="798581"/>
                </a:lnTo>
                <a:lnTo>
                  <a:pt x="81733" y="812306"/>
                </a:lnTo>
                <a:lnTo>
                  <a:pt x="90967" y="828773"/>
                </a:lnTo>
                <a:lnTo>
                  <a:pt x="96236" y="846154"/>
                </a:lnTo>
                <a:lnTo>
                  <a:pt x="97558" y="863523"/>
                </a:lnTo>
                <a:lnTo>
                  <a:pt x="92289" y="881818"/>
                </a:lnTo>
                <a:lnTo>
                  <a:pt x="92289" y="884573"/>
                </a:lnTo>
                <a:lnTo>
                  <a:pt x="486489" y="963237"/>
                </a:lnTo>
                <a:lnTo>
                  <a:pt x="487811" y="960493"/>
                </a:lnTo>
                <a:lnTo>
                  <a:pt x="497045" y="943115"/>
                </a:lnTo>
                <a:lnTo>
                  <a:pt x="511549" y="928477"/>
                </a:lnTo>
                <a:lnTo>
                  <a:pt x="529999" y="915666"/>
                </a:lnTo>
                <a:lnTo>
                  <a:pt x="549772" y="905611"/>
                </a:lnTo>
                <a:lnTo>
                  <a:pt x="573509" y="898285"/>
                </a:lnTo>
                <a:lnTo>
                  <a:pt x="598551" y="894628"/>
                </a:lnTo>
                <a:lnTo>
                  <a:pt x="623611" y="893714"/>
                </a:lnTo>
                <a:lnTo>
                  <a:pt x="649974" y="897371"/>
                </a:lnTo>
                <a:lnTo>
                  <a:pt x="651296" y="898285"/>
                </a:lnTo>
                <a:lnTo>
                  <a:pt x="653921" y="898285"/>
                </a:lnTo>
                <a:lnTo>
                  <a:pt x="656565" y="899199"/>
                </a:lnTo>
                <a:close/>
              </a:path>
            </a:pathLst>
          </a:custGeom>
          <a:solidFill>
            <a:srgbClr val="840000"/>
          </a:solidFill>
        </p:spPr>
        <p:txBody>
          <a:bodyPr wrap="square" lIns="0" tIns="0" rIns="0" bIns="0" rtlCol="0">
            <a:noAutofit/>
          </a:bodyPr>
          <a:lstStyle/>
          <a:p>
            <a:endParaRPr/>
          </a:p>
        </p:txBody>
      </p:sp>
      <p:sp>
        <p:nvSpPr>
          <p:cNvPr id="26" name="object 26"/>
          <p:cNvSpPr/>
          <p:nvPr/>
        </p:nvSpPr>
        <p:spPr>
          <a:xfrm>
            <a:off x="8477106" y="2697995"/>
            <a:ext cx="497045" cy="482990"/>
          </a:xfrm>
          <a:custGeom>
            <a:avLst/>
            <a:gdLst/>
            <a:ahLst/>
            <a:cxnLst/>
            <a:rect l="l" t="t" r="r" b="b"/>
            <a:pathLst>
              <a:path w="497045" h="482990">
                <a:moveTo>
                  <a:pt x="258418" y="52143"/>
                </a:moveTo>
                <a:lnTo>
                  <a:pt x="239967" y="51229"/>
                </a:lnTo>
                <a:lnTo>
                  <a:pt x="220176" y="51229"/>
                </a:lnTo>
                <a:lnTo>
                  <a:pt x="203048" y="53057"/>
                </a:lnTo>
                <a:lnTo>
                  <a:pt x="185901" y="53971"/>
                </a:lnTo>
                <a:lnTo>
                  <a:pt x="170075" y="56714"/>
                </a:lnTo>
                <a:lnTo>
                  <a:pt x="155572" y="60370"/>
                </a:lnTo>
                <a:lnTo>
                  <a:pt x="148981" y="62198"/>
                </a:lnTo>
                <a:lnTo>
                  <a:pt x="141087" y="64941"/>
                </a:lnTo>
                <a:lnTo>
                  <a:pt x="134478" y="67683"/>
                </a:lnTo>
                <a:lnTo>
                  <a:pt x="129209" y="69524"/>
                </a:lnTo>
                <a:lnTo>
                  <a:pt x="122618" y="72267"/>
                </a:lnTo>
                <a:lnTo>
                  <a:pt x="117349" y="75009"/>
                </a:lnTo>
                <a:lnTo>
                  <a:pt x="112080" y="78666"/>
                </a:lnTo>
                <a:lnTo>
                  <a:pt x="106793" y="81408"/>
                </a:lnTo>
                <a:lnTo>
                  <a:pt x="98880" y="88734"/>
                </a:lnTo>
                <a:lnTo>
                  <a:pt x="90986" y="96047"/>
                </a:lnTo>
                <a:lnTo>
                  <a:pt x="85698" y="104274"/>
                </a:lnTo>
                <a:lnTo>
                  <a:pt x="81751" y="112514"/>
                </a:lnTo>
                <a:lnTo>
                  <a:pt x="77786" y="124410"/>
                </a:lnTo>
                <a:lnTo>
                  <a:pt x="75160" y="135380"/>
                </a:lnTo>
                <a:lnTo>
                  <a:pt x="75160" y="155503"/>
                </a:lnTo>
                <a:lnTo>
                  <a:pt x="77786" y="164657"/>
                </a:lnTo>
                <a:lnTo>
                  <a:pt x="81751" y="173799"/>
                </a:lnTo>
                <a:lnTo>
                  <a:pt x="87020" y="182038"/>
                </a:lnTo>
                <a:lnTo>
                  <a:pt x="93611" y="189351"/>
                </a:lnTo>
                <a:lnTo>
                  <a:pt x="101524" y="196665"/>
                </a:lnTo>
                <a:lnTo>
                  <a:pt x="110758" y="203990"/>
                </a:lnTo>
                <a:lnTo>
                  <a:pt x="119974" y="210389"/>
                </a:lnTo>
                <a:lnTo>
                  <a:pt x="131852" y="216788"/>
                </a:lnTo>
                <a:lnTo>
                  <a:pt x="138443" y="219543"/>
                </a:lnTo>
                <a:lnTo>
                  <a:pt x="145034" y="223200"/>
                </a:lnTo>
                <a:lnTo>
                  <a:pt x="151625" y="225942"/>
                </a:lnTo>
                <a:lnTo>
                  <a:pt x="158215" y="228684"/>
                </a:lnTo>
                <a:lnTo>
                  <a:pt x="164806" y="232341"/>
                </a:lnTo>
                <a:lnTo>
                  <a:pt x="171397" y="235083"/>
                </a:lnTo>
                <a:lnTo>
                  <a:pt x="177988" y="237838"/>
                </a:lnTo>
                <a:lnTo>
                  <a:pt x="185901" y="240581"/>
                </a:lnTo>
                <a:lnTo>
                  <a:pt x="217551" y="253379"/>
                </a:lnTo>
                <a:lnTo>
                  <a:pt x="272921" y="270760"/>
                </a:lnTo>
                <a:lnTo>
                  <a:pt x="282156" y="273515"/>
                </a:lnTo>
                <a:lnTo>
                  <a:pt x="290050" y="277171"/>
                </a:lnTo>
                <a:lnTo>
                  <a:pt x="299284" y="281742"/>
                </a:lnTo>
                <a:lnTo>
                  <a:pt x="307197" y="287227"/>
                </a:lnTo>
                <a:lnTo>
                  <a:pt x="313788" y="292724"/>
                </a:lnTo>
                <a:lnTo>
                  <a:pt x="317735" y="299123"/>
                </a:lnTo>
                <a:lnTo>
                  <a:pt x="317735" y="305522"/>
                </a:lnTo>
                <a:lnTo>
                  <a:pt x="316431" y="311934"/>
                </a:lnTo>
                <a:lnTo>
                  <a:pt x="312466" y="318333"/>
                </a:lnTo>
                <a:lnTo>
                  <a:pt x="307197" y="322903"/>
                </a:lnTo>
                <a:lnTo>
                  <a:pt x="300606" y="327474"/>
                </a:lnTo>
                <a:lnTo>
                  <a:pt x="291372" y="329315"/>
                </a:lnTo>
                <a:lnTo>
                  <a:pt x="286103" y="330229"/>
                </a:lnTo>
                <a:lnTo>
                  <a:pt x="280834" y="331143"/>
                </a:lnTo>
                <a:lnTo>
                  <a:pt x="270277" y="331143"/>
                </a:lnTo>
                <a:lnTo>
                  <a:pt x="265008" y="332057"/>
                </a:lnTo>
                <a:lnTo>
                  <a:pt x="259740" y="332057"/>
                </a:lnTo>
                <a:lnTo>
                  <a:pt x="253149" y="331143"/>
                </a:lnTo>
                <a:lnTo>
                  <a:pt x="247861" y="331143"/>
                </a:lnTo>
                <a:lnTo>
                  <a:pt x="189866" y="320161"/>
                </a:lnTo>
                <a:lnTo>
                  <a:pt x="179310" y="317419"/>
                </a:lnTo>
                <a:lnTo>
                  <a:pt x="168772" y="314676"/>
                </a:lnTo>
                <a:lnTo>
                  <a:pt x="159537" y="311020"/>
                </a:lnTo>
                <a:lnTo>
                  <a:pt x="148981" y="308265"/>
                </a:lnTo>
                <a:lnTo>
                  <a:pt x="139765" y="304608"/>
                </a:lnTo>
                <a:lnTo>
                  <a:pt x="129209" y="300952"/>
                </a:lnTo>
                <a:lnTo>
                  <a:pt x="119974" y="297295"/>
                </a:lnTo>
                <a:lnTo>
                  <a:pt x="110758" y="293639"/>
                </a:lnTo>
                <a:lnTo>
                  <a:pt x="101524" y="289055"/>
                </a:lnTo>
                <a:lnTo>
                  <a:pt x="92289" y="285399"/>
                </a:lnTo>
                <a:lnTo>
                  <a:pt x="83073" y="280828"/>
                </a:lnTo>
                <a:lnTo>
                  <a:pt x="75160" y="276257"/>
                </a:lnTo>
                <a:lnTo>
                  <a:pt x="67248" y="272588"/>
                </a:lnTo>
                <a:lnTo>
                  <a:pt x="60657" y="268017"/>
                </a:lnTo>
                <a:lnTo>
                  <a:pt x="52744" y="263447"/>
                </a:lnTo>
                <a:lnTo>
                  <a:pt x="46153" y="258876"/>
                </a:lnTo>
                <a:lnTo>
                  <a:pt x="30328" y="255220"/>
                </a:lnTo>
                <a:lnTo>
                  <a:pt x="0" y="325646"/>
                </a:lnTo>
                <a:lnTo>
                  <a:pt x="6609" y="329315"/>
                </a:lnTo>
                <a:lnTo>
                  <a:pt x="14503" y="333886"/>
                </a:lnTo>
                <a:lnTo>
                  <a:pt x="22416" y="337542"/>
                </a:lnTo>
                <a:lnTo>
                  <a:pt x="31650" y="342113"/>
                </a:lnTo>
                <a:lnTo>
                  <a:pt x="40885" y="345769"/>
                </a:lnTo>
                <a:lnTo>
                  <a:pt x="51422" y="350353"/>
                </a:lnTo>
                <a:lnTo>
                  <a:pt x="61979" y="354009"/>
                </a:lnTo>
                <a:lnTo>
                  <a:pt x="73839" y="358580"/>
                </a:lnTo>
                <a:lnTo>
                  <a:pt x="85698" y="362236"/>
                </a:lnTo>
                <a:lnTo>
                  <a:pt x="97576" y="365893"/>
                </a:lnTo>
                <a:lnTo>
                  <a:pt x="108114" y="369562"/>
                </a:lnTo>
                <a:lnTo>
                  <a:pt x="118671" y="373219"/>
                </a:lnTo>
                <a:lnTo>
                  <a:pt x="129209" y="375961"/>
                </a:lnTo>
                <a:lnTo>
                  <a:pt x="139765" y="378703"/>
                </a:lnTo>
                <a:lnTo>
                  <a:pt x="150303" y="381446"/>
                </a:lnTo>
                <a:lnTo>
                  <a:pt x="159537" y="383274"/>
                </a:lnTo>
                <a:lnTo>
                  <a:pt x="122618" y="470180"/>
                </a:lnTo>
                <a:lnTo>
                  <a:pt x="183275" y="482990"/>
                </a:lnTo>
                <a:lnTo>
                  <a:pt x="221498" y="395170"/>
                </a:lnTo>
                <a:lnTo>
                  <a:pt x="242592" y="397913"/>
                </a:lnTo>
                <a:lnTo>
                  <a:pt x="262365" y="399741"/>
                </a:lnTo>
                <a:lnTo>
                  <a:pt x="299284" y="399741"/>
                </a:lnTo>
                <a:lnTo>
                  <a:pt x="317735" y="398827"/>
                </a:lnTo>
                <a:lnTo>
                  <a:pt x="334882" y="396085"/>
                </a:lnTo>
                <a:lnTo>
                  <a:pt x="352029" y="393342"/>
                </a:lnTo>
                <a:lnTo>
                  <a:pt x="367836" y="388772"/>
                </a:lnTo>
                <a:lnTo>
                  <a:pt x="382339" y="383274"/>
                </a:lnTo>
                <a:lnTo>
                  <a:pt x="395521" y="377789"/>
                </a:lnTo>
                <a:lnTo>
                  <a:pt x="407399" y="371390"/>
                </a:lnTo>
                <a:lnTo>
                  <a:pt x="419259" y="364065"/>
                </a:lnTo>
                <a:lnTo>
                  <a:pt x="428493" y="355837"/>
                </a:lnTo>
                <a:lnTo>
                  <a:pt x="436406" y="347598"/>
                </a:lnTo>
                <a:lnTo>
                  <a:pt x="441675" y="338456"/>
                </a:lnTo>
                <a:lnTo>
                  <a:pt x="446944" y="328388"/>
                </a:lnTo>
                <a:lnTo>
                  <a:pt x="453535" y="310093"/>
                </a:lnTo>
                <a:lnTo>
                  <a:pt x="453535" y="291798"/>
                </a:lnTo>
                <a:lnTo>
                  <a:pt x="446944" y="275343"/>
                </a:lnTo>
                <a:lnTo>
                  <a:pt x="436406" y="260704"/>
                </a:lnTo>
                <a:lnTo>
                  <a:pt x="428493" y="253379"/>
                </a:lnTo>
                <a:lnTo>
                  <a:pt x="419259" y="246066"/>
                </a:lnTo>
                <a:lnTo>
                  <a:pt x="408721" y="238753"/>
                </a:lnTo>
                <a:lnTo>
                  <a:pt x="396843" y="231427"/>
                </a:lnTo>
                <a:lnTo>
                  <a:pt x="383661" y="225028"/>
                </a:lnTo>
                <a:lnTo>
                  <a:pt x="367836" y="217715"/>
                </a:lnTo>
                <a:lnTo>
                  <a:pt x="352029" y="211303"/>
                </a:lnTo>
                <a:lnTo>
                  <a:pt x="333560" y="203990"/>
                </a:lnTo>
                <a:lnTo>
                  <a:pt x="307197" y="194836"/>
                </a:lnTo>
                <a:lnTo>
                  <a:pt x="254452" y="177455"/>
                </a:lnTo>
                <a:lnTo>
                  <a:pt x="246558" y="174713"/>
                </a:lnTo>
                <a:lnTo>
                  <a:pt x="238645" y="171970"/>
                </a:lnTo>
                <a:lnTo>
                  <a:pt x="232054" y="169228"/>
                </a:lnTo>
                <a:lnTo>
                  <a:pt x="226767" y="166486"/>
                </a:lnTo>
                <a:lnTo>
                  <a:pt x="221498" y="163743"/>
                </a:lnTo>
                <a:lnTo>
                  <a:pt x="217551" y="161915"/>
                </a:lnTo>
                <a:lnTo>
                  <a:pt x="213586" y="159160"/>
                </a:lnTo>
                <a:lnTo>
                  <a:pt x="210960" y="157332"/>
                </a:lnTo>
                <a:lnTo>
                  <a:pt x="208317" y="152761"/>
                </a:lnTo>
                <a:lnTo>
                  <a:pt x="205673" y="147276"/>
                </a:lnTo>
                <a:lnTo>
                  <a:pt x="205673" y="141779"/>
                </a:lnTo>
                <a:lnTo>
                  <a:pt x="206995" y="136294"/>
                </a:lnTo>
                <a:lnTo>
                  <a:pt x="210960" y="130809"/>
                </a:lnTo>
                <a:lnTo>
                  <a:pt x="216229" y="126238"/>
                </a:lnTo>
                <a:lnTo>
                  <a:pt x="224142" y="123483"/>
                </a:lnTo>
                <a:lnTo>
                  <a:pt x="233358" y="120741"/>
                </a:lnTo>
                <a:lnTo>
                  <a:pt x="238645" y="119827"/>
                </a:lnTo>
                <a:lnTo>
                  <a:pt x="267652" y="119827"/>
                </a:lnTo>
                <a:lnTo>
                  <a:pt x="272921" y="120741"/>
                </a:lnTo>
                <a:lnTo>
                  <a:pt x="278190" y="121655"/>
                </a:lnTo>
                <a:lnTo>
                  <a:pt x="333560" y="132637"/>
                </a:lnTo>
                <a:lnTo>
                  <a:pt x="342795" y="135380"/>
                </a:lnTo>
                <a:lnTo>
                  <a:pt x="352029" y="137208"/>
                </a:lnTo>
                <a:lnTo>
                  <a:pt x="361245" y="139950"/>
                </a:lnTo>
                <a:lnTo>
                  <a:pt x="369158" y="142705"/>
                </a:lnTo>
                <a:lnTo>
                  <a:pt x="377070" y="146362"/>
                </a:lnTo>
                <a:lnTo>
                  <a:pt x="384983" y="149104"/>
                </a:lnTo>
                <a:lnTo>
                  <a:pt x="392896" y="151847"/>
                </a:lnTo>
                <a:lnTo>
                  <a:pt x="400808" y="155503"/>
                </a:lnTo>
                <a:lnTo>
                  <a:pt x="408721" y="159160"/>
                </a:lnTo>
                <a:lnTo>
                  <a:pt x="415312" y="162829"/>
                </a:lnTo>
                <a:lnTo>
                  <a:pt x="421903" y="165571"/>
                </a:lnTo>
                <a:lnTo>
                  <a:pt x="428493" y="169228"/>
                </a:lnTo>
                <a:lnTo>
                  <a:pt x="435084" y="172884"/>
                </a:lnTo>
                <a:lnTo>
                  <a:pt x="440353" y="176541"/>
                </a:lnTo>
                <a:lnTo>
                  <a:pt x="445622" y="180210"/>
                </a:lnTo>
                <a:lnTo>
                  <a:pt x="450910" y="183867"/>
                </a:lnTo>
                <a:lnTo>
                  <a:pt x="466716" y="187523"/>
                </a:lnTo>
                <a:lnTo>
                  <a:pt x="497045" y="117084"/>
                </a:lnTo>
                <a:lnTo>
                  <a:pt x="491776" y="114342"/>
                </a:lnTo>
                <a:lnTo>
                  <a:pt x="485185" y="110685"/>
                </a:lnTo>
                <a:lnTo>
                  <a:pt x="478595" y="107943"/>
                </a:lnTo>
                <a:lnTo>
                  <a:pt x="470682" y="104274"/>
                </a:lnTo>
                <a:lnTo>
                  <a:pt x="462769" y="101531"/>
                </a:lnTo>
                <a:lnTo>
                  <a:pt x="453535" y="97875"/>
                </a:lnTo>
                <a:lnTo>
                  <a:pt x="444319" y="94218"/>
                </a:lnTo>
                <a:lnTo>
                  <a:pt x="433762" y="90562"/>
                </a:lnTo>
                <a:lnTo>
                  <a:pt x="424528" y="86905"/>
                </a:lnTo>
                <a:lnTo>
                  <a:pt x="413990" y="84150"/>
                </a:lnTo>
                <a:lnTo>
                  <a:pt x="404756" y="81408"/>
                </a:lnTo>
                <a:lnTo>
                  <a:pt x="395521" y="77751"/>
                </a:lnTo>
                <a:lnTo>
                  <a:pt x="386305" y="75923"/>
                </a:lnTo>
                <a:lnTo>
                  <a:pt x="378392" y="73181"/>
                </a:lnTo>
                <a:lnTo>
                  <a:pt x="369158" y="70438"/>
                </a:lnTo>
                <a:lnTo>
                  <a:pt x="361245" y="68610"/>
                </a:lnTo>
                <a:lnTo>
                  <a:pt x="384983" y="12810"/>
                </a:lnTo>
                <a:lnTo>
                  <a:pt x="324344" y="0"/>
                </a:lnTo>
                <a:lnTo>
                  <a:pt x="300606" y="56714"/>
                </a:lnTo>
                <a:lnTo>
                  <a:pt x="279512" y="53971"/>
                </a:lnTo>
                <a:lnTo>
                  <a:pt x="258418" y="52143"/>
                </a:lnTo>
                <a:close/>
              </a:path>
            </a:pathLst>
          </a:custGeom>
          <a:solidFill>
            <a:srgbClr val="D2CE82"/>
          </a:solidFill>
        </p:spPr>
        <p:txBody>
          <a:bodyPr wrap="square" lIns="0" tIns="0" rIns="0" bIns="0" rtlCol="0">
            <a:noAutofit/>
          </a:bodyPr>
          <a:lstStyle/>
          <a:p>
            <a:endParaRPr/>
          </a:p>
        </p:txBody>
      </p:sp>
      <p:sp>
        <p:nvSpPr>
          <p:cNvPr id="27" name="object 27"/>
          <p:cNvSpPr/>
          <p:nvPr/>
        </p:nvSpPr>
        <p:spPr>
          <a:xfrm>
            <a:off x="7303735" y="3144396"/>
            <a:ext cx="224129" cy="234169"/>
          </a:xfrm>
          <a:custGeom>
            <a:avLst/>
            <a:gdLst/>
            <a:ahLst/>
            <a:cxnLst/>
            <a:rect l="l" t="t" r="r" b="b"/>
            <a:pathLst>
              <a:path w="224129" h="234169">
                <a:moveTo>
                  <a:pt x="0" y="117084"/>
                </a:moveTo>
                <a:lnTo>
                  <a:pt x="1318" y="126238"/>
                </a:lnTo>
                <a:lnTo>
                  <a:pt x="2636" y="135380"/>
                </a:lnTo>
                <a:lnTo>
                  <a:pt x="5272" y="143607"/>
                </a:lnTo>
                <a:lnTo>
                  <a:pt x="9227" y="151847"/>
                </a:lnTo>
                <a:lnTo>
                  <a:pt x="14501" y="159160"/>
                </a:lnTo>
                <a:lnTo>
                  <a:pt x="21094" y="165571"/>
                </a:lnTo>
                <a:lnTo>
                  <a:pt x="27685" y="171970"/>
                </a:lnTo>
                <a:lnTo>
                  <a:pt x="35595" y="177455"/>
                </a:lnTo>
                <a:lnTo>
                  <a:pt x="43497" y="182038"/>
                </a:lnTo>
                <a:lnTo>
                  <a:pt x="52731" y="186609"/>
                </a:lnTo>
                <a:lnTo>
                  <a:pt x="63288" y="190266"/>
                </a:lnTo>
                <a:lnTo>
                  <a:pt x="73826" y="193922"/>
                </a:lnTo>
                <a:lnTo>
                  <a:pt x="79095" y="194836"/>
                </a:lnTo>
                <a:lnTo>
                  <a:pt x="85704" y="196665"/>
                </a:lnTo>
                <a:lnTo>
                  <a:pt x="90973" y="197579"/>
                </a:lnTo>
                <a:lnTo>
                  <a:pt x="97564" y="198493"/>
                </a:lnTo>
                <a:lnTo>
                  <a:pt x="104154" y="199407"/>
                </a:lnTo>
                <a:lnTo>
                  <a:pt x="110745" y="199407"/>
                </a:lnTo>
                <a:lnTo>
                  <a:pt x="117336" y="200334"/>
                </a:lnTo>
                <a:lnTo>
                  <a:pt x="125249" y="200334"/>
                </a:lnTo>
                <a:lnTo>
                  <a:pt x="125249" y="234169"/>
                </a:lnTo>
                <a:lnTo>
                  <a:pt x="160846" y="234169"/>
                </a:lnTo>
                <a:lnTo>
                  <a:pt x="160846" y="200334"/>
                </a:lnTo>
                <a:lnTo>
                  <a:pt x="170081" y="199407"/>
                </a:lnTo>
                <a:lnTo>
                  <a:pt x="179297" y="198493"/>
                </a:lnTo>
                <a:lnTo>
                  <a:pt x="188531" y="196665"/>
                </a:lnTo>
                <a:lnTo>
                  <a:pt x="196444" y="195750"/>
                </a:lnTo>
                <a:lnTo>
                  <a:pt x="204357" y="193922"/>
                </a:lnTo>
                <a:lnTo>
                  <a:pt x="212269" y="192094"/>
                </a:lnTo>
                <a:lnTo>
                  <a:pt x="218860" y="190266"/>
                </a:lnTo>
                <a:lnTo>
                  <a:pt x="224129" y="188437"/>
                </a:lnTo>
                <a:lnTo>
                  <a:pt x="224129" y="146362"/>
                </a:lnTo>
                <a:lnTo>
                  <a:pt x="213573" y="146362"/>
                </a:lnTo>
                <a:lnTo>
                  <a:pt x="208304" y="150018"/>
                </a:lnTo>
                <a:lnTo>
                  <a:pt x="203035" y="152761"/>
                </a:lnTo>
                <a:lnTo>
                  <a:pt x="197766" y="155503"/>
                </a:lnTo>
                <a:lnTo>
                  <a:pt x="191175" y="158246"/>
                </a:lnTo>
                <a:lnTo>
                  <a:pt x="184584" y="160074"/>
                </a:lnTo>
                <a:lnTo>
                  <a:pt x="177975" y="161902"/>
                </a:lnTo>
                <a:lnTo>
                  <a:pt x="168759" y="163743"/>
                </a:lnTo>
                <a:lnTo>
                  <a:pt x="159524" y="164657"/>
                </a:lnTo>
                <a:lnTo>
                  <a:pt x="125249" y="164657"/>
                </a:lnTo>
                <a:lnTo>
                  <a:pt x="114692" y="162829"/>
                </a:lnTo>
                <a:lnTo>
                  <a:pt x="105476" y="159160"/>
                </a:lnTo>
                <a:lnTo>
                  <a:pt x="97564" y="154589"/>
                </a:lnTo>
                <a:lnTo>
                  <a:pt x="89651" y="149104"/>
                </a:lnTo>
                <a:lnTo>
                  <a:pt x="83060" y="142693"/>
                </a:lnTo>
                <a:lnTo>
                  <a:pt x="79095" y="135380"/>
                </a:lnTo>
                <a:lnTo>
                  <a:pt x="76469" y="127153"/>
                </a:lnTo>
                <a:lnTo>
                  <a:pt x="75147" y="117084"/>
                </a:lnTo>
                <a:lnTo>
                  <a:pt x="76469" y="107943"/>
                </a:lnTo>
                <a:lnTo>
                  <a:pt x="79095" y="99703"/>
                </a:lnTo>
                <a:lnTo>
                  <a:pt x="83060" y="91476"/>
                </a:lnTo>
                <a:lnTo>
                  <a:pt x="88329" y="85064"/>
                </a:lnTo>
                <a:lnTo>
                  <a:pt x="96242" y="78666"/>
                </a:lnTo>
                <a:lnTo>
                  <a:pt x="104154" y="74095"/>
                </a:lnTo>
                <a:lnTo>
                  <a:pt x="114692" y="70438"/>
                </a:lnTo>
                <a:lnTo>
                  <a:pt x="125249" y="68597"/>
                </a:lnTo>
                <a:lnTo>
                  <a:pt x="159524" y="68597"/>
                </a:lnTo>
                <a:lnTo>
                  <a:pt x="168759" y="69524"/>
                </a:lnTo>
                <a:lnTo>
                  <a:pt x="177975" y="71352"/>
                </a:lnTo>
                <a:lnTo>
                  <a:pt x="185888" y="74095"/>
                </a:lnTo>
                <a:lnTo>
                  <a:pt x="192478" y="76837"/>
                </a:lnTo>
                <a:lnTo>
                  <a:pt x="199069" y="79580"/>
                </a:lnTo>
                <a:lnTo>
                  <a:pt x="204357" y="82322"/>
                </a:lnTo>
                <a:lnTo>
                  <a:pt x="209626" y="85064"/>
                </a:lnTo>
                <a:lnTo>
                  <a:pt x="213573" y="86893"/>
                </a:lnTo>
                <a:lnTo>
                  <a:pt x="224129" y="86893"/>
                </a:lnTo>
                <a:lnTo>
                  <a:pt x="224129" y="44817"/>
                </a:lnTo>
                <a:lnTo>
                  <a:pt x="220164" y="42989"/>
                </a:lnTo>
                <a:lnTo>
                  <a:pt x="214895" y="42075"/>
                </a:lnTo>
                <a:lnTo>
                  <a:pt x="209626" y="40247"/>
                </a:lnTo>
                <a:lnTo>
                  <a:pt x="201713" y="38418"/>
                </a:lnTo>
                <a:lnTo>
                  <a:pt x="197766" y="37504"/>
                </a:lnTo>
                <a:lnTo>
                  <a:pt x="192478" y="36590"/>
                </a:lnTo>
                <a:lnTo>
                  <a:pt x="187209" y="35676"/>
                </a:lnTo>
                <a:lnTo>
                  <a:pt x="183262" y="34762"/>
                </a:lnTo>
                <a:lnTo>
                  <a:pt x="177975" y="34762"/>
                </a:lnTo>
                <a:lnTo>
                  <a:pt x="172706" y="33848"/>
                </a:lnTo>
                <a:lnTo>
                  <a:pt x="166115" y="32934"/>
                </a:lnTo>
                <a:lnTo>
                  <a:pt x="160846" y="32934"/>
                </a:lnTo>
                <a:lnTo>
                  <a:pt x="160846" y="0"/>
                </a:lnTo>
                <a:lnTo>
                  <a:pt x="125249" y="0"/>
                </a:lnTo>
                <a:lnTo>
                  <a:pt x="125249" y="32019"/>
                </a:lnTo>
                <a:lnTo>
                  <a:pt x="118658" y="32019"/>
                </a:lnTo>
                <a:lnTo>
                  <a:pt x="112067" y="32934"/>
                </a:lnTo>
                <a:lnTo>
                  <a:pt x="106798" y="33848"/>
                </a:lnTo>
                <a:lnTo>
                  <a:pt x="100189" y="33848"/>
                </a:lnTo>
                <a:lnTo>
                  <a:pt x="94920" y="34762"/>
                </a:lnTo>
                <a:lnTo>
                  <a:pt x="88329" y="35676"/>
                </a:lnTo>
                <a:lnTo>
                  <a:pt x="83060" y="37504"/>
                </a:lnTo>
                <a:lnTo>
                  <a:pt x="77791" y="38418"/>
                </a:lnTo>
                <a:lnTo>
                  <a:pt x="72504" y="40247"/>
                </a:lnTo>
                <a:lnTo>
                  <a:pt x="65913" y="41161"/>
                </a:lnTo>
                <a:lnTo>
                  <a:pt x="60644" y="42989"/>
                </a:lnTo>
                <a:lnTo>
                  <a:pt x="56697" y="44817"/>
                </a:lnTo>
                <a:lnTo>
                  <a:pt x="51410" y="47560"/>
                </a:lnTo>
                <a:lnTo>
                  <a:pt x="46141" y="49388"/>
                </a:lnTo>
                <a:lnTo>
                  <a:pt x="42188" y="51229"/>
                </a:lnTo>
                <a:lnTo>
                  <a:pt x="38232" y="53971"/>
                </a:lnTo>
                <a:lnTo>
                  <a:pt x="30323" y="59456"/>
                </a:lnTo>
                <a:lnTo>
                  <a:pt x="22412" y="65855"/>
                </a:lnTo>
                <a:lnTo>
                  <a:pt x="15819" y="73181"/>
                </a:lnTo>
                <a:lnTo>
                  <a:pt x="10547" y="80494"/>
                </a:lnTo>
                <a:lnTo>
                  <a:pt x="6590" y="88734"/>
                </a:lnTo>
                <a:lnTo>
                  <a:pt x="2636" y="96961"/>
                </a:lnTo>
                <a:lnTo>
                  <a:pt x="1318" y="107029"/>
                </a:lnTo>
                <a:lnTo>
                  <a:pt x="0" y="117084"/>
                </a:lnTo>
                <a:close/>
              </a:path>
            </a:pathLst>
          </a:custGeom>
          <a:solidFill>
            <a:srgbClr val="840000"/>
          </a:solidFill>
        </p:spPr>
        <p:txBody>
          <a:bodyPr wrap="square" lIns="0" tIns="0" rIns="0" bIns="0" rtlCol="0">
            <a:noAutofit/>
          </a:bodyPr>
          <a:lstStyle/>
          <a:p>
            <a:endParaRPr/>
          </a:p>
        </p:txBody>
      </p:sp>
      <p:sp>
        <p:nvSpPr>
          <p:cNvPr id="28" name="object 28"/>
          <p:cNvSpPr/>
          <p:nvPr/>
        </p:nvSpPr>
        <p:spPr>
          <a:xfrm>
            <a:off x="3310882" y="4647092"/>
            <a:ext cx="1785455" cy="1493664"/>
          </a:xfrm>
          <a:custGeom>
            <a:avLst/>
            <a:gdLst/>
            <a:ahLst/>
            <a:cxnLst/>
            <a:rect l="l" t="t" r="r" b="b"/>
            <a:pathLst>
              <a:path w="1785455" h="1493664">
                <a:moveTo>
                  <a:pt x="1583114" y="1493664"/>
                </a:moveTo>
                <a:lnTo>
                  <a:pt x="1622778" y="1490312"/>
                </a:lnTo>
                <a:lnTo>
                  <a:pt x="1662470" y="1480253"/>
                </a:lnTo>
                <a:lnTo>
                  <a:pt x="1725945" y="1443373"/>
                </a:lnTo>
                <a:lnTo>
                  <a:pt x="1769600" y="1389729"/>
                </a:lnTo>
                <a:lnTo>
                  <a:pt x="1785455" y="1322676"/>
                </a:lnTo>
                <a:lnTo>
                  <a:pt x="1785455" y="170990"/>
                </a:lnTo>
                <a:lnTo>
                  <a:pt x="1769600" y="103935"/>
                </a:lnTo>
                <a:lnTo>
                  <a:pt x="1725945" y="50291"/>
                </a:lnTo>
                <a:lnTo>
                  <a:pt x="1662470" y="13411"/>
                </a:lnTo>
                <a:lnTo>
                  <a:pt x="1622778" y="3352"/>
                </a:lnTo>
                <a:lnTo>
                  <a:pt x="1583114" y="0"/>
                </a:lnTo>
                <a:lnTo>
                  <a:pt x="202343" y="0"/>
                </a:lnTo>
                <a:lnTo>
                  <a:pt x="162676" y="3352"/>
                </a:lnTo>
                <a:lnTo>
                  <a:pt x="122998" y="13411"/>
                </a:lnTo>
                <a:lnTo>
                  <a:pt x="59516" y="50291"/>
                </a:lnTo>
                <a:lnTo>
                  <a:pt x="15871" y="103935"/>
                </a:lnTo>
                <a:lnTo>
                  <a:pt x="0" y="170990"/>
                </a:lnTo>
                <a:lnTo>
                  <a:pt x="0" y="1322676"/>
                </a:lnTo>
                <a:lnTo>
                  <a:pt x="15871" y="1389729"/>
                </a:lnTo>
                <a:lnTo>
                  <a:pt x="59516" y="1443373"/>
                </a:lnTo>
                <a:lnTo>
                  <a:pt x="122998" y="1480253"/>
                </a:lnTo>
                <a:lnTo>
                  <a:pt x="162676" y="1490312"/>
                </a:lnTo>
                <a:lnTo>
                  <a:pt x="202343" y="1493664"/>
                </a:lnTo>
                <a:lnTo>
                  <a:pt x="1583114" y="1493664"/>
                </a:lnTo>
                <a:close/>
              </a:path>
            </a:pathLst>
          </a:custGeom>
          <a:solidFill>
            <a:srgbClr val="7B9BFF"/>
          </a:solidFill>
        </p:spPr>
        <p:txBody>
          <a:bodyPr wrap="square" lIns="0" tIns="0" rIns="0" bIns="0" rtlCol="0">
            <a:noAutofit/>
          </a:bodyPr>
          <a:lstStyle/>
          <a:p>
            <a:endParaRPr/>
          </a:p>
        </p:txBody>
      </p:sp>
      <p:sp>
        <p:nvSpPr>
          <p:cNvPr id="29" name="object 29"/>
          <p:cNvSpPr/>
          <p:nvPr/>
        </p:nvSpPr>
        <p:spPr>
          <a:xfrm>
            <a:off x="3475539" y="4677267"/>
            <a:ext cx="1602946" cy="1475224"/>
          </a:xfrm>
          <a:custGeom>
            <a:avLst/>
            <a:gdLst/>
            <a:ahLst/>
            <a:cxnLst/>
            <a:rect l="l" t="t" r="r" b="b"/>
            <a:pathLst>
              <a:path w="1602946" h="1475224">
                <a:moveTo>
                  <a:pt x="33721" y="888482"/>
                </a:moveTo>
                <a:lnTo>
                  <a:pt x="39681" y="896875"/>
                </a:lnTo>
                <a:lnTo>
                  <a:pt x="71418" y="927050"/>
                </a:lnTo>
                <a:lnTo>
                  <a:pt x="103155" y="952184"/>
                </a:lnTo>
                <a:lnTo>
                  <a:pt x="134892" y="972301"/>
                </a:lnTo>
                <a:lnTo>
                  <a:pt x="168625" y="987400"/>
                </a:lnTo>
                <a:lnTo>
                  <a:pt x="200362" y="999123"/>
                </a:lnTo>
                <a:lnTo>
                  <a:pt x="232099" y="1007516"/>
                </a:lnTo>
                <a:lnTo>
                  <a:pt x="261868" y="1010869"/>
                </a:lnTo>
                <a:lnTo>
                  <a:pt x="291637" y="1014222"/>
                </a:lnTo>
                <a:lnTo>
                  <a:pt x="317415" y="1014222"/>
                </a:lnTo>
                <a:lnTo>
                  <a:pt x="341224" y="1012534"/>
                </a:lnTo>
                <a:lnTo>
                  <a:pt x="363038" y="1009181"/>
                </a:lnTo>
                <a:lnTo>
                  <a:pt x="382884" y="1005828"/>
                </a:lnTo>
                <a:lnTo>
                  <a:pt x="396771" y="1002475"/>
                </a:lnTo>
                <a:lnTo>
                  <a:pt x="408662" y="999123"/>
                </a:lnTo>
                <a:lnTo>
                  <a:pt x="416617" y="997458"/>
                </a:lnTo>
                <a:lnTo>
                  <a:pt x="418585" y="995770"/>
                </a:lnTo>
                <a:lnTo>
                  <a:pt x="694351" y="854954"/>
                </a:lnTo>
                <a:lnTo>
                  <a:pt x="726088" y="863348"/>
                </a:lnTo>
                <a:lnTo>
                  <a:pt x="755857" y="886817"/>
                </a:lnTo>
                <a:lnTo>
                  <a:pt x="781635" y="918656"/>
                </a:lnTo>
                <a:lnTo>
                  <a:pt x="803449" y="953872"/>
                </a:lnTo>
                <a:lnTo>
                  <a:pt x="821299" y="990752"/>
                </a:lnTo>
                <a:lnTo>
                  <a:pt x="835186" y="1022592"/>
                </a:lnTo>
                <a:lnTo>
                  <a:pt x="843141" y="1046061"/>
                </a:lnTo>
                <a:lnTo>
                  <a:pt x="849101" y="1155038"/>
                </a:lnTo>
                <a:lnTo>
                  <a:pt x="864955" y="1238857"/>
                </a:lnTo>
                <a:lnTo>
                  <a:pt x="886769" y="1309265"/>
                </a:lnTo>
                <a:lnTo>
                  <a:pt x="912575" y="1364583"/>
                </a:lnTo>
                <a:lnTo>
                  <a:pt x="938352" y="1408169"/>
                </a:lnTo>
                <a:lnTo>
                  <a:pt x="962162" y="1436668"/>
                </a:lnTo>
                <a:lnTo>
                  <a:pt x="978045" y="1455108"/>
                </a:lnTo>
                <a:lnTo>
                  <a:pt x="983976" y="1460137"/>
                </a:lnTo>
                <a:lnTo>
                  <a:pt x="987968" y="1460137"/>
                </a:lnTo>
                <a:lnTo>
                  <a:pt x="997863" y="1461813"/>
                </a:lnTo>
                <a:lnTo>
                  <a:pt x="1011750" y="1461813"/>
                </a:lnTo>
                <a:lnTo>
                  <a:pt x="1033591" y="1463490"/>
                </a:lnTo>
                <a:lnTo>
                  <a:pt x="1057401" y="1465166"/>
                </a:lnTo>
                <a:lnTo>
                  <a:pt x="1085174" y="1466842"/>
                </a:lnTo>
                <a:lnTo>
                  <a:pt x="1116912" y="1468519"/>
                </a:lnTo>
                <a:lnTo>
                  <a:pt x="1148649" y="1470195"/>
                </a:lnTo>
                <a:lnTo>
                  <a:pt x="1182381" y="1471872"/>
                </a:lnTo>
                <a:lnTo>
                  <a:pt x="1218082" y="1471872"/>
                </a:lnTo>
                <a:lnTo>
                  <a:pt x="1251815" y="1473548"/>
                </a:lnTo>
                <a:lnTo>
                  <a:pt x="1285520" y="1473548"/>
                </a:lnTo>
                <a:lnTo>
                  <a:pt x="1317285" y="1475224"/>
                </a:lnTo>
                <a:lnTo>
                  <a:pt x="1347026" y="1473548"/>
                </a:lnTo>
                <a:lnTo>
                  <a:pt x="1372831" y="1473548"/>
                </a:lnTo>
                <a:lnTo>
                  <a:pt x="1396641" y="1471872"/>
                </a:lnTo>
                <a:lnTo>
                  <a:pt x="1436306" y="1463490"/>
                </a:lnTo>
                <a:lnTo>
                  <a:pt x="1472006" y="1448402"/>
                </a:lnTo>
                <a:lnTo>
                  <a:pt x="1505739" y="1429962"/>
                </a:lnTo>
                <a:lnTo>
                  <a:pt x="1533513" y="1408169"/>
                </a:lnTo>
                <a:lnTo>
                  <a:pt x="1557322" y="1388052"/>
                </a:lnTo>
                <a:lnTo>
                  <a:pt x="1575173" y="1371289"/>
                </a:lnTo>
                <a:lnTo>
                  <a:pt x="1585096" y="1359554"/>
                </a:lnTo>
                <a:lnTo>
                  <a:pt x="1591055" y="1173466"/>
                </a:lnTo>
                <a:lnTo>
                  <a:pt x="1596987" y="772823"/>
                </a:lnTo>
                <a:lnTo>
                  <a:pt x="1600978" y="362098"/>
                </a:lnTo>
                <a:lnTo>
                  <a:pt x="1602946" y="150874"/>
                </a:lnTo>
                <a:lnTo>
                  <a:pt x="1598982" y="129093"/>
                </a:lnTo>
                <a:lnTo>
                  <a:pt x="1579136" y="80466"/>
                </a:lnTo>
                <a:lnTo>
                  <a:pt x="1565250" y="55308"/>
                </a:lnTo>
                <a:lnTo>
                  <a:pt x="1551363" y="33527"/>
                </a:lnTo>
                <a:lnTo>
                  <a:pt x="1539472" y="16763"/>
                </a:lnTo>
                <a:lnTo>
                  <a:pt x="1531517" y="5017"/>
                </a:lnTo>
                <a:lnTo>
                  <a:pt x="1527553" y="0"/>
                </a:lnTo>
                <a:lnTo>
                  <a:pt x="1444233" y="0"/>
                </a:lnTo>
                <a:lnTo>
                  <a:pt x="109114" y="581715"/>
                </a:lnTo>
                <a:lnTo>
                  <a:pt x="47608" y="637024"/>
                </a:lnTo>
                <a:lnTo>
                  <a:pt x="13875" y="692357"/>
                </a:lnTo>
                <a:lnTo>
                  <a:pt x="0" y="746001"/>
                </a:lnTo>
                <a:lnTo>
                  <a:pt x="0" y="794604"/>
                </a:lnTo>
                <a:lnTo>
                  <a:pt x="7943" y="834837"/>
                </a:lnTo>
                <a:lnTo>
                  <a:pt x="21830" y="868365"/>
                </a:lnTo>
                <a:lnTo>
                  <a:pt x="33721" y="888482"/>
                </a:lnTo>
                <a:close/>
              </a:path>
            </a:pathLst>
          </a:custGeom>
          <a:solidFill>
            <a:srgbClr val="FFFFFF"/>
          </a:solidFill>
        </p:spPr>
        <p:txBody>
          <a:bodyPr wrap="square" lIns="0" tIns="0" rIns="0" bIns="0" rtlCol="0">
            <a:noAutofit/>
          </a:bodyPr>
          <a:lstStyle/>
          <a:p>
            <a:endParaRPr/>
          </a:p>
        </p:txBody>
      </p:sp>
      <p:sp>
        <p:nvSpPr>
          <p:cNvPr id="30" name="object 30"/>
          <p:cNvSpPr/>
          <p:nvPr/>
        </p:nvSpPr>
        <p:spPr>
          <a:xfrm>
            <a:off x="3213673" y="4610213"/>
            <a:ext cx="152754" cy="1592571"/>
          </a:xfrm>
          <a:custGeom>
            <a:avLst/>
            <a:gdLst/>
            <a:ahLst/>
            <a:cxnLst/>
            <a:rect l="l" t="t" r="r" b="b"/>
            <a:pathLst>
              <a:path w="152754" h="1592571">
                <a:moveTo>
                  <a:pt x="3967" y="1423256"/>
                </a:moveTo>
                <a:lnTo>
                  <a:pt x="35710" y="1486959"/>
                </a:lnTo>
                <a:lnTo>
                  <a:pt x="73401" y="1533898"/>
                </a:lnTo>
                <a:lnTo>
                  <a:pt x="111094" y="1569102"/>
                </a:lnTo>
                <a:lnTo>
                  <a:pt x="150772" y="1592571"/>
                </a:lnTo>
                <a:lnTo>
                  <a:pt x="152754" y="1389731"/>
                </a:lnTo>
                <a:lnTo>
                  <a:pt x="152754" y="184401"/>
                </a:lnTo>
                <a:lnTo>
                  <a:pt x="146803" y="0"/>
                </a:lnTo>
                <a:lnTo>
                  <a:pt x="101177" y="30174"/>
                </a:lnTo>
                <a:lnTo>
                  <a:pt x="63483" y="62014"/>
                </a:lnTo>
                <a:lnTo>
                  <a:pt x="49596" y="78778"/>
                </a:lnTo>
                <a:lnTo>
                  <a:pt x="35710" y="95542"/>
                </a:lnTo>
                <a:lnTo>
                  <a:pt x="25789" y="112305"/>
                </a:lnTo>
                <a:lnTo>
                  <a:pt x="15869" y="129069"/>
                </a:lnTo>
                <a:lnTo>
                  <a:pt x="9919" y="144168"/>
                </a:lnTo>
                <a:lnTo>
                  <a:pt x="3967" y="157579"/>
                </a:lnTo>
                <a:lnTo>
                  <a:pt x="0" y="165950"/>
                </a:lnTo>
                <a:lnTo>
                  <a:pt x="0" y="1413198"/>
                </a:lnTo>
                <a:lnTo>
                  <a:pt x="3967" y="1423256"/>
                </a:lnTo>
                <a:close/>
              </a:path>
            </a:pathLst>
          </a:custGeom>
          <a:solidFill>
            <a:srgbClr val="000000"/>
          </a:solidFill>
        </p:spPr>
        <p:txBody>
          <a:bodyPr wrap="square" lIns="0" tIns="0" rIns="0" bIns="0" rtlCol="0">
            <a:noAutofit/>
          </a:bodyPr>
          <a:lstStyle/>
          <a:p>
            <a:endParaRPr/>
          </a:p>
        </p:txBody>
      </p:sp>
      <p:sp>
        <p:nvSpPr>
          <p:cNvPr id="31" name="object 31"/>
          <p:cNvSpPr/>
          <p:nvPr/>
        </p:nvSpPr>
        <p:spPr>
          <a:xfrm>
            <a:off x="3360477" y="4564939"/>
            <a:ext cx="1821175" cy="1661315"/>
          </a:xfrm>
          <a:custGeom>
            <a:avLst/>
            <a:gdLst/>
            <a:ahLst/>
            <a:cxnLst/>
            <a:rect l="l" t="t" r="r" b="b"/>
            <a:pathLst>
              <a:path w="1821175" h="1661315">
                <a:moveTo>
                  <a:pt x="75387" y="1659638"/>
                </a:moveTo>
                <a:lnTo>
                  <a:pt x="103160" y="1661315"/>
                </a:lnTo>
                <a:lnTo>
                  <a:pt x="1549373" y="1661315"/>
                </a:lnTo>
                <a:lnTo>
                  <a:pt x="1555332" y="1659638"/>
                </a:lnTo>
                <a:lnTo>
                  <a:pt x="1622798" y="1644551"/>
                </a:lnTo>
                <a:lnTo>
                  <a:pt x="1678344" y="1624434"/>
                </a:lnTo>
                <a:lnTo>
                  <a:pt x="1723968" y="1597612"/>
                </a:lnTo>
                <a:lnTo>
                  <a:pt x="1759669" y="1565761"/>
                </a:lnTo>
                <a:lnTo>
                  <a:pt x="1785474" y="1533909"/>
                </a:lnTo>
                <a:lnTo>
                  <a:pt x="1815216" y="1471883"/>
                </a:lnTo>
                <a:lnTo>
                  <a:pt x="1821175" y="1446728"/>
                </a:lnTo>
                <a:lnTo>
                  <a:pt x="1821175" y="248127"/>
                </a:lnTo>
                <a:lnTo>
                  <a:pt x="1819179" y="243086"/>
                </a:lnTo>
                <a:lnTo>
                  <a:pt x="1799361" y="176031"/>
                </a:lnTo>
                <a:lnTo>
                  <a:pt x="1767596" y="122387"/>
                </a:lnTo>
                <a:lnTo>
                  <a:pt x="1729928" y="80466"/>
                </a:lnTo>
                <a:lnTo>
                  <a:pt x="1686272" y="48626"/>
                </a:lnTo>
                <a:lnTo>
                  <a:pt x="1646580" y="26822"/>
                </a:lnTo>
                <a:lnTo>
                  <a:pt x="1608911" y="11746"/>
                </a:lnTo>
                <a:lnTo>
                  <a:pt x="1583106" y="5040"/>
                </a:lnTo>
                <a:lnTo>
                  <a:pt x="1571215" y="1688"/>
                </a:lnTo>
                <a:lnTo>
                  <a:pt x="1563259" y="0"/>
                </a:lnTo>
                <a:lnTo>
                  <a:pt x="194408" y="0"/>
                </a:lnTo>
                <a:lnTo>
                  <a:pt x="154743" y="1688"/>
                </a:lnTo>
                <a:lnTo>
                  <a:pt x="85304" y="13411"/>
                </a:lnTo>
                <a:lnTo>
                  <a:pt x="25791" y="33527"/>
                </a:lnTo>
                <a:lnTo>
                  <a:pt x="0" y="45274"/>
                </a:lnTo>
                <a:lnTo>
                  <a:pt x="5951" y="229675"/>
                </a:lnTo>
                <a:lnTo>
                  <a:pt x="11904" y="217952"/>
                </a:lnTo>
                <a:lnTo>
                  <a:pt x="21822" y="204518"/>
                </a:lnTo>
                <a:lnTo>
                  <a:pt x="53564" y="170990"/>
                </a:lnTo>
                <a:lnTo>
                  <a:pt x="111096" y="140816"/>
                </a:lnTo>
                <a:lnTo>
                  <a:pt x="148784" y="132445"/>
                </a:lnTo>
                <a:lnTo>
                  <a:pt x="194408" y="129093"/>
                </a:lnTo>
                <a:lnTo>
                  <a:pt x="1543441" y="129093"/>
                </a:lnTo>
                <a:lnTo>
                  <a:pt x="1591033" y="149209"/>
                </a:lnTo>
                <a:lnTo>
                  <a:pt x="1628729" y="177696"/>
                </a:lnTo>
                <a:lnTo>
                  <a:pt x="1660466" y="224658"/>
                </a:lnTo>
                <a:lnTo>
                  <a:pt x="1668421" y="256498"/>
                </a:lnTo>
                <a:lnTo>
                  <a:pt x="1668421" y="1438358"/>
                </a:lnTo>
                <a:lnTo>
                  <a:pt x="1642616" y="1483618"/>
                </a:lnTo>
                <a:lnTo>
                  <a:pt x="1602952" y="1512116"/>
                </a:lnTo>
                <a:lnTo>
                  <a:pt x="1535486" y="1532233"/>
                </a:lnTo>
                <a:lnTo>
                  <a:pt x="111096" y="1532233"/>
                </a:lnTo>
                <a:lnTo>
                  <a:pt x="107127" y="1533909"/>
                </a:lnTo>
                <a:lnTo>
                  <a:pt x="103160" y="1533909"/>
                </a:lnTo>
                <a:lnTo>
                  <a:pt x="93240" y="1532233"/>
                </a:lnTo>
                <a:lnTo>
                  <a:pt x="83322" y="1527204"/>
                </a:lnTo>
                <a:lnTo>
                  <a:pt x="69436" y="1520498"/>
                </a:lnTo>
                <a:lnTo>
                  <a:pt x="53564" y="1508764"/>
                </a:lnTo>
                <a:lnTo>
                  <a:pt x="37693" y="1490323"/>
                </a:lnTo>
                <a:lnTo>
                  <a:pt x="21822" y="1466854"/>
                </a:lnTo>
                <a:lnTo>
                  <a:pt x="5951" y="1435005"/>
                </a:lnTo>
                <a:lnTo>
                  <a:pt x="3969" y="1637845"/>
                </a:lnTo>
                <a:lnTo>
                  <a:pt x="41662" y="1652932"/>
                </a:lnTo>
                <a:lnTo>
                  <a:pt x="75387" y="1659638"/>
                </a:lnTo>
                <a:close/>
              </a:path>
            </a:pathLst>
          </a:custGeom>
          <a:solidFill>
            <a:srgbClr val="000000"/>
          </a:solidFill>
        </p:spPr>
        <p:txBody>
          <a:bodyPr wrap="square" lIns="0" tIns="0" rIns="0" bIns="0" rtlCol="0">
            <a:noAutofit/>
          </a:bodyPr>
          <a:lstStyle/>
          <a:p>
            <a:endParaRPr/>
          </a:p>
        </p:txBody>
      </p:sp>
      <p:sp>
        <p:nvSpPr>
          <p:cNvPr id="32" name="object 32"/>
          <p:cNvSpPr/>
          <p:nvPr/>
        </p:nvSpPr>
        <p:spPr>
          <a:xfrm>
            <a:off x="4032992" y="5123185"/>
            <a:ext cx="335276" cy="192795"/>
          </a:xfrm>
          <a:custGeom>
            <a:avLst/>
            <a:gdLst/>
            <a:ahLst/>
            <a:cxnLst/>
            <a:rect l="l" t="t" r="r" b="b"/>
            <a:pathLst>
              <a:path w="335276" h="192795">
                <a:moveTo>
                  <a:pt x="303539" y="60349"/>
                </a:moveTo>
                <a:lnTo>
                  <a:pt x="291648" y="58685"/>
                </a:lnTo>
                <a:lnTo>
                  <a:pt x="279729" y="55332"/>
                </a:lnTo>
                <a:lnTo>
                  <a:pt x="265842" y="55332"/>
                </a:lnTo>
                <a:lnTo>
                  <a:pt x="251956" y="56996"/>
                </a:lnTo>
                <a:lnTo>
                  <a:pt x="238069" y="58685"/>
                </a:lnTo>
                <a:lnTo>
                  <a:pt x="224182" y="62037"/>
                </a:lnTo>
                <a:lnTo>
                  <a:pt x="236073" y="50291"/>
                </a:lnTo>
                <a:lnTo>
                  <a:pt x="242033" y="35215"/>
                </a:lnTo>
                <a:lnTo>
                  <a:pt x="240065" y="23469"/>
                </a:lnTo>
                <a:lnTo>
                  <a:pt x="234105" y="15099"/>
                </a:lnTo>
                <a:lnTo>
                  <a:pt x="220219" y="6705"/>
                </a:lnTo>
                <a:lnTo>
                  <a:pt x="204336" y="1688"/>
                </a:lnTo>
                <a:lnTo>
                  <a:pt x="188482" y="0"/>
                </a:lnTo>
                <a:lnTo>
                  <a:pt x="170631" y="0"/>
                </a:lnTo>
                <a:lnTo>
                  <a:pt x="152753" y="1688"/>
                </a:lnTo>
                <a:lnTo>
                  <a:pt x="134903" y="6705"/>
                </a:lnTo>
                <a:lnTo>
                  <a:pt x="117052" y="11746"/>
                </a:lnTo>
                <a:lnTo>
                  <a:pt x="101198" y="18451"/>
                </a:lnTo>
                <a:lnTo>
                  <a:pt x="0" y="63702"/>
                </a:lnTo>
                <a:lnTo>
                  <a:pt x="51583" y="67055"/>
                </a:lnTo>
                <a:lnTo>
                  <a:pt x="174595" y="164285"/>
                </a:lnTo>
                <a:lnTo>
                  <a:pt x="168636" y="192795"/>
                </a:lnTo>
                <a:lnTo>
                  <a:pt x="275766" y="145856"/>
                </a:lnTo>
                <a:lnTo>
                  <a:pt x="291648" y="137463"/>
                </a:lnTo>
                <a:lnTo>
                  <a:pt x="305535" y="129093"/>
                </a:lnTo>
                <a:lnTo>
                  <a:pt x="317426" y="119034"/>
                </a:lnTo>
                <a:lnTo>
                  <a:pt x="327349" y="110641"/>
                </a:lnTo>
                <a:lnTo>
                  <a:pt x="333308" y="100582"/>
                </a:lnTo>
                <a:lnTo>
                  <a:pt x="335276" y="90524"/>
                </a:lnTo>
                <a:lnTo>
                  <a:pt x="333308" y="80466"/>
                </a:lnTo>
                <a:lnTo>
                  <a:pt x="323385" y="70408"/>
                </a:lnTo>
                <a:lnTo>
                  <a:pt x="315430" y="65390"/>
                </a:lnTo>
                <a:lnTo>
                  <a:pt x="303539" y="60349"/>
                </a:lnTo>
                <a:close/>
              </a:path>
            </a:pathLst>
          </a:custGeom>
          <a:solidFill>
            <a:srgbClr val="000000"/>
          </a:solidFill>
        </p:spPr>
        <p:txBody>
          <a:bodyPr wrap="square" lIns="0" tIns="0" rIns="0" bIns="0" rtlCol="0">
            <a:noAutofit/>
          </a:bodyPr>
          <a:lstStyle/>
          <a:p>
            <a:endParaRPr/>
          </a:p>
        </p:txBody>
      </p:sp>
      <p:sp>
        <p:nvSpPr>
          <p:cNvPr id="33" name="object 33"/>
          <p:cNvSpPr/>
          <p:nvPr/>
        </p:nvSpPr>
        <p:spPr>
          <a:xfrm>
            <a:off x="4144085" y="5153360"/>
            <a:ext cx="73424" cy="50291"/>
          </a:xfrm>
          <a:custGeom>
            <a:avLst/>
            <a:gdLst/>
            <a:ahLst/>
            <a:cxnLst/>
            <a:rect l="l" t="t" r="r" b="b"/>
            <a:pathLst>
              <a:path w="73424" h="50291">
                <a:moveTo>
                  <a:pt x="51583" y="50291"/>
                </a:moveTo>
                <a:lnTo>
                  <a:pt x="61506" y="46938"/>
                </a:lnTo>
                <a:lnTo>
                  <a:pt x="71429" y="40233"/>
                </a:lnTo>
                <a:lnTo>
                  <a:pt x="73424" y="31862"/>
                </a:lnTo>
                <a:lnTo>
                  <a:pt x="71429" y="21804"/>
                </a:lnTo>
                <a:lnTo>
                  <a:pt x="61506" y="11746"/>
                </a:lnTo>
                <a:lnTo>
                  <a:pt x="47619" y="3352"/>
                </a:lnTo>
                <a:lnTo>
                  <a:pt x="35728" y="0"/>
                </a:lnTo>
                <a:lnTo>
                  <a:pt x="21841" y="1688"/>
                </a:lnTo>
                <a:lnTo>
                  <a:pt x="7955" y="5040"/>
                </a:lnTo>
                <a:lnTo>
                  <a:pt x="0" y="8393"/>
                </a:lnTo>
                <a:lnTo>
                  <a:pt x="51583" y="50291"/>
                </a:lnTo>
                <a:close/>
              </a:path>
            </a:pathLst>
          </a:custGeom>
          <a:solidFill>
            <a:srgbClr val="FFFFFF"/>
          </a:solidFill>
        </p:spPr>
        <p:txBody>
          <a:bodyPr wrap="square" lIns="0" tIns="0" rIns="0" bIns="0" rtlCol="0">
            <a:noAutofit/>
          </a:bodyPr>
          <a:lstStyle/>
          <a:p>
            <a:endParaRPr/>
          </a:p>
        </p:txBody>
      </p:sp>
      <p:sp>
        <p:nvSpPr>
          <p:cNvPr id="34" name="object 34"/>
          <p:cNvSpPr/>
          <p:nvPr/>
        </p:nvSpPr>
        <p:spPr>
          <a:xfrm>
            <a:off x="4217510" y="5208691"/>
            <a:ext cx="85288" cy="51956"/>
          </a:xfrm>
          <a:custGeom>
            <a:avLst/>
            <a:gdLst/>
            <a:ahLst/>
            <a:cxnLst/>
            <a:rect l="l" t="t" r="r" b="b"/>
            <a:pathLst>
              <a:path w="85288" h="51956">
                <a:moveTo>
                  <a:pt x="77360" y="13411"/>
                </a:moveTo>
                <a:lnTo>
                  <a:pt x="69433" y="8370"/>
                </a:lnTo>
                <a:lnTo>
                  <a:pt x="61478" y="3352"/>
                </a:lnTo>
                <a:lnTo>
                  <a:pt x="53551" y="1664"/>
                </a:lnTo>
                <a:lnTo>
                  <a:pt x="45623" y="0"/>
                </a:lnTo>
                <a:lnTo>
                  <a:pt x="29741" y="0"/>
                </a:lnTo>
                <a:lnTo>
                  <a:pt x="21814" y="1664"/>
                </a:lnTo>
                <a:lnTo>
                  <a:pt x="15854" y="3352"/>
                </a:lnTo>
                <a:lnTo>
                  <a:pt x="0" y="10058"/>
                </a:lnTo>
                <a:lnTo>
                  <a:pt x="53551" y="51956"/>
                </a:lnTo>
                <a:lnTo>
                  <a:pt x="69433" y="43585"/>
                </a:lnTo>
                <a:lnTo>
                  <a:pt x="77360" y="38545"/>
                </a:lnTo>
                <a:lnTo>
                  <a:pt x="85288" y="31839"/>
                </a:lnTo>
                <a:lnTo>
                  <a:pt x="85288" y="23469"/>
                </a:lnTo>
                <a:lnTo>
                  <a:pt x="77360" y="13411"/>
                </a:lnTo>
                <a:close/>
              </a:path>
            </a:pathLst>
          </a:custGeom>
          <a:solidFill>
            <a:srgbClr val="FFFFFF"/>
          </a:solidFill>
        </p:spPr>
        <p:txBody>
          <a:bodyPr wrap="square" lIns="0" tIns="0" rIns="0" bIns="0" rtlCol="0">
            <a:noAutofit/>
          </a:bodyPr>
          <a:lstStyle/>
          <a:p>
            <a:endParaRPr/>
          </a:p>
        </p:txBody>
      </p:sp>
      <p:sp>
        <p:nvSpPr>
          <p:cNvPr id="35" name="object 35"/>
          <p:cNvSpPr/>
          <p:nvPr/>
        </p:nvSpPr>
        <p:spPr>
          <a:xfrm>
            <a:off x="4294871" y="5036013"/>
            <a:ext cx="265842" cy="169326"/>
          </a:xfrm>
          <a:custGeom>
            <a:avLst/>
            <a:gdLst/>
            <a:ahLst/>
            <a:cxnLst/>
            <a:rect l="l" t="t" r="r" b="b"/>
            <a:pathLst>
              <a:path w="265842" h="169326">
                <a:moveTo>
                  <a:pt x="265842" y="119034"/>
                </a:moveTo>
                <a:lnTo>
                  <a:pt x="218223" y="115682"/>
                </a:lnTo>
                <a:lnTo>
                  <a:pt x="103166" y="26822"/>
                </a:lnTo>
                <a:lnTo>
                  <a:pt x="111093" y="0"/>
                </a:lnTo>
                <a:lnTo>
                  <a:pt x="0" y="48626"/>
                </a:lnTo>
                <a:lnTo>
                  <a:pt x="47619" y="51979"/>
                </a:lnTo>
                <a:lnTo>
                  <a:pt x="162676" y="140816"/>
                </a:lnTo>
                <a:lnTo>
                  <a:pt x="154749" y="169326"/>
                </a:lnTo>
                <a:lnTo>
                  <a:pt x="265842" y="119034"/>
                </a:lnTo>
                <a:close/>
              </a:path>
            </a:pathLst>
          </a:custGeom>
          <a:solidFill>
            <a:srgbClr val="000000"/>
          </a:solidFill>
        </p:spPr>
        <p:txBody>
          <a:bodyPr wrap="square" lIns="0" tIns="0" rIns="0" bIns="0" rtlCol="0">
            <a:noAutofit/>
          </a:bodyPr>
          <a:lstStyle/>
          <a:p>
            <a:endParaRPr/>
          </a:p>
        </p:txBody>
      </p:sp>
      <p:sp>
        <p:nvSpPr>
          <p:cNvPr id="36" name="object 36"/>
          <p:cNvSpPr/>
          <p:nvPr/>
        </p:nvSpPr>
        <p:spPr>
          <a:xfrm>
            <a:off x="4447626" y="4967293"/>
            <a:ext cx="321389" cy="169302"/>
          </a:xfrm>
          <a:custGeom>
            <a:avLst/>
            <a:gdLst/>
            <a:ahLst/>
            <a:cxnLst/>
            <a:rect l="l" t="t" r="r" b="b"/>
            <a:pathLst>
              <a:path w="321389" h="169302">
                <a:moveTo>
                  <a:pt x="277734" y="60349"/>
                </a:moveTo>
                <a:lnTo>
                  <a:pt x="269806" y="93877"/>
                </a:lnTo>
                <a:lnTo>
                  <a:pt x="220219" y="117346"/>
                </a:lnTo>
                <a:lnTo>
                  <a:pt x="103166" y="26822"/>
                </a:lnTo>
                <a:lnTo>
                  <a:pt x="111093" y="0"/>
                </a:lnTo>
                <a:lnTo>
                  <a:pt x="0" y="48603"/>
                </a:lnTo>
                <a:lnTo>
                  <a:pt x="47619" y="51956"/>
                </a:lnTo>
                <a:lnTo>
                  <a:pt x="162676" y="142480"/>
                </a:lnTo>
                <a:lnTo>
                  <a:pt x="154749" y="169302"/>
                </a:lnTo>
                <a:lnTo>
                  <a:pt x="321389" y="93877"/>
                </a:lnTo>
                <a:lnTo>
                  <a:pt x="277734" y="60349"/>
                </a:lnTo>
                <a:close/>
              </a:path>
            </a:pathLst>
          </a:custGeom>
          <a:solidFill>
            <a:srgbClr val="000000"/>
          </a:solidFill>
        </p:spPr>
        <p:txBody>
          <a:bodyPr wrap="square" lIns="0" tIns="0" rIns="0" bIns="0" rtlCol="0">
            <a:noAutofit/>
          </a:bodyPr>
          <a:lstStyle/>
          <a:p>
            <a:endParaRPr/>
          </a:p>
        </p:txBody>
      </p:sp>
      <p:sp>
        <p:nvSpPr>
          <p:cNvPr id="37" name="object 37"/>
          <p:cNvSpPr/>
          <p:nvPr/>
        </p:nvSpPr>
        <p:spPr>
          <a:xfrm>
            <a:off x="4655926" y="4873415"/>
            <a:ext cx="323357" cy="169302"/>
          </a:xfrm>
          <a:custGeom>
            <a:avLst/>
            <a:gdLst/>
            <a:ahLst/>
            <a:cxnLst/>
            <a:rect l="l" t="t" r="r" b="b"/>
            <a:pathLst>
              <a:path w="323357" h="169302">
                <a:moveTo>
                  <a:pt x="279729" y="60349"/>
                </a:moveTo>
                <a:lnTo>
                  <a:pt x="271802" y="95542"/>
                </a:lnTo>
                <a:lnTo>
                  <a:pt x="220219" y="117346"/>
                </a:lnTo>
                <a:lnTo>
                  <a:pt x="103166" y="26822"/>
                </a:lnTo>
                <a:lnTo>
                  <a:pt x="111093" y="0"/>
                </a:lnTo>
                <a:lnTo>
                  <a:pt x="0" y="50291"/>
                </a:lnTo>
                <a:lnTo>
                  <a:pt x="47619" y="53644"/>
                </a:lnTo>
                <a:lnTo>
                  <a:pt x="162676" y="142480"/>
                </a:lnTo>
                <a:lnTo>
                  <a:pt x="156717" y="169302"/>
                </a:lnTo>
                <a:lnTo>
                  <a:pt x="323357" y="95542"/>
                </a:lnTo>
                <a:lnTo>
                  <a:pt x="279729" y="60349"/>
                </a:lnTo>
                <a:close/>
              </a:path>
            </a:pathLst>
          </a:custGeom>
          <a:solidFill>
            <a:srgbClr val="000000"/>
          </a:solidFill>
        </p:spPr>
        <p:txBody>
          <a:bodyPr wrap="square" lIns="0" tIns="0" rIns="0" bIns="0" rtlCol="0">
            <a:noAutofit/>
          </a:bodyPr>
          <a:lstStyle/>
          <a:p>
            <a:endParaRPr/>
          </a:p>
        </p:txBody>
      </p:sp>
      <p:sp>
        <p:nvSpPr>
          <p:cNvPr id="38" name="object 38"/>
          <p:cNvSpPr/>
          <p:nvPr/>
        </p:nvSpPr>
        <p:spPr>
          <a:xfrm>
            <a:off x="3421977" y="4662168"/>
            <a:ext cx="1533524" cy="1562408"/>
          </a:xfrm>
          <a:custGeom>
            <a:avLst/>
            <a:gdLst/>
            <a:ahLst/>
            <a:cxnLst/>
            <a:rect l="l" t="t" r="r" b="b"/>
            <a:pathLst>
              <a:path w="1533524" h="1562408">
                <a:moveTo>
                  <a:pt x="890744" y="1232151"/>
                </a:moveTo>
                <a:lnTo>
                  <a:pt x="896703" y="1265679"/>
                </a:lnTo>
                <a:lnTo>
                  <a:pt x="906626" y="1304247"/>
                </a:lnTo>
                <a:lnTo>
                  <a:pt x="920513" y="1346145"/>
                </a:lnTo>
                <a:lnTo>
                  <a:pt x="942327" y="1389741"/>
                </a:lnTo>
                <a:lnTo>
                  <a:pt x="974064" y="1431650"/>
                </a:lnTo>
                <a:lnTo>
                  <a:pt x="1013756" y="1471883"/>
                </a:lnTo>
                <a:lnTo>
                  <a:pt x="1043498" y="1493676"/>
                </a:lnTo>
                <a:lnTo>
                  <a:pt x="1075235" y="1513793"/>
                </a:lnTo>
                <a:lnTo>
                  <a:pt x="1108968" y="1528880"/>
                </a:lnTo>
                <a:lnTo>
                  <a:pt x="1144668" y="1542291"/>
                </a:lnTo>
                <a:lnTo>
                  <a:pt x="1184360" y="1552350"/>
                </a:lnTo>
                <a:lnTo>
                  <a:pt x="1226021" y="1559055"/>
                </a:lnTo>
                <a:lnTo>
                  <a:pt x="1271644" y="1562408"/>
                </a:lnTo>
                <a:lnTo>
                  <a:pt x="1317268" y="1562408"/>
                </a:lnTo>
                <a:lnTo>
                  <a:pt x="1313304" y="1492000"/>
                </a:lnTo>
                <a:lnTo>
                  <a:pt x="1275608" y="1492000"/>
                </a:lnTo>
                <a:lnTo>
                  <a:pt x="1239907" y="1490323"/>
                </a:lnTo>
                <a:lnTo>
                  <a:pt x="1206174" y="1485294"/>
                </a:lnTo>
                <a:lnTo>
                  <a:pt x="1174437" y="1476912"/>
                </a:lnTo>
                <a:lnTo>
                  <a:pt x="1146664" y="1466854"/>
                </a:lnTo>
                <a:lnTo>
                  <a:pt x="1118891" y="1455119"/>
                </a:lnTo>
                <a:lnTo>
                  <a:pt x="1093085" y="1440032"/>
                </a:lnTo>
                <a:lnTo>
                  <a:pt x="1071271" y="1423268"/>
                </a:lnTo>
                <a:lnTo>
                  <a:pt x="1037538" y="1388064"/>
                </a:lnTo>
                <a:lnTo>
                  <a:pt x="1011761" y="1349498"/>
                </a:lnTo>
                <a:lnTo>
                  <a:pt x="993910" y="1310953"/>
                </a:lnTo>
                <a:lnTo>
                  <a:pt x="983987" y="1274073"/>
                </a:lnTo>
                <a:lnTo>
                  <a:pt x="976060" y="1242210"/>
                </a:lnTo>
                <a:lnTo>
                  <a:pt x="974064" y="1215388"/>
                </a:lnTo>
                <a:lnTo>
                  <a:pt x="972096" y="1196959"/>
                </a:lnTo>
                <a:lnTo>
                  <a:pt x="972096" y="1186901"/>
                </a:lnTo>
                <a:lnTo>
                  <a:pt x="970101" y="1185213"/>
                </a:lnTo>
                <a:lnTo>
                  <a:pt x="952250" y="1106435"/>
                </a:lnTo>
                <a:lnTo>
                  <a:pt x="928440" y="1034338"/>
                </a:lnTo>
                <a:lnTo>
                  <a:pt x="898671" y="968971"/>
                </a:lnTo>
                <a:lnTo>
                  <a:pt x="860975" y="910286"/>
                </a:lnTo>
                <a:lnTo>
                  <a:pt x="821311" y="856642"/>
                </a:lnTo>
                <a:lnTo>
                  <a:pt x="775687" y="809703"/>
                </a:lnTo>
                <a:lnTo>
                  <a:pt x="726099" y="767806"/>
                </a:lnTo>
                <a:lnTo>
                  <a:pt x="676484" y="730925"/>
                </a:lnTo>
                <a:lnTo>
                  <a:pt x="622933" y="699062"/>
                </a:lnTo>
                <a:lnTo>
                  <a:pt x="569354" y="670575"/>
                </a:lnTo>
                <a:lnTo>
                  <a:pt x="515803" y="647106"/>
                </a:lnTo>
                <a:lnTo>
                  <a:pt x="462224" y="626990"/>
                </a:lnTo>
                <a:lnTo>
                  <a:pt x="410669" y="610226"/>
                </a:lnTo>
                <a:lnTo>
                  <a:pt x="361054" y="596815"/>
                </a:lnTo>
                <a:lnTo>
                  <a:pt x="313434" y="586756"/>
                </a:lnTo>
                <a:lnTo>
                  <a:pt x="269806" y="578363"/>
                </a:lnTo>
                <a:lnTo>
                  <a:pt x="1533524" y="43585"/>
                </a:lnTo>
                <a:lnTo>
                  <a:pt x="1464090" y="0"/>
                </a:lnTo>
                <a:lnTo>
                  <a:pt x="115057" y="573345"/>
                </a:lnTo>
                <a:lnTo>
                  <a:pt x="83320" y="603520"/>
                </a:lnTo>
                <a:lnTo>
                  <a:pt x="53562" y="640401"/>
                </a:lnTo>
                <a:lnTo>
                  <a:pt x="27773" y="683986"/>
                </a:lnTo>
                <a:lnTo>
                  <a:pt x="7935" y="732590"/>
                </a:lnTo>
                <a:lnTo>
                  <a:pt x="0" y="786234"/>
                </a:lnTo>
                <a:lnTo>
                  <a:pt x="7935" y="841566"/>
                </a:lnTo>
                <a:lnTo>
                  <a:pt x="33724" y="898563"/>
                </a:lnTo>
                <a:lnTo>
                  <a:pt x="81324" y="953872"/>
                </a:lnTo>
                <a:lnTo>
                  <a:pt x="85315" y="957225"/>
                </a:lnTo>
                <a:lnTo>
                  <a:pt x="93243" y="963930"/>
                </a:lnTo>
                <a:lnTo>
                  <a:pt x="105134" y="973989"/>
                </a:lnTo>
                <a:lnTo>
                  <a:pt x="121016" y="985735"/>
                </a:lnTo>
                <a:lnTo>
                  <a:pt x="140862" y="997458"/>
                </a:lnTo>
                <a:lnTo>
                  <a:pt x="162676" y="1010869"/>
                </a:lnTo>
                <a:lnTo>
                  <a:pt x="188454" y="1024280"/>
                </a:lnTo>
                <a:lnTo>
                  <a:pt x="216227" y="1037691"/>
                </a:lnTo>
                <a:lnTo>
                  <a:pt x="245996" y="1049438"/>
                </a:lnTo>
                <a:lnTo>
                  <a:pt x="279729" y="1059496"/>
                </a:lnTo>
                <a:lnTo>
                  <a:pt x="313434" y="1066201"/>
                </a:lnTo>
                <a:lnTo>
                  <a:pt x="347167" y="1069554"/>
                </a:lnTo>
                <a:lnTo>
                  <a:pt x="384863" y="1069554"/>
                </a:lnTo>
                <a:lnTo>
                  <a:pt x="420564" y="1064513"/>
                </a:lnTo>
                <a:lnTo>
                  <a:pt x="458261" y="1054455"/>
                </a:lnTo>
                <a:lnTo>
                  <a:pt x="495957" y="1037691"/>
                </a:lnTo>
                <a:lnTo>
                  <a:pt x="515803" y="1025968"/>
                </a:lnTo>
                <a:lnTo>
                  <a:pt x="531658" y="1014222"/>
                </a:lnTo>
                <a:lnTo>
                  <a:pt x="545544" y="1000811"/>
                </a:lnTo>
                <a:lnTo>
                  <a:pt x="555468" y="985735"/>
                </a:lnTo>
                <a:lnTo>
                  <a:pt x="563423" y="968971"/>
                </a:lnTo>
                <a:lnTo>
                  <a:pt x="569354" y="950519"/>
                </a:lnTo>
                <a:lnTo>
                  <a:pt x="571350" y="932091"/>
                </a:lnTo>
                <a:lnTo>
                  <a:pt x="571350" y="913639"/>
                </a:lnTo>
                <a:lnTo>
                  <a:pt x="567386" y="886817"/>
                </a:lnTo>
                <a:lnTo>
                  <a:pt x="555468" y="861683"/>
                </a:lnTo>
                <a:lnTo>
                  <a:pt x="541581" y="836525"/>
                </a:lnTo>
                <a:lnTo>
                  <a:pt x="521762" y="813056"/>
                </a:lnTo>
                <a:lnTo>
                  <a:pt x="497953" y="792940"/>
                </a:lnTo>
                <a:lnTo>
                  <a:pt x="470179" y="772823"/>
                </a:lnTo>
                <a:lnTo>
                  <a:pt x="440410" y="756059"/>
                </a:lnTo>
                <a:lnTo>
                  <a:pt x="406677" y="742648"/>
                </a:lnTo>
                <a:lnTo>
                  <a:pt x="392791" y="739295"/>
                </a:lnTo>
                <a:lnTo>
                  <a:pt x="372972" y="735943"/>
                </a:lnTo>
                <a:lnTo>
                  <a:pt x="349163" y="732590"/>
                </a:lnTo>
                <a:lnTo>
                  <a:pt x="323357" y="732590"/>
                </a:lnTo>
                <a:lnTo>
                  <a:pt x="295584" y="734278"/>
                </a:lnTo>
                <a:lnTo>
                  <a:pt x="269806" y="739295"/>
                </a:lnTo>
                <a:lnTo>
                  <a:pt x="244001" y="749354"/>
                </a:lnTo>
                <a:lnTo>
                  <a:pt x="222187" y="762765"/>
                </a:lnTo>
                <a:lnTo>
                  <a:pt x="206332" y="781217"/>
                </a:lnTo>
                <a:lnTo>
                  <a:pt x="194413" y="806351"/>
                </a:lnTo>
                <a:lnTo>
                  <a:pt x="192445" y="841566"/>
                </a:lnTo>
                <a:lnTo>
                  <a:pt x="206332" y="885152"/>
                </a:lnTo>
                <a:lnTo>
                  <a:pt x="214259" y="896875"/>
                </a:lnTo>
                <a:lnTo>
                  <a:pt x="228146" y="905269"/>
                </a:lnTo>
                <a:lnTo>
                  <a:pt x="244001" y="906933"/>
                </a:lnTo>
                <a:lnTo>
                  <a:pt x="259883" y="905269"/>
                </a:lnTo>
                <a:lnTo>
                  <a:pt x="273770" y="898563"/>
                </a:lnTo>
                <a:lnTo>
                  <a:pt x="281697" y="886817"/>
                </a:lnTo>
                <a:lnTo>
                  <a:pt x="285661" y="873406"/>
                </a:lnTo>
                <a:lnTo>
                  <a:pt x="279729" y="849936"/>
                </a:lnTo>
                <a:lnTo>
                  <a:pt x="275766" y="836525"/>
                </a:lnTo>
                <a:lnTo>
                  <a:pt x="273770" y="823114"/>
                </a:lnTo>
                <a:lnTo>
                  <a:pt x="289652" y="808039"/>
                </a:lnTo>
                <a:lnTo>
                  <a:pt x="313434" y="802998"/>
                </a:lnTo>
                <a:lnTo>
                  <a:pt x="343203" y="802998"/>
                </a:lnTo>
                <a:lnTo>
                  <a:pt x="357090" y="804686"/>
                </a:lnTo>
                <a:lnTo>
                  <a:pt x="376936" y="808039"/>
                </a:lnTo>
                <a:lnTo>
                  <a:pt x="402714" y="818097"/>
                </a:lnTo>
                <a:lnTo>
                  <a:pt x="424556" y="831508"/>
                </a:lnTo>
                <a:lnTo>
                  <a:pt x="442406" y="844919"/>
                </a:lnTo>
                <a:lnTo>
                  <a:pt x="458261" y="859995"/>
                </a:lnTo>
                <a:lnTo>
                  <a:pt x="472147" y="875094"/>
                </a:lnTo>
                <a:lnTo>
                  <a:pt x="480102" y="890170"/>
                </a:lnTo>
                <a:lnTo>
                  <a:pt x="486034" y="905269"/>
                </a:lnTo>
                <a:lnTo>
                  <a:pt x="489998" y="918680"/>
                </a:lnTo>
                <a:lnTo>
                  <a:pt x="488030" y="937108"/>
                </a:lnTo>
                <a:lnTo>
                  <a:pt x="482070" y="953872"/>
                </a:lnTo>
                <a:lnTo>
                  <a:pt x="470179" y="967283"/>
                </a:lnTo>
                <a:lnTo>
                  <a:pt x="452329" y="979030"/>
                </a:lnTo>
                <a:lnTo>
                  <a:pt x="398750" y="997458"/>
                </a:lnTo>
                <a:lnTo>
                  <a:pt x="343203" y="999146"/>
                </a:lnTo>
                <a:lnTo>
                  <a:pt x="291620" y="989088"/>
                </a:lnTo>
                <a:lnTo>
                  <a:pt x="244001" y="970636"/>
                </a:lnTo>
                <a:lnTo>
                  <a:pt x="202341" y="950519"/>
                </a:lnTo>
                <a:lnTo>
                  <a:pt x="170604" y="928738"/>
                </a:lnTo>
                <a:lnTo>
                  <a:pt x="148790" y="913639"/>
                </a:lnTo>
                <a:lnTo>
                  <a:pt x="105134" y="863348"/>
                </a:lnTo>
                <a:lnTo>
                  <a:pt x="87283" y="821450"/>
                </a:lnTo>
                <a:lnTo>
                  <a:pt x="83320" y="779528"/>
                </a:lnTo>
                <a:lnTo>
                  <a:pt x="89279" y="740983"/>
                </a:lnTo>
                <a:lnTo>
                  <a:pt x="105134" y="705768"/>
                </a:lnTo>
                <a:lnTo>
                  <a:pt x="122984" y="675593"/>
                </a:lnTo>
                <a:lnTo>
                  <a:pt x="142830" y="650459"/>
                </a:lnTo>
                <a:lnTo>
                  <a:pt x="160681" y="633695"/>
                </a:lnTo>
                <a:lnTo>
                  <a:pt x="190450" y="637048"/>
                </a:lnTo>
                <a:lnTo>
                  <a:pt x="226150" y="640401"/>
                </a:lnTo>
                <a:lnTo>
                  <a:pt x="269806" y="647106"/>
                </a:lnTo>
                <a:lnTo>
                  <a:pt x="317426" y="657164"/>
                </a:lnTo>
                <a:lnTo>
                  <a:pt x="370977" y="670575"/>
                </a:lnTo>
                <a:lnTo>
                  <a:pt x="426524" y="687339"/>
                </a:lnTo>
                <a:lnTo>
                  <a:pt x="484066" y="709120"/>
                </a:lnTo>
                <a:lnTo>
                  <a:pt x="543577" y="735943"/>
                </a:lnTo>
                <a:lnTo>
                  <a:pt x="601091" y="767806"/>
                </a:lnTo>
                <a:lnTo>
                  <a:pt x="656666" y="806351"/>
                </a:lnTo>
                <a:lnTo>
                  <a:pt x="710217" y="851625"/>
                </a:lnTo>
                <a:lnTo>
                  <a:pt x="759804" y="903581"/>
                </a:lnTo>
                <a:lnTo>
                  <a:pt x="803460" y="962266"/>
                </a:lnTo>
                <a:lnTo>
                  <a:pt x="839161" y="1030986"/>
                </a:lnTo>
                <a:lnTo>
                  <a:pt x="868930" y="1106435"/>
                </a:lnTo>
                <a:lnTo>
                  <a:pt x="888748" y="1191918"/>
                </a:lnTo>
                <a:lnTo>
                  <a:pt x="888748" y="1207017"/>
                </a:lnTo>
                <a:lnTo>
                  <a:pt x="890744" y="1232151"/>
                </a:lnTo>
                <a:close/>
              </a:path>
            </a:pathLst>
          </a:custGeom>
          <a:solidFill>
            <a:srgbClr val="000000"/>
          </a:solidFill>
        </p:spPr>
        <p:txBody>
          <a:bodyPr wrap="square" lIns="0" tIns="0" rIns="0" bIns="0" rtlCol="0">
            <a:noAutofit/>
          </a:bodyPr>
          <a:lstStyle/>
          <a:p>
            <a:endParaRPr/>
          </a:p>
        </p:txBody>
      </p:sp>
      <p:sp>
        <p:nvSpPr>
          <p:cNvPr id="39" name="object 39"/>
          <p:cNvSpPr/>
          <p:nvPr/>
        </p:nvSpPr>
        <p:spPr>
          <a:xfrm>
            <a:off x="4338527" y="5093010"/>
            <a:ext cx="747886" cy="440899"/>
          </a:xfrm>
          <a:custGeom>
            <a:avLst/>
            <a:gdLst/>
            <a:ahLst/>
            <a:cxnLst/>
            <a:rect l="l" t="t" r="r" b="b"/>
            <a:pathLst>
              <a:path w="747886" h="440899">
                <a:moveTo>
                  <a:pt x="1967" y="409037"/>
                </a:moveTo>
                <a:lnTo>
                  <a:pt x="0" y="417430"/>
                </a:lnTo>
                <a:lnTo>
                  <a:pt x="1967" y="425800"/>
                </a:lnTo>
                <a:lnTo>
                  <a:pt x="7927" y="434194"/>
                </a:lnTo>
                <a:lnTo>
                  <a:pt x="17850" y="439211"/>
                </a:lnTo>
                <a:lnTo>
                  <a:pt x="27773" y="440899"/>
                </a:lnTo>
                <a:lnTo>
                  <a:pt x="39664" y="439211"/>
                </a:lnTo>
                <a:lnTo>
                  <a:pt x="47591" y="434194"/>
                </a:lnTo>
                <a:lnTo>
                  <a:pt x="53551" y="425800"/>
                </a:lnTo>
                <a:lnTo>
                  <a:pt x="71401" y="390608"/>
                </a:lnTo>
                <a:lnTo>
                  <a:pt x="93215" y="358745"/>
                </a:lnTo>
                <a:lnTo>
                  <a:pt x="117025" y="328570"/>
                </a:lnTo>
                <a:lnTo>
                  <a:pt x="144798" y="301748"/>
                </a:lnTo>
                <a:lnTo>
                  <a:pt x="172572" y="276614"/>
                </a:lnTo>
                <a:lnTo>
                  <a:pt x="204309" y="253145"/>
                </a:lnTo>
                <a:lnTo>
                  <a:pt x="238041" y="233028"/>
                </a:lnTo>
                <a:lnTo>
                  <a:pt x="271774" y="214576"/>
                </a:lnTo>
                <a:lnTo>
                  <a:pt x="307475" y="196148"/>
                </a:lnTo>
                <a:lnTo>
                  <a:pt x="345171" y="181049"/>
                </a:lnTo>
                <a:lnTo>
                  <a:pt x="382868" y="167638"/>
                </a:lnTo>
                <a:lnTo>
                  <a:pt x="422532" y="154227"/>
                </a:lnTo>
                <a:lnTo>
                  <a:pt x="460229" y="142504"/>
                </a:lnTo>
                <a:lnTo>
                  <a:pt x="499921" y="130757"/>
                </a:lnTo>
                <a:lnTo>
                  <a:pt x="539585" y="120699"/>
                </a:lnTo>
                <a:lnTo>
                  <a:pt x="579277" y="110641"/>
                </a:lnTo>
                <a:lnTo>
                  <a:pt x="603087" y="103935"/>
                </a:lnTo>
                <a:lnTo>
                  <a:pt x="624901" y="97230"/>
                </a:lnTo>
                <a:lnTo>
                  <a:pt x="646715" y="90524"/>
                </a:lnTo>
                <a:lnTo>
                  <a:pt x="668529" y="83819"/>
                </a:lnTo>
                <a:lnTo>
                  <a:pt x="690371" y="77113"/>
                </a:lnTo>
                <a:lnTo>
                  <a:pt x="710189" y="68743"/>
                </a:lnTo>
                <a:lnTo>
                  <a:pt x="728067" y="62037"/>
                </a:lnTo>
                <a:lnTo>
                  <a:pt x="747886" y="53644"/>
                </a:lnTo>
                <a:lnTo>
                  <a:pt x="747886" y="0"/>
                </a:lnTo>
                <a:lnTo>
                  <a:pt x="726072" y="10058"/>
                </a:lnTo>
                <a:lnTo>
                  <a:pt x="704258" y="20116"/>
                </a:lnTo>
                <a:lnTo>
                  <a:pt x="680448" y="30174"/>
                </a:lnTo>
                <a:lnTo>
                  <a:pt x="656638" y="38568"/>
                </a:lnTo>
                <a:lnTo>
                  <a:pt x="632828" y="45274"/>
                </a:lnTo>
                <a:lnTo>
                  <a:pt x="611014" y="53644"/>
                </a:lnTo>
                <a:lnTo>
                  <a:pt x="587205" y="58685"/>
                </a:lnTo>
                <a:lnTo>
                  <a:pt x="563395" y="65390"/>
                </a:lnTo>
                <a:lnTo>
                  <a:pt x="519767" y="77113"/>
                </a:lnTo>
                <a:lnTo>
                  <a:pt x="476111" y="88859"/>
                </a:lnTo>
                <a:lnTo>
                  <a:pt x="432455" y="102270"/>
                </a:lnTo>
                <a:lnTo>
                  <a:pt x="388827" y="115682"/>
                </a:lnTo>
                <a:lnTo>
                  <a:pt x="347167" y="130757"/>
                </a:lnTo>
                <a:lnTo>
                  <a:pt x="307475" y="145856"/>
                </a:lnTo>
                <a:lnTo>
                  <a:pt x="267810" y="164285"/>
                </a:lnTo>
                <a:lnTo>
                  <a:pt x="230114" y="182737"/>
                </a:lnTo>
                <a:lnTo>
                  <a:pt x="192418" y="204518"/>
                </a:lnTo>
                <a:lnTo>
                  <a:pt x="158685" y="226323"/>
                </a:lnTo>
                <a:lnTo>
                  <a:pt x="124980" y="251457"/>
                </a:lnTo>
                <a:lnTo>
                  <a:pt x="95211" y="278279"/>
                </a:lnTo>
                <a:lnTo>
                  <a:pt x="67437" y="306789"/>
                </a:lnTo>
                <a:lnTo>
                  <a:pt x="43628" y="338628"/>
                </a:lnTo>
                <a:lnTo>
                  <a:pt x="21814" y="372156"/>
                </a:lnTo>
                <a:lnTo>
                  <a:pt x="1967" y="409037"/>
                </a:lnTo>
                <a:close/>
              </a:path>
            </a:pathLst>
          </a:custGeom>
          <a:solidFill>
            <a:srgbClr val="000000"/>
          </a:solidFill>
        </p:spPr>
        <p:txBody>
          <a:bodyPr wrap="square" lIns="0" tIns="0" rIns="0" bIns="0" rtlCol="0">
            <a:noAutofit/>
          </a:bodyPr>
          <a:lstStyle/>
          <a:p>
            <a:endParaRPr/>
          </a:p>
        </p:txBody>
      </p:sp>
      <p:sp>
        <p:nvSpPr>
          <p:cNvPr id="40" name="object 40"/>
          <p:cNvSpPr/>
          <p:nvPr/>
        </p:nvSpPr>
        <p:spPr>
          <a:xfrm>
            <a:off x="4429774" y="5258984"/>
            <a:ext cx="656638" cy="402331"/>
          </a:xfrm>
          <a:custGeom>
            <a:avLst/>
            <a:gdLst/>
            <a:ahLst/>
            <a:cxnLst/>
            <a:rect l="l" t="t" r="r" b="b"/>
            <a:pathLst>
              <a:path w="656638" h="402331">
                <a:moveTo>
                  <a:pt x="1967" y="370468"/>
                </a:moveTo>
                <a:lnTo>
                  <a:pt x="0" y="378862"/>
                </a:lnTo>
                <a:lnTo>
                  <a:pt x="1967" y="387232"/>
                </a:lnTo>
                <a:lnTo>
                  <a:pt x="7927" y="395625"/>
                </a:lnTo>
                <a:lnTo>
                  <a:pt x="17850" y="400643"/>
                </a:lnTo>
                <a:lnTo>
                  <a:pt x="27773" y="402331"/>
                </a:lnTo>
                <a:lnTo>
                  <a:pt x="39664" y="400643"/>
                </a:lnTo>
                <a:lnTo>
                  <a:pt x="47619" y="395625"/>
                </a:lnTo>
                <a:lnTo>
                  <a:pt x="53551" y="387232"/>
                </a:lnTo>
                <a:lnTo>
                  <a:pt x="71401" y="352040"/>
                </a:lnTo>
                <a:lnTo>
                  <a:pt x="93243" y="320177"/>
                </a:lnTo>
                <a:lnTo>
                  <a:pt x="117052" y="290002"/>
                </a:lnTo>
                <a:lnTo>
                  <a:pt x="144826" y="263180"/>
                </a:lnTo>
                <a:lnTo>
                  <a:pt x="172599" y="238046"/>
                </a:lnTo>
                <a:lnTo>
                  <a:pt x="204336" y="214576"/>
                </a:lnTo>
                <a:lnTo>
                  <a:pt x="238069" y="194460"/>
                </a:lnTo>
                <a:lnTo>
                  <a:pt x="273770" y="176008"/>
                </a:lnTo>
                <a:lnTo>
                  <a:pt x="309471" y="157579"/>
                </a:lnTo>
                <a:lnTo>
                  <a:pt x="347167" y="142480"/>
                </a:lnTo>
                <a:lnTo>
                  <a:pt x="384863" y="129069"/>
                </a:lnTo>
                <a:lnTo>
                  <a:pt x="422560" y="115658"/>
                </a:lnTo>
                <a:lnTo>
                  <a:pt x="462224" y="103935"/>
                </a:lnTo>
                <a:lnTo>
                  <a:pt x="501916" y="92189"/>
                </a:lnTo>
                <a:lnTo>
                  <a:pt x="541581" y="82130"/>
                </a:lnTo>
                <a:lnTo>
                  <a:pt x="581273" y="72072"/>
                </a:lnTo>
                <a:lnTo>
                  <a:pt x="591168" y="68719"/>
                </a:lnTo>
                <a:lnTo>
                  <a:pt x="601091" y="67055"/>
                </a:lnTo>
                <a:lnTo>
                  <a:pt x="611014" y="63702"/>
                </a:lnTo>
                <a:lnTo>
                  <a:pt x="618942" y="62014"/>
                </a:lnTo>
                <a:lnTo>
                  <a:pt x="628865" y="58661"/>
                </a:lnTo>
                <a:lnTo>
                  <a:pt x="638788" y="56996"/>
                </a:lnTo>
                <a:lnTo>
                  <a:pt x="646743" y="53644"/>
                </a:lnTo>
                <a:lnTo>
                  <a:pt x="656638" y="50291"/>
                </a:lnTo>
                <a:lnTo>
                  <a:pt x="656638" y="0"/>
                </a:lnTo>
                <a:lnTo>
                  <a:pt x="644747" y="5017"/>
                </a:lnTo>
                <a:lnTo>
                  <a:pt x="632856" y="8370"/>
                </a:lnTo>
                <a:lnTo>
                  <a:pt x="620937" y="11722"/>
                </a:lnTo>
                <a:lnTo>
                  <a:pt x="611014" y="15075"/>
                </a:lnTo>
                <a:lnTo>
                  <a:pt x="599123" y="18428"/>
                </a:lnTo>
                <a:lnTo>
                  <a:pt x="587205" y="21781"/>
                </a:lnTo>
                <a:lnTo>
                  <a:pt x="577282" y="23469"/>
                </a:lnTo>
                <a:lnTo>
                  <a:pt x="565391" y="26822"/>
                </a:lnTo>
                <a:lnTo>
                  <a:pt x="521735" y="38545"/>
                </a:lnTo>
                <a:lnTo>
                  <a:pt x="478107" y="50291"/>
                </a:lnTo>
                <a:lnTo>
                  <a:pt x="434451" y="63702"/>
                </a:lnTo>
                <a:lnTo>
                  <a:pt x="390823" y="77113"/>
                </a:lnTo>
                <a:lnTo>
                  <a:pt x="349163" y="92189"/>
                </a:lnTo>
                <a:lnTo>
                  <a:pt x="309471" y="107288"/>
                </a:lnTo>
                <a:lnTo>
                  <a:pt x="269806" y="125716"/>
                </a:lnTo>
                <a:lnTo>
                  <a:pt x="230114" y="144168"/>
                </a:lnTo>
                <a:lnTo>
                  <a:pt x="194413" y="165950"/>
                </a:lnTo>
                <a:lnTo>
                  <a:pt x="160681" y="187754"/>
                </a:lnTo>
                <a:lnTo>
                  <a:pt x="126948" y="212888"/>
                </a:lnTo>
                <a:lnTo>
                  <a:pt x="97206" y="239710"/>
                </a:lnTo>
                <a:lnTo>
                  <a:pt x="69433" y="268220"/>
                </a:lnTo>
                <a:lnTo>
                  <a:pt x="43628" y="300060"/>
                </a:lnTo>
                <a:lnTo>
                  <a:pt x="21814" y="333588"/>
                </a:lnTo>
                <a:lnTo>
                  <a:pt x="1967" y="370468"/>
                </a:lnTo>
                <a:close/>
              </a:path>
            </a:pathLst>
          </a:custGeom>
          <a:solidFill>
            <a:srgbClr val="000000"/>
          </a:solidFill>
        </p:spPr>
        <p:txBody>
          <a:bodyPr wrap="square" lIns="0" tIns="0" rIns="0" bIns="0" rtlCol="0">
            <a:noAutofit/>
          </a:bodyPr>
          <a:lstStyle/>
          <a:p>
            <a:endParaRPr/>
          </a:p>
        </p:txBody>
      </p:sp>
      <p:sp>
        <p:nvSpPr>
          <p:cNvPr id="41" name="object 41"/>
          <p:cNvSpPr/>
          <p:nvPr/>
        </p:nvSpPr>
        <p:spPr>
          <a:xfrm>
            <a:off x="4523019" y="5446739"/>
            <a:ext cx="563395" cy="375509"/>
          </a:xfrm>
          <a:custGeom>
            <a:avLst/>
            <a:gdLst/>
            <a:ahLst/>
            <a:cxnLst/>
            <a:rect l="l" t="t" r="r" b="b"/>
            <a:pathLst>
              <a:path w="563395" h="375509">
                <a:moveTo>
                  <a:pt x="1967" y="343646"/>
                </a:moveTo>
                <a:lnTo>
                  <a:pt x="0" y="352040"/>
                </a:lnTo>
                <a:lnTo>
                  <a:pt x="1967" y="360410"/>
                </a:lnTo>
                <a:lnTo>
                  <a:pt x="7927" y="368803"/>
                </a:lnTo>
                <a:lnTo>
                  <a:pt x="17850" y="373821"/>
                </a:lnTo>
                <a:lnTo>
                  <a:pt x="27773" y="375509"/>
                </a:lnTo>
                <a:lnTo>
                  <a:pt x="39664" y="373821"/>
                </a:lnTo>
                <a:lnTo>
                  <a:pt x="47619" y="368803"/>
                </a:lnTo>
                <a:lnTo>
                  <a:pt x="53551" y="360410"/>
                </a:lnTo>
                <a:lnTo>
                  <a:pt x="71401" y="326882"/>
                </a:lnTo>
                <a:lnTo>
                  <a:pt x="91247" y="295043"/>
                </a:lnTo>
                <a:lnTo>
                  <a:pt x="115057" y="266532"/>
                </a:lnTo>
                <a:lnTo>
                  <a:pt x="140834" y="239710"/>
                </a:lnTo>
                <a:lnTo>
                  <a:pt x="168608" y="214576"/>
                </a:lnTo>
                <a:lnTo>
                  <a:pt x="198377" y="192772"/>
                </a:lnTo>
                <a:lnTo>
                  <a:pt x="232110" y="172655"/>
                </a:lnTo>
                <a:lnTo>
                  <a:pt x="263847" y="154227"/>
                </a:lnTo>
                <a:lnTo>
                  <a:pt x="299548" y="135775"/>
                </a:lnTo>
                <a:lnTo>
                  <a:pt x="335276" y="120699"/>
                </a:lnTo>
                <a:lnTo>
                  <a:pt x="372945" y="105600"/>
                </a:lnTo>
                <a:lnTo>
                  <a:pt x="410641" y="92189"/>
                </a:lnTo>
                <a:lnTo>
                  <a:pt x="448338" y="80466"/>
                </a:lnTo>
                <a:lnTo>
                  <a:pt x="486034" y="68719"/>
                </a:lnTo>
                <a:lnTo>
                  <a:pt x="525698" y="58661"/>
                </a:lnTo>
                <a:lnTo>
                  <a:pt x="563395" y="48603"/>
                </a:lnTo>
                <a:lnTo>
                  <a:pt x="563395" y="0"/>
                </a:lnTo>
                <a:lnTo>
                  <a:pt x="519767" y="11722"/>
                </a:lnTo>
                <a:lnTo>
                  <a:pt x="476111" y="23469"/>
                </a:lnTo>
                <a:lnTo>
                  <a:pt x="432483" y="36880"/>
                </a:lnTo>
                <a:lnTo>
                  <a:pt x="388827" y="50291"/>
                </a:lnTo>
                <a:lnTo>
                  <a:pt x="347167" y="65367"/>
                </a:lnTo>
                <a:lnTo>
                  <a:pt x="307503" y="80466"/>
                </a:lnTo>
                <a:lnTo>
                  <a:pt x="267810" y="98894"/>
                </a:lnTo>
                <a:lnTo>
                  <a:pt x="230114" y="117346"/>
                </a:lnTo>
                <a:lnTo>
                  <a:pt x="192418" y="139127"/>
                </a:lnTo>
                <a:lnTo>
                  <a:pt x="158713" y="160932"/>
                </a:lnTo>
                <a:lnTo>
                  <a:pt x="124980" y="186066"/>
                </a:lnTo>
                <a:lnTo>
                  <a:pt x="95211" y="212888"/>
                </a:lnTo>
                <a:lnTo>
                  <a:pt x="67437" y="241398"/>
                </a:lnTo>
                <a:lnTo>
                  <a:pt x="43628" y="273238"/>
                </a:lnTo>
                <a:lnTo>
                  <a:pt x="21814" y="306766"/>
                </a:lnTo>
                <a:lnTo>
                  <a:pt x="1967" y="343646"/>
                </a:lnTo>
                <a:close/>
              </a:path>
            </a:pathLst>
          </a:custGeom>
          <a:solidFill>
            <a:srgbClr val="000000"/>
          </a:solidFill>
        </p:spPr>
        <p:txBody>
          <a:bodyPr wrap="square" lIns="0" tIns="0" rIns="0" bIns="0" rtlCol="0">
            <a:noAutofit/>
          </a:bodyPr>
          <a:lstStyle/>
          <a:p>
            <a:endParaRPr/>
          </a:p>
        </p:txBody>
      </p:sp>
      <p:sp>
        <p:nvSpPr>
          <p:cNvPr id="42" name="object 42"/>
          <p:cNvSpPr/>
          <p:nvPr/>
        </p:nvSpPr>
        <p:spPr>
          <a:xfrm>
            <a:off x="4574601" y="5621081"/>
            <a:ext cx="511812" cy="360410"/>
          </a:xfrm>
          <a:custGeom>
            <a:avLst/>
            <a:gdLst/>
            <a:ahLst/>
            <a:cxnLst/>
            <a:rect l="l" t="t" r="r" b="b"/>
            <a:pathLst>
              <a:path w="511812" h="360410">
                <a:moveTo>
                  <a:pt x="0" y="336940"/>
                </a:moveTo>
                <a:lnTo>
                  <a:pt x="1967" y="345334"/>
                </a:lnTo>
                <a:lnTo>
                  <a:pt x="7927" y="353704"/>
                </a:lnTo>
                <a:lnTo>
                  <a:pt x="17850" y="358745"/>
                </a:lnTo>
                <a:lnTo>
                  <a:pt x="27773" y="360410"/>
                </a:lnTo>
                <a:lnTo>
                  <a:pt x="39664" y="358745"/>
                </a:lnTo>
                <a:lnTo>
                  <a:pt x="47591" y="353704"/>
                </a:lnTo>
                <a:lnTo>
                  <a:pt x="53551" y="345334"/>
                </a:lnTo>
                <a:lnTo>
                  <a:pt x="69433" y="315159"/>
                </a:lnTo>
                <a:lnTo>
                  <a:pt x="89251" y="284984"/>
                </a:lnTo>
                <a:lnTo>
                  <a:pt x="109097" y="258162"/>
                </a:lnTo>
                <a:lnTo>
                  <a:pt x="132907" y="234693"/>
                </a:lnTo>
                <a:lnTo>
                  <a:pt x="156717" y="211224"/>
                </a:lnTo>
                <a:lnTo>
                  <a:pt x="184490" y="189419"/>
                </a:lnTo>
                <a:lnTo>
                  <a:pt x="212264" y="170990"/>
                </a:lnTo>
                <a:lnTo>
                  <a:pt x="242033" y="152538"/>
                </a:lnTo>
                <a:lnTo>
                  <a:pt x="273770" y="135775"/>
                </a:lnTo>
                <a:lnTo>
                  <a:pt x="305507" y="120699"/>
                </a:lnTo>
                <a:lnTo>
                  <a:pt x="337244" y="107288"/>
                </a:lnTo>
                <a:lnTo>
                  <a:pt x="370977" y="93877"/>
                </a:lnTo>
                <a:lnTo>
                  <a:pt x="406677" y="82130"/>
                </a:lnTo>
                <a:lnTo>
                  <a:pt x="440410" y="70408"/>
                </a:lnTo>
                <a:lnTo>
                  <a:pt x="476111" y="60349"/>
                </a:lnTo>
                <a:lnTo>
                  <a:pt x="511812" y="50291"/>
                </a:lnTo>
                <a:lnTo>
                  <a:pt x="511812" y="0"/>
                </a:lnTo>
                <a:lnTo>
                  <a:pt x="470152" y="11722"/>
                </a:lnTo>
                <a:lnTo>
                  <a:pt x="430487" y="23469"/>
                </a:lnTo>
                <a:lnTo>
                  <a:pt x="390795" y="36880"/>
                </a:lnTo>
                <a:lnTo>
                  <a:pt x="353126" y="50291"/>
                </a:lnTo>
                <a:lnTo>
                  <a:pt x="315430" y="65367"/>
                </a:lnTo>
                <a:lnTo>
                  <a:pt x="277734" y="80466"/>
                </a:lnTo>
                <a:lnTo>
                  <a:pt x="242033" y="97230"/>
                </a:lnTo>
                <a:lnTo>
                  <a:pt x="208300" y="115658"/>
                </a:lnTo>
                <a:lnTo>
                  <a:pt x="174567" y="135775"/>
                </a:lnTo>
                <a:lnTo>
                  <a:pt x="144798" y="157579"/>
                </a:lnTo>
                <a:lnTo>
                  <a:pt x="115057" y="181049"/>
                </a:lnTo>
                <a:lnTo>
                  <a:pt x="87283" y="206183"/>
                </a:lnTo>
                <a:lnTo>
                  <a:pt x="63474" y="234693"/>
                </a:lnTo>
                <a:lnTo>
                  <a:pt x="39664" y="263180"/>
                </a:lnTo>
                <a:lnTo>
                  <a:pt x="19818" y="295043"/>
                </a:lnTo>
                <a:lnTo>
                  <a:pt x="1967" y="328570"/>
                </a:lnTo>
                <a:lnTo>
                  <a:pt x="0" y="336940"/>
                </a:lnTo>
                <a:close/>
              </a:path>
            </a:pathLst>
          </a:custGeom>
          <a:solidFill>
            <a:srgbClr val="000000"/>
          </a:solidFill>
        </p:spPr>
        <p:txBody>
          <a:bodyPr wrap="square" lIns="0" tIns="0" rIns="0" bIns="0" rtlCol="0">
            <a:noAutofit/>
          </a:bodyPr>
          <a:lstStyle/>
          <a:p>
            <a:endParaRPr/>
          </a:p>
        </p:txBody>
      </p:sp>
      <p:sp>
        <p:nvSpPr>
          <p:cNvPr id="43" name="object 43"/>
          <p:cNvSpPr/>
          <p:nvPr/>
        </p:nvSpPr>
        <p:spPr>
          <a:xfrm>
            <a:off x="3854460" y="5502046"/>
            <a:ext cx="353126" cy="212912"/>
          </a:xfrm>
          <a:custGeom>
            <a:avLst/>
            <a:gdLst/>
            <a:ahLst/>
            <a:cxnLst/>
            <a:rect l="l" t="t" r="r" b="b"/>
            <a:pathLst>
              <a:path w="353126" h="212912">
                <a:moveTo>
                  <a:pt x="35700" y="212912"/>
                </a:moveTo>
                <a:lnTo>
                  <a:pt x="353126" y="50291"/>
                </a:lnTo>
                <a:lnTo>
                  <a:pt x="317398" y="0"/>
                </a:lnTo>
                <a:lnTo>
                  <a:pt x="0" y="162620"/>
                </a:lnTo>
                <a:lnTo>
                  <a:pt x="35700" y="212912"/>
                </a:lnTo>
                <a:close/>
              </a:path>
            </a:pathLst>
          </a:custGeom>
          <a:solidFill>
            <a:srgbClr val="000000"/>
          </a:solidFill>
        </p:spPr>
        <p:txBody>
          <a:bodyPr wrap="square" lIns="0" tIns="0" rIns="0" bIns="0" rtlCol="0">
            <a:noAutofit/>
          </a:bodyPr>
          <a:lstStyle/>
          <a:p>
            <a:endParaRPr/>
          </a:p>
        </p:txBody>
      </p:sp>
      <p:sp>
        <p:nvSpPr>
          <p:cNvPr id="44" name="object 44"/>
          <p:cNvSpPr/>
          <p:nvPr/>
        </p:nvSpPr>
        <p:spPr>
          <a:xfrm>
            <a:off x="3624319" y="5312627"/>
            <a:ext cx="234105" cy="167638"/>
          </a:xfrm>
          <a:custGeom>
            <a:avLst/>
            <a:gdLst/>
            <a:ahLst/>
            <a:cxnLst/>
            <a:rect l="l" t="t" r="r" b="b"/>
            <a:pathLst>
              <a:path w="234105" h="167638">
                <a:moveTo>
                  <a:pt x="41660" y="167638"/>
                </a:moveTo>
                <a:lnTo>
                  <a:pt x="234105" y="45250"/>
                </a:lnTo>
                <a:lnTo>
                  <a:pt x="194413" y="0"/>
                </a:lnTo>
                <a:lnTo>
                  <a:pt x="0" y="120699"/>
                </a:lnTo>
                <a:lnTo>
                  <a:pt x="41660" y="167638"/>
                </a:lnTo>
                <a:close/>
              </a:path>
            </a:pathLst>
          </a:custGeom>
          <a:solidFill>
            <a:srgbClr val="000000"/>
          </a:solidFill>
        </p:spPr>
        <p:txBody>
          <a:bodyPr wrap="square" lIns="0" tIns="0" rIns="0" bIns="0" rtlCol="0">
            <a:noAutofit/>
          </a:bodyPr>
          <a:lstStyle/>
          <a:p>
            <a:endParaRPr/>
          </a:p>
        </p:txBody>
      </p:sp>
      <p:sp>
        <p:nvSpPr>
          <p:cNvPr id="45" name="object 45"/>
          <p:cNvSpPr/>
          <p:nvPr/>
        </p:nvSpPr>
        <p:spPr>
          <a:xfrm>
            <a:off x="3511256" y="4943824"/>
            <a:ext cx="192418" cy="174343"/>
          </a:xfrm>
          <a:custGeom>
            <a:avLst/>
            <a:gdLst/>
            <a:ahLst/>
            <a:cxnLst/>
            <a:rect l="l" t="t" r="r" b="b"/>
            <a:pathLst>
              <a:path w="192418" h="174343">
                <a:moveTo>
                  <a:pt x="75392" y="174343"/>
                </a:moveTo>
                <a:lnTo>
                  <a:pt x="192418" y="122364"/>
                </a:lnTo>
                <a:lnTo>
                  <a:pt x="0" y="0"/>
                </a:lnTo>
                <a:lnTo>
                  <a:pt x="75392" y="174343"/>
                </a:lnTo>
                <a:close/>
              </a:path>
            </a:pathLst>
          </a:custGeom>
          <a:solidFill>
            <a:srgbClr val="000000"/>
          </a:solidFill>
        </p:spPr>
        <p:txBody>
          <a:bodyPr wrap="square" lIns="0" tIns="0" rIns="0" bIns="0" rtlCol="0">
            <a:noAutofit/>
          </a:bodyPr>
          <a:lstStyle/>
          <a:p>
            <a:endParaRPr/>
          </a:p>
        </p:txBody>
      </p:sp>
      <p:sp>
        <p:nvSpPr>
          <p:cNvPr id="46" name="object 46"/>
          <p:cNvSpPr/>
          <p:nvPr/>
        </p:nvSpPr>
        <p:spPr>
          <a:xfrm>
            <a:off x="3739403" y="4851612"/>
            <a:ext cx="192418" cy="174343"/>
          </a:xfrm>
          <a:custGeom>
            <a:avLst/>
            <a:gdLst/>
            <a:ahLst/>
            <a:cxnLst/>
            <a:rect l="l" t="t" r="r" b="b"/>
            <a:pathLst>
              <a:path w="192418" h="174343">
                <a:moveTo>
                  <a:pt x="75365" y="174343"/>
                </a:moveTo>
                <a:lnTo>
                  <a:pt x="192418" y="122387"/>
                </a:lnTo>
                <a:lnTo>
                  <a:pt x="0" y="0"/>
                </a:lnTo>
                <a:lnTo>
                  <a:pt x="75365" y="174343"/>
                </a:lnTo>
                <a:close/>
              </a:path>
            </a:pathLst>
          </a:custGeom>
          <a:solidFill>
            <a:srgbClr val="000000"/>
          </a:solidFill>
        </p:spPr>
        <p:txBody>
          <a:bodyPr wrap="square" lIns="0" tIns="0" rIns="0" bIns="0" rtlCol="0">
            <a:noAutofit/>
          </a:bodyPr>
          <a:lstStyle/>
          <a:p>
            <a:endParaRPr/>
          </a:p>
        </p:txBody>
      </p:sp>
      <p:sp>
        <p:nvSpPr>
          <p:cNvPr id="47" name="object 47"/>
          <p:cNvSpPr/>
          <p:nvPr/>
        </p:nvSpPr>
        <p:spPr>
          <a:xfrm>
            <a:off x="3945709" y="4764440"/>
            <a:ext cx="192445" cy="174343"/>
          </a:xfrm>
          <a:custGeom>
            <a:avLst/>
            <a:gdLst/>
            <a:ahLst/>
            <a:cxnLst/>
            <a:rect l="l" t="t" r="r" b="b"/>
            <a:pathLst>
              <a:path w="192445" h="174343">
                <a:moveTo>
                  <a:pt x="75392" y="174343"/>
                </a:moveTo>
                <a:lnTo>
                  <a:pt x="192445" y="122387"/>
                </a:lnTo>
                <a:lnTo>
                  <a:pt x="0" y="0"/>
                </a:lnTo>
                <a:lnTo>
                  <a:pt x="75392" y="174343"/>
                </a:lnTo>
                <a:close/>
              </a:path>
            </a:pathLst>
          </a:custGeom>
          <a:solidFill>
            <a:srgbClr val="000000"/>
          </a:solidFill>
        </p:spPr>
        <p:txBody>
          <a:bodyPr wrap="square" lIns="0" tIns="0" rIns="0" bIns="0" rtlCol="0">
            <a:noAutofit/>
          </a:bodyPr>
          <a:lstStyle/>
          <a:p>
            <a:endParaRPr/>
          </a:p>
        </p:txBody>
      </p:sp>
      <p:sp>
        <p:nvSpPr>
          <p:cNvPr id="8" name="object 8"/>
          <p:cNvSpPr txBox="1"/>
          <p:nvPr/>
        </p:nvSpPr>
        <p:spPr>
          <a:xfrm>
            <a:off x="3124200" y="1447800"/>
            <a:ext cx="3657600" cy="2438400"/>
          </a:xfrm>
          <a:prstGeom prst="rect">
            <a:avLst/>
          </a:prstGeom>
        </p:spPr>
        <p:txBody>
          <a:bodyPr wrap="square" lIns="0" tIns="0" rIns="0" bIns="0" rtlCol="0">
            <a:noAutofit/>
          </a:bodyPr>
          <a:lstStyle/>
          <a:p>
            <a:pPr>
              <a:lnSpc>
                <a:spcPts val="600"/>
              </a:lnSpc>
              <a:spcBef>
                <a:spcPts val="40"/>
              </a:spcBef>
            </a:pPr>
            <a:endParaRPr sz="600" dirty="0"/>
          </a:p>
          <a:p>
            <a:pPr marL="67563" marR="1575739" algn="ctr">
              <a:lnSpc>
                <a:spcPct val="95825"/>
              </a:lnSpc>
              <a:spcBef>
                <a:spcPts val="3000"/>
              </a:spcBef>
            </a:pPr>
            <a:r>
              <a:rPr sz="1200" b="1" dirty="0">
                <a:latin typeface="Arial"/>
                <a:cs typeface="Arial"/>
              </a:rPr>
              <a:t>F1</a:t>
            </a:r>
            <a:r>
              <a:rPr sz="1200" b="1" spc="-4" dirty="0">
                <a:latin typeface="Arial"/>
                <a:cs typeface="Arial"/>
              </a:rPr>
              <a:t> </a:t>
            </a:r>
            <a:r>
              <a:rPr sz="1200" b="1" dirty="0">
                <a:latin typeface="Arial"/>
                <a:cs typeface="Arial"/>
              </a:rPr>
              <a:t>- Ord</a:t>
            </a:r>
            <a:r>
              <a:rPr sz="1200" b="1" spc="4" dirty="0">
                <a:latin typeface="Arial"/>
                <a:cs typeface="Arial"/>
              </a:rPr>
              <a:t>e</a:t>
            </a:r>
            <a:r>
              <a:rPr sz="1200" b="1" dirty="0">
                <a:latin typeface="Arial"/>
                <a:cs typeface="Arial"/>
              </a:rPr>
              <a:t>r</a:t>
            </a:r>
            <a:r>
              <a:rPr sz="1200" b="1" spc="-4" dirty="0">
                <a:latin typeface="Arial"/>
                <a:cs typeface="Arial"/>
              </a:rPr>
              <a:t> </a:t>
            </a:r>
            <a:r>
              <a:rPr sz="1200" b="1" dirty="0">
                <a:latin typeface="Arial"/>
                <a:cs typeface="Arial"/>
              </a:rPr>
              <a:t>r</a:t>
            </a:r>
            <a:r>
              <a:rPr sz="1200" b="1" spc="4" dirty="0">
                <a:latin typeface="Arial"/>
                <a:cs typeface="Arial"/>
              </a:rPr>
              <a:t>e</a:t>
            </a:r>
            <a:r>
              <a:rPr sz="1200" b="1" dirty="0">
                <a:latin typeface="Arial"/>
                <a:cs typeface="Arial"/>
              </a:rPr>
              <a:t>l</a:t>
            </a:r>
            <a:r>
              <a:rPr sz="1200" b="1" spc="4" dirty="0">
                <a:latin typeface="Arial"/>
                <a:cs typeface="Arial"/>
              </a:rPr>
              <a:t>a</a:t>
            </a:r>
            <a:r>
              <a:rPr sz="1200" b="1" dirty="0">
                <a:latin typeface="Arial"/>
                <a:cs typeface="Arial"/>
              </a:rPr>
              <a:t>ted</a:t>
            </a:r>
            <a:r>
              <a:rPr sz="1200" b="1" spc="327" dirty="0">
                <a:latin typeface="Arial"/>
                <a:cs typeface="Arial"/>
              </a:rPr>
              <a:t> </a:t>
            </a:r>
            <a:r>
              <a:rPr sz="1200" b="1" dirty="0">
                <a:latin typeface="Arial"/>
                <a:cs typeface="Arial"/>
              </a:rPr>
              <a:t>In</a:t>
            </a:r>
            <a:r>
              <a:rPr sz="1200" b="1" spc="-19" dirty="0">
                <a:latin typeface="Arial"/>
                <a:cs typeface="Arial"/>
              </a:rPr>
              <a:t>v</a:t>
            </a:r>
            <a:r>
              <a:rPr sz="1200" b="1" dirty="0">
                <a:latin typeface="Arial"/>
                <a:cs typeface="Arial"/>
              </a:rPr>
              <a:t>oi</a:t>
            </a:r>
            <a:r>
              <a:rPr sz="1200" b="1" spc="4" dirty="0">
                <a:latin typeface="Arial"/>
                <a:cs typeface="Arial"/>
              </a:rPr>
              <a:t>c</a:t>
            </a:r>
            <a:r>
              <a:rPr sz="1200" b="1" dirty="0">
                <a:latin typeface="Arial"/>
                <a:cs typeface="Arial"/>
              </a:rPr>
              <a:t>e</a:t>
            </a:r>
            <a:r>
              <a:rPr sz="1200" b="1" spc="29" dirty="0">
                <a:latin typeface="Arial"/>
                <a:cs typeface="Arial"/>
              </a:rPr>
              <a:t> </a:t>
            </a:r>
            <a:r>
              <a:rPr sz="1200" dirty="0">
                <a:latin typeface="Arial"/>
                <a:cs typeface="Arial"/>
              </a:rPr>
              <a:t>:</a:t>
            </a:r>
          </a:p>
          <a:p>
            <a:pPr marL="433069">
              <a:lnSpc>
                <a:spcPct val="95825"/>
              </a:lnSpc>
              <a:spcBef>
                <a:spcPts val="60"/>
              </a:spcBef>
            </a:pPr>
            <a:r>
              <a:rPr sz="1200" spc="4" dirty="0">
                <a:latin typeface="Arial"/>
                <a:cs typeface="Arial"/>
              </a:rPr>
              <a:t>1</a:t>
            </a:r>
            <a:r>
              <a:rPr sz="1200" dirty="0">
                <a:latin typeface="Arial"/>
                <a:cs typeface="Arial"/>
              </a:rPr>
              <a:t>.</a:t>
            </a:r>
            <a:r>
              <a:rPr sz="1200" spc="-4" dirty="0">
                <a:latin typeface="Arial"/>
                <a:cs typeface="Arial"/>
              </a:rPr>
              <a:t> </a:t>
            </a:r>
            <a:r>
              <a:rPr sz="1200" dirty="0">
                <a:latin typeface="Arial"/>
                <a:cs typeface="Arial"/>
              </a:rPr>
              <a:t>If</a:t>
            </a:r>
            <a:r>
              <a:rPr sz="1200" spc="14" dirty="0">
                <a:latin typeface="Arial"/>
                <a:cs typeface="Arial"/>
              </a:rPr>
              <a:t> </a:t>
            </a:r>
            <a:r>
              <a:rPr sz="1200" spc="-9"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spc="-14" dirty="0">
                <a:latin typeface="Arial"/>
                <a:cs typeface="Arial"/>
              </a:rPr>
              <a:t>w</a:t>
            </a:r>
            <a:r>
              <a:rPr sz="1200" spc="4" dirty="0">
                <a:latin typeface="Arial"/>
                <a:cs typeface="Arial"/>
              </a:rPr>
              <a:t>an</a:t>
            </a:r>
            <a:r>
              <a:rPr sz="1200" dirty="0">
                <a:latin typeface="Arial"/>
                <a:cs typeface="Arial"/>
              </a:rPr>
              <a:t>t</a:t>
            </a:r>
            <a:r>
              <a:rPr sz="1200" spc="4" dirty="0">
                <a:latin typeface="Arial"/>
                <a:cs typeface="Arial"/>
              </a:rPr>
              <a:t> </a:t>
            </a:r>
            <a:r>
              <a:rPr sz="1200" dirty="0">
                <a:latin typeface="Arial"/>
                <a:cs typeface="Arial"/>
              </a:rPr>
              <a:t>to rec</a:t>
            </a:r>
            <a:r>
              <a:rPr sz="1200" spc="4" dirty="0">
                <a:latin typeface="Arial"/>
                <a:cs typeface="Arial"/>
              </a:rPr>
              <a:t>e</a:t>
            </a:r>
            <a:r>
              <a:rPr sz="1200" dirty="0">
                <a:latin typeface="Arial"/>
                <a:cs typeface="Arial"/>
              </a:rPr>
              <a:t>i</a:t>
            </a:r>
            <a:r>
              <a:rPr sz="1200" spc="-14" dirty="0">
                <a:latin typeface="Arial"/>
                <a:cs typeface="Arial"/>
              </a:rPr>
              <a:t>v</a:t>
            </a:r>
            <a:r>
              <a:rPr sz="1200" dirty="0">
                <a:latin typeface="Arial"/>
                <a:cs typeface="Arial"/>
              </a:rPr>
              <a:t>e</a:t>
            </a:r>
            <a:r>
              <a:rPr sz="1200" spc="-4" dirty="0">
                <a:latin typeface="Arial"/>
                <a:cs typeface="Arial"/>
              </a:rPr>
              <a:t> </a:t>
            </a:r>
            <a:r>
              <a:rPr sz="1200" spc="4" dirty="0">
                <a:latin typeface="Arial"/>
                <a:cs typeface="Arial"/>
              </a:rPr>
              <a:t>mone</a:t>
            </a:r>
            <a:r>
              <a:rPr sz="1200" dirty="0">
                <a:latin typeface="Arial"/>
                <a:cs typeface="Arial"/>
              </a:rPr>
              <a:t>y</a:t>
            </a:r>
            <a:r>
              <a:rPr sz="1200" spc="-29" dirty="0">
                <a:latin typeface="Arial"/>
                <a:cs typeface="Arial"/>
              </a:rPr>
              <a:t> </a:t>
            </a:r>
            <a:r>
              <a:rPr sz="1200" spc="4" dirty="0">
                <a:latin typeface="Arial"/>
                <a:cs typeface="Arial"/>
              </a:rPr>
              <a:t>be</a:t>
            </a:r>
            <a:r>
              <a:rPr sz="1200" spc="14" dirty="0">
                <a:latin typeface="Arial"/>
                <a:cs typeface="Arial"/>
              </a:rPr>
              <a:t>f</a:t>
            </a:r>
            <a:r>
              <a:rPr sz="1200" spc="4" dirty="0">
                <a:latin typeface="Arial"/>
                <a:cs typeface="Arial"/>
              </a:rPr>
              <a:t>o</a:t>
            </a:r>
            <a:r>
              <a:rPr sz="1200" dirty="0">
                <a:latin typeface="Arial"/>
                <a:cs typeface="Arial"/>
              </a:rPr>
              <a:t>re</a:t>
            </a:r>
            <a:r>
              <a:rPr sz="1200" spc="-29" dirty="0">
                <a:latin typeface="Arial"/>
                <a:cs typeface="Arial"/>
              </a:rPr>
              <a:t> </a:t>
            </a:r>
            <a:r>
              <a:rPr sz="1200" spc="-9" dirty="0">
                <a:latin typeface="Arial"/>
                <a:cs typeface="Arial"/>
              </a:rPr>
              <a:t>y</a:t>
            </a:r>
            <a:r>
              <a:rPr sz="1200" spc="4" dirty="0">
                <a:latin typeface="Arial"/>
                <a:cs typeface="Arial"/>
              </a:rPr>
              <a:t>o</a:t>
            </a:r>
            <a:r>
              <a:rPr sz="1200" dirty="0">
                <a:latin typeface="Arial"/>
                <a:cs typeface="Arial"/>
              </a:rPr>
              <a:t>u</a:t>
            </a:r>
          </a:p>
          <a:p>
            <a:pPr marL="603757">
              <a:lnSpc>
                <a:spcPct val="95825"/>
              </a:lnSpc>
              <a:spcBef>
                <a:spcPts val="60"/>
              </a:spcBef>
            </a:pPr>
            <a:r>
              <a:rPr sz="1200" dirty="0">
                <a:latin typeface="Arial"/>
                <a:cs typeface="Arial"/>
              </a:rPr>
              <a:t>se</a:t>
            </a:r>
            <a:r>
              <a:rPr sz="1200" spc="4" dirty="0">
                <a:latin typeface="Arial"/>
                <a:cs typeface="Arial"/>
              </a:rPr>
              <a:t>n</a:t>
            </a:r>
            <a:r>
              <a:rPr sz="1200" dirty="0">
                <a:latin typeface="Arial"/>
                <a:cs typeface="Arial"/>
              </a:rPr>
              <a:t>d</a:t>
            </a:r>
            <a:r>
              <a:rPr sz="1200" spc="-1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spc="-9" dirty="0">
                <a:latin typeface="Arial"/>
                <a:cs typeface="Arial"/>
              </a:rPr>
              <a:t>g</a:t>
            </a:r>
            <a:r>
              <a:rPr sz="1200" dirty="0">
                <a:latin typeface="Arial"/>
                <a:cs typeface="Arial"/>
              </a:rPr>
              <a:t>o</a:t>
            </a:r>
            <a:r>
              <a:rPr sz="1200" spc="4" dirty="0">
                <a:latin typeface="Arial"/>
                <a:cs typeface="Arial"/>
              </a:rPr>
              <a:t>o</a:t>
            </a:r>
            <a:r>
              <a:rPr sz="1200" dirty="0">
                <a:latin typeface="Arial"/>
                <a:cs typeface="Arial"/>
              </a:rPr>
              <a:t>ds</a:t>
            </a:r>
            <a:r>
              <a:rPr sz="1200" spc="-19" dirty="0">
                <a:latin typeface="Arial"/>
                <a:cs typeface="Arial"/>
              </a:rPr>
              <a:t> </a:t>
            </a:r>
            <a:r>
              <a:rPr sz="1200" dirty="0">
                <a:latin typeface="Arial"/>
                <a:cs typeface="Arial"/>
              </a:rPr>
              <a:t>to</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cust</a:t>
            </a:r>
            <a:r>
              <a:rPr sz="1200" spc="4" dirty="0">
                <a:latin typeface="Arial"/>
                <a:cs typeface="Arial"/>
              </a:rPr>
              <a:t>om</a:t>
            </a:r>
            <a:r>
              <a:rPr sz="1200" dirty="0">
                <a:latin typeface="Arial"/>
                <a:cs typeface="Arial"/>
              </a:rPr>
              <a:t>e</a:t>
            </a:r>
            <a:r>
              <a:rPr sz="1200" spc="-59" dirty="0">
                <a:latin typeface="Arial"/>
                <a:cs typeface="Arial"/>
              </a:rPr>
              <a:t>r</a:t>
            </a:r>
            <a:r>
              <a:rPr sz="1200" dirty="0">
                <a:latin typeface="Arial"/>
                <a:cs typeface="Arial"/>
              </a:rPr>
              <a:t>,</a:t>
            </a:r>
          </a:p>
          <a:p>
            <a:pPr marL="603757" marR="539930">
              <a:lnSpc>
                <a:spcPct val="100041"/>
              </a:lnSpc>
              <a:spcBef>
                <a:spcPts val="60"/>
              </a:spcBef>
            </a:pPr>
            <a:r>
              <a:rPr sz="1200" dirty="0">
                <a:latin typeface="Arial"/>
                <a:cs typeface="Arial"/>
              </a:rPr>
              <a:t>t</a:t>
            </a:r>
            <a:r>
              <a:rPr sz="1200" spc="4" dirty="0">
                <a:latin typeface="Arial"/>
                <a:cs typeface="Arial"/>
              </a:rPr>
              <a:t>he</a:t>
            </a:r>
            <a:r>
              <a:rPr sz="1200" dirty="0">
                <a:latin typeface="Arial"/>
                <a:cs typeface="Arial"/>
              </a:rPr>
              <a:t>n</a:t>
            </a:r>
            <a:r>
              <a:rPr sz="1200" spc="-1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 </a:t>
            </a:r>
            <a:r>
              <a:rPr sz="1200" spc="4" dirty="0">
                <a:latin typeface="Arial"/>
                <a:cs typeface="Arial"/>
              </a:rPr>
              <a:t>a</a:t>
            </a:r>
            <a:r>
              <a:rPr sz="1200" dirty="0">
                <a:latin typeface="Arial"/>
                <a:cs typeface="Arial"/>
              </a:rPr>
              <a:t>n</a:t>
            </a:r>
            <a:r>
              <a:rPr sz="1200" spc="-14" dirty="0">
                <a:latin typeface="Arial"/>
                <a:cs typeface="Arial"/>
              </a:rPr>
              <a:t> </a:t>
            </a:r>
            <a:r>
              <a:rPr sz="1200" dirty="0">
                <a:latin typeface="Arial"/>
                <a:cs typeface="Arial"/>
              </a:rPr>
              <a:t>in</a:t>
            </a:r>
            <a:r>
              <a:rPr sz="1200" spc="-9" dirty="0">
                <a:latin typeface="Arial"/>
                <a:cs typeface="Arial"/>
              </a:rPr>
              <a:t>v</a:t>
            </a:r>
            <a:r>
              <a:rPr sz="1200" spc="4" dirty="0">
                <a:latin typeface="Arial"/>
                <a:cs typeface="Arial"/>
              </a:rPr>
              <a:t>o</a:t>
            </a:r>
            <a:r>
              <a:rPr sz="1200" dirty="0">
                <a:latin typeface="Arial"/>
                <a:cs typeface="Arial"/>
              </a:rPr>
              <a:t>ice</a:t>
            </a:r>
            <a:r>
              <a:rPr sz="1200" spc="-4" dirty="0">
                <a:latin typeface="Arial"/>
                <a:cs typeface="Arial"/>
              </a:rPr>
              <a:t> </a:t>
            </a:r>
            <a:r>
              <a:rPr sz="1200" spc="-14" dirty="0">
                <a:latin typeface="Arial"/>
                <a:cs typeface="Arial"/>
              </a:rPr>
              <a:t>w</a:t>
            </a:r>
            <a:r>
              <a:rPr sz="1200" dirty="0">
                <a:latin typeface="Arial"/>
                <a:cs typeface="Arial"/>
              </a:rPr>
              <a:t>ith</a:t>
            </a:r>
            <a:r>
              <a:rPr sz="1200" spc="4" dirty="0">
                <a:latin typeface="Arial"/>
                <a:cs typeface="Arial"/>
              </a:rPr>
              <a:t> </a:t>
            </a:r>
            <a:r>
              <a:rPr sz="1200" dirty="0">
                <a:latin typeface="Arial"/>
                <a:cs typeface="Arial"/>
              </a:rPr>
              <a:t>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 to</a:t>
            </a:r>
            <a:r>
              <a:rPr sz="1200" spc="4" dirty="0">
                <a:latin typeface="Arial"/>
                <a:cs typeface="Arial"/>
              </a:rPr>
              <a:t> </a:t>
            </a:r>
            <a:r>
              <a:rPr sz="1200" dirty="0">
                <a:latin typeface="Arial"/>
                <a:cs typeface="Arial"/>
              </a:rPr>
              <a:t>a s</a:t>
            </a:r>
            <a:r>
              <a:rPr sz="1200" spc="4" dirty="0">
                <a:latin typeface="Arial"/>
                <a:cs typeface="Arial"/>
              </a:rPr>
              <a:t>a</a:t>
            </a:r>
            <a:r>
              <a:rPr sz="1200" dirty="0">
                <a:latin typeface="Arial"/>
                <a:cs typeface="Arial"/>
              </a:rPr>
              <a:t>les</a:t>
            </a:r>
            <a:r>
              <a:rPr sz="1200" spc="-4" dirty="0">
                <a:latin typeface="Arial"/>
                <a:cs typeface="Arial"/>
              </a:rPr>
              <a:t> </a:t>
            </a:r>
            <a:r>
              <a:rPr sz="1200" spc="4" dirty="0">
                <a:latin typeface="Arial"/>
                <a:cs typeface="Arial"/>
              </a:rPr>
              <a:t>o</a:t>
            </a:r>
            <a:r>
              <a:rPr sz="1200" dirty="0">
                <a:latin typeface="Arial"/>
                <a:cs typeface="Arial"/>
              </a:rPr>
              <a:t>rd</a:t>
            </a:r>
            <a:r>
              <a:rPr sz="1200" spc="4" dirty="0">
                <a:latin typeface="Arial"/>
                <a:cs typeface="Arial"/>
              </a:rPr>
              <a:t>e</a:t>
            </a:r>
            <a:r>
              <a:rPr sz="1200" spc="-64" dirty="0">
                <a:latin typeface="Arial"/>
                <a:cs typeface="Arial"/>
              </a:rPr>
              <a:t>r</a:t>
            </a:r>
            <a:r>
              <a:rPr sz="1200" dirty="0">
                <a:latin typeface="Arial"/>
                <a:cs typeface="Arial"/>
              </a:rPr>
              <a:t>.</a:t>
            </a:r>
          </a:p>
          <a:p>
            <a:pPr marL="433069">
              <a:lnSpc>
                <a:spcPct val="95825"/>
              </a:lnSpc>
              <a:spcBef>
                <a:spcPts val="1441"/>
              </a:spcBef>
            </a:pPr>
            <a:r>
              <a:rPr sz="1200" spc="4" dirty="0">
                <a:latin typeface="Arial"/>
                <a:cs typeface="Arial"/>
              </a:rPr>
              <a:t>2</a:t>
            </a:r>
            <a:r>
              <a:rPr sz="1200" dirty="0">
                <a:latin typeface="Arial"/>
                <a:cs typeface="Arial"/>
              </a:rPr>
              <a:t>.</a:t>
            </a:r>
            <a:r>
              <a:rPr sz="1200" spc="-4" dirty="0">
                <a:latin typeface="Arial"/>
                <a:cs typeface="Arial"/>
              </a:rPr>
              <a:t> </a:t>
            </a:r>
            <a:r>
              <a:rPr sz="1200" dirty="0">
                <a:latin typeface="Arial"/>
                <a:cs typeface="Arial"/>
              </a:rPr>
              <a:t>Co</a:t>
            </a:r>
            <a:r>
              <a:rPr sz="1200" spc="9" dirty="0">
                <a:latin typeface="Arial"/>
                <a:cs typeface="Arial"/>
              </a:rPr>
              <a:t>m</a:t>
            </a:r>
            <a:r>
              <a:rPr sz="1200" spc="4" dirty="0">
                <a:latin typeface="Arial"/>
                <a:cs typeface="Arial"/>
              </a:rPr>
              <a:t>mon</a:t>
            </a:r>
            <a:r>
              <a:rPr sz="1200" dirty="0">
                <a:latin typeface="Arial"/>
                <a:cs typeface="Arial"/>
              </a:rPr>
              <a:t>ly</a:t>
            </a:r>
            <a:r>
              <a:rPr sz="1200" spc="-34" dirty="0">
                <a:latin typeface="Arial"/>
                <a:cs typeface="Arial"/>
              </a:rPr>
              <a:t> </a:t>
            </a:r>
            <a:r>
              <a:rPr sz="1200" spc="4" dirty="0">
                <a:latin typeface="Arial"/>
                <a:cs typeface="Arial"/>
              </a:rPr>
              <a:t>u</a:t>
            </a:r>
            <a:r>
              <a:rPr sz="1200" dirty="0">
                <a:latin typeface="Arial"/>
                <a:cs typeface="Arial"/>
              </a:rPr>
              <a:t>s</a:t>
            </a:r>
            <a:r>
              <a:rPr sz="1200" spc="4" dirty="0">
                <a:latin typeface="Arial"/>
                <a:cs typeface="Arial"/>
              </a:rPr>
              <a:t>e</a:t>
            </a:r>
            <a:r>
              <a:rPr sz="1200" dirty="0">
                <a:latin typeface="Arial"/>
                <a:cs typeface="Arial"/>
              </a:rPr>
              <a:t>d</a:t>
            </a:r>
            <a:r>
              <a:rPr sz="1200" spc="-2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s</a:t>
            </a:r>
            <a:r>
              <a:rPr sz="1200" spc="-39" dirty="0">
                <a:latin typeface="Arial"/>
                <a:cs typeface="Arial"/>
              </a:rPr>
              <a:t> </a:t>
            </a:r>
            <a:r>
              <a:rPr sz="1200" spc="-14" dirty="0">
                <a:latin typeface="Arial"/>
                <a:cs typeface="Arial"/>
              </a:rPr>
              <a:t>w</a:t>
            </a:r>
            <a:r>
              <a:rPr sz="1200" spc="4" dirty="0">
                <a:latin typeface="Arial"/>
                <a:cs typeface="Arial"/>
              </a:rPr>
              <a:t>ou</a:t>
            </a:r>
            <a:r>
              <a:rPr sz="1200" dirty="0">
                <a:latin typeface="Arial"/>
                <a:cs typeface="Arial"/>
              </a:rPr>
              <a:t>ld</a:t>
            </a:r>
            <a:r>
              <a:rPr sz="1200" spc="-4" dirty="0">
                <a:latin typeface="Arial"/>
                <a:cs typeface="Arial"/>
              </a:rPr>
              <a:t> </a:t>
            </a:r>
            <a:r>
              <a:rPr sz="1200" spc="4" dirty="0">
                <a:latin typeface="Arial"/>
                <a:cs typeface="Arial"/>
              </a:rPr>
              <a:t>b</a:t>
            </a:r>
            <a:r>
              <a:rPr sz="1200" dirty="0">
                <a:latin typeface="Arial"/>
                <a:cs typeface="Arial"/>
              </a:rPr>
              <a:t>e</a:t>
            </a:r>
          </a:p>
          <a:p>
            <a:pPr marL="603757">
              <a:lnSpc>
                <a:spcPct val="95825"/>
              </a:lnSpc>
              <a:spcBef>
                <a:spcPts val="60"/>
              </a:spcBef>
            </a:pPr>
            <a:r>
              <a:rPr sz="1200" dirty="0">
                <a:latin typeface="Arial"/>
                <a:cs typeface="Arial"/>
              </a:rPr>
              <a:t>C</a:t>
            </a:r>
            <a:r>
              <a:rPr sz="1200" spc="-4" dirty="0">
                <a:latin typeface="Arial"/>
                <a:cs typeface="Arial"/>
              </a:rPr>
              <a:t>r</a:t>
            </a:r>
            <a:r>
              <a:rPr sz="1200" spc="4" dirty="0">
                <a:latin typeface="Arial"/>
                <a:cs typeface="Arial"/>
              </a:rPr>
              <a:t>ed</a:t>
            </a:r>
            <a:r>
              <a:rPr sz="1200" dirty="0">
                <a:latin typeface="Arial"/>
                <a:cs typeface="Arial"/>
              </a:rPr>
              <a:t>it</a:t>
            </a:r>
            <a:r>
              <a:rPr sz="1200" spc="-9" dirty="0">
                <a:latin typeface="Arial"/>
                <a:cs typeface="Arial"/>
              </a:rPr>
              <a:t> </a:t>
            </a:r>
            <a:r>
              <a:rPr sz="1200" spc="4" dirty="0">
                <a:latin typeface="Arial"/>
                <a:cs typeface="Arial"/>
              </a:rPr>
              <a:t>memo</a:t>
            </a:r>
            <a:r>
              <a:rPr sz="1200" dirty="0">
                <a:latin typeface="Arial"/>
                <a:cs typeface="Arial"/>
              </a:rPr>
              <a:t>s</a:t>
            </a:r>
          </a:p>
          <a:p>
            <a:pPr marL="603757">
              <a:lnSpc>
                <a:spcPct val="95825"/>
              </a:lnSpc>
              <a:spcBef>
                <a:spcPts val="60"/>
              </a:spcBef>
            </a:pPr>
            <a:r>
              <a:rPr sz="1200" dirty="0">
                <a:latin typeface="Arial"/>
                <a:cs typeface="Arial"/>
              </a:rPr>
              <a:t>De</a:t>
            </a:r>
            <a:r>
              <a:rPr sz="1200" spc="4" dirty="0">
                <a:latin typeface="Arial"/>
                <a:cs typeface="Arial"/>
              </a:rPr>
              <a:t>b</a:t>
            </a:r>
            <a:r>
              <a:rPr sz="1200" dirty="0">
                <a:latin typeface="Arial"/>
                <a:cs typeface="Arial"/>
              </a:rPr>
              <a:t>it</a:t>
            </a:r>
            <a:r>
              <a:rPr sz="1200" spc="-9" dirty="0">
                <a:latin typeface="Arial"/>
                <a:cs typeface="Arial"/>
              </a:rPr>
              <a:t> </a:t>
            </a:r>
            <a:r>
              <a:rPr sz="1200" spc="4" dirty="0">
                <a:latin typeface="Arial"/>
                <a:cs typeface="Arial"/>
              </a:rPr>
              <a:t>memo</a:t>
            </a:r>
            <a:r>
              <a:rPr sz="1200" dirty="0">
                <a:latin typeface="Arial"/>
                <a:cs typeface="Arial"/>
              </a:rPr>
              <a:t>s</a:t>
            </a:r>
          </a:p>
          <a:p>
            <a:pPr marL="603757">
              <a:lnSpc>
                <a:spcPct val="95825"/>
              </a:lnSpc>
              <a:spcBef>
                <a:spcPts val="60"/>
              </a:spcBef>
            </a:pPr>
            <a:r>
              <a:rPr sz="1200" dirty="0">
                <a:latin typeface="Arial"/>
                <a:cs typeface="Arial"/>
              </a:rPr>
              <a:t>I</a:t>
            </a:r>
            <a:r>
              <a:rPr sz="1200" spc="4" dirty="0">
                <a:latin typeface="Arial"/>
                <a:cs typeface="Arial"/>
              </a:rPr>
              <a:t>n</a:t>
            </a:r>
            <a:r>
              <a:rPr sz="1200" spc="-9" dirty="0">
                <a:latin typeface="Arial"/>
                <a:cs typeface="Arial"/>
              </a:rPr>
              <a:t>v</a:t>
            </a:r>
            <a:r>
              <a:rPr sz="1200" spc="4" dirty="0">
                <a:latin typeface="Arial"/>
                <a:cs typeface="Arial"/>
              </a:rPr>
              <a:t>o</a:t>
            </a:r>
            <a:r>
              <a:rPr sz="1200" dirty="0">
                <a:latin typeface="Arial"/>
                <a:cs typeface="Arial"/>
              </a:rPr>
              <a:t>ice</a:t>
            </a:r>
            <a:r>
              <a:rPr sz="1200" spc="-4" dirty="0">
                <a:latin typeface="Arial"/>
                <a:cs typeface="Arial"/>
              </a:rPr>
              <a:t> </a:t>
            </a:r>
            <a:r>
              <a:rPr sz="1200" dirty="0">
                <a:latin typeface="Arial"/>
                <a:cs typeface="Arial"/>
              </a:rPr>
              <a:t>c</a:t>
            </a:r>
            <a:r>
              <a:rPr sz="1200" spc="4" dirty="0">
                <a:latin typeface="Arial"/>
                <a:cs typeface="Arial"/>
              </a:rPr>
              <a:t>o</a:t>
            </a:r>
            <a:r>
              <a:rPr sz="1200" dirty="0">
                <a:latin typeface="Arial"/>
                <a:cs typeface="Arial"/>
              </a:rPr>
              <a:t>r</a:t>
            </a:r>
            <a:r>
              <a:rPr sz="1200" spc="-4" dirty="0">
                <a:latin typeface="Arial"/>
                <a:cs typeface="Arial"/>
              </a:rPr>
              <a:t>r</a:t>
            </a:r>
            <a:r>
              <a:rPr sz="1200" spc="4" dirty="0">
                <a:latin typeface="Arial"/>
                <a:cs typeface="Arial"/>
              </a:rPr>
              <a:t>e</a:t>
            </a:r>
            <a:r>
              <a:rPr sz="1200" dirty="0">
                <a:latin typeface="Arial"/>
                <a:cs typeface="Arial"/>
              </a:rPr>
              <a:t>cti</a:t>
            </a:r>
            <a:r>
              <a:rPr sz="1200" spc="4" dirty="0">
                <a:latin typeface="Arial"/>
                <a:cs typeface="Arial"/>
              </a:rPr>
              <a:t>o</a:t>
            </a:r>
            <a:r>
              <a:rPr sz="1200" dirty="0">
                <a:latin typeface="Arial"/>
                <a:cs typeface="Arial"/>
              </a:rPr>
              <a:t>n</a:t>
            </a:r>
            <a:r>
              <a:rPr sz="1200" spc="-14" dirty="0">
                <a:latin typeface="Arial"/>
                <a:cs typeface="Arial"/>
              </a:rPr>
              <a:t> </a:t>
            </a:r>
            <a:r>
              <a:rPr sz="1200" dirty="0">
                <a:latin typeface="Arial"/>
                <a:cs typeface="Arial"/>
              </a:rPr>
              <a:t>re</a:t>
            </a:r>
            <a:r>
              <a:rPr sz="1200" spc="-4" dirty="0">
                <a:latin typeface="Arial"/>
                <a:cs typeface="Arial"/>
              </a:rPr>
              <a:t>q</a:t>
            </a:r>
            <a:r>
              <a:rPr sz="1200" spc="4" dirty="0">
                <a:latin typeface="Arial"/>
                <a:cs typeface="Arial"/>
              </a:rPr>
              <a:t>ue</a:t>
            </a:r>
            <a:r>
              <a:rPr sz="1200" dirty="0">
                <a:latin typeface="Arial"/>
                <a:cs typeface="Arial"/>
              </a:rPr>
              <a:t>st</a:t>
            </a:r>
          </a:p>
        </p:txBody>
      </p:sp>
      <p:sp>
        <p:nvSpPr>
          <p:cNvPr id="7" name="object 7"/>
          <p:cNvSpPr txBox="1"/>
          <p:nvPr/>
        </p:nvSpPr>
        <p:spPr>
          <a:xfrm>
            <a:off x="6781800" y="1447800"/>
            <a:ext cx="2362200" cy="2438400"/>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3124200" y="3886200"/>
            <a:ext cx="2438400" cy="304800"/>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5562600" y="3886200"/>
            <a:ext cx="1219200" cy="304800"/>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6781800" y="3886200"/>
            <a:ext cx="2362200" cy="304800"/>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3124200" y="4191000"/>
            <a:ext cx="2438400" cy="2438400"/>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5562600" y="4191000"/>
            <a:ext cx="3581400" cy="2438400"/>
          </a:xfrm>
          <a:prstGeom prst="rect">
            <a:avLst/>
          </a:prstGeom>
        </p:spPr>
        <p:txBody>
          <a:bodyPr wrap="square" lIns="0" tIns="0" rIns="0" bIns="0" rtlCol="0">
            <a:noAutofit/>
          </a:bodyPr>
          <a:lstStyle/>
          <a:p>
            <a:pPr>
              <a:lnSpc>
                <a:spcPts val="950"/>
              </a:lnSpc>
              <a:spcBef>
                <a:spcPts val="15"/>
              </a:spcBef>
            </a:pPr>
            <a:endParaRPr sz="950"/>
          </a:p>
          <a:p>
            <a:pPr marL="92075">
              <a:lnSpc>
                <a:spcPct val="95825"/>
              </a:lnSpc>
              <a:spcBef>
                <a:spcPts val="1000"/>
              </a:spcBef>
            </a:pPr>
            <a:r>
              <a:rPr sz="1200" b="1" dirty="0">
                <a:latin typeface="Arial"/>
                <a:cs typeface="Arial"/>
              </a:rPr>
              <a:t>F2</a:t>
            </a:r>
            <a:r>
              <a:rPr sz="1200" b="1" spc="-4" dirty="0">
                <a:latin typeface="Arial"/>
                <a:cs typeface="Arial"/>
              </a:rPr>
              <a:t> </a:t>
            </a:r>
            <a:r>
              <a:rPr sz="1200" b="1" dirty="0">
                <a:latin typeface="Arial"/>
                <a:cs typeface="Arial"/>
              </a:rPr>
              <a:t>- De</a:t>
            </a:r>
            <a:r>
              <a:rPr sz="1200" b="1" spc="4" dirty="0">
                <a:latin typeface="Arial"/>
                <a:cs typeface="Arial"/>
              </a:rPr>
              <a:t>l</a:t>
            </a:r>
            <a:r>
              <a:rPr sz="1200" b="1" dirty="0">
                <a:latin typeface="Arial"/>
                <a:cs typeface="Arial"/>
              </a:rPr>
              <a:t>i</a:t>
            </a:r>
            <a:r>
              <a:rPr sz="1200" b="1" spc="-14" dirty="0">
                <a:latin typeface="Arial"/>
                <a:cs typeface="Arial"/>
              </a:rPr>
              <a:t>v</a:t>
            </a:r>
            <a:r>
              <a:rPr sz="1200" b="1" spc="4" dirty="0">
                <a:latin typeface="Arial"/>
                <a:cs typeface="Arial"/>
              </a:rPr>
              <a:t>e</a:t>
            </a:r>
            <a:r>
              <a:rPr sz="1200" b="1" dirty="0">
                <a:latin typeface="Arial"/>
                <a:cs typeface="Arial"/>
              </a:rPr>
              <a:t>ry</a:t>
            </a:r>
            <a:r>
              <a:rPr sz="1200" b="1" spc="-4" dirty="0">
                <a:latin typeface="Arial"/>
                <a:cs typeface="Arial"/>
              </a:rPr>
              <a:t> </a:t>
            </a:r>
            <a:r>
              <a:rPr sz="1200" b="1" dirty="0">
                <a:latin typeface="Arial"/>
                <a:cs typeface="Arial"/>
              </a:rPr>
              <a:t>r</a:t>
            </a:r>
            <a:r>
              <a:rPr sz="1200" b="1" spc="4" dirty="0">
                <a:latin typeface="Arial"/>
                <a:cs typeface="Arial"/>
              </a:rPr>
              <a:t>e</a:t>
            </a:r>
            <a:r>
              <a:rPr sz="1200" b="1" dirty="0">
                <a:latin typeface="Arial"/>
                <a:cs typeface="Arial"/>
              </a:rPr>
              <a:t>l</a:t>
            </a:r>
            <a:r>
              <a:rPr sz="1200" b="1" spc="4" dirty="0">
                <a:latin typeface="Arial"/>
                <a:cs typeface="Arial"/>
              </a:rPr>
              <a:t>a</a:t>
            </a:r>
            <a:r>
              <a:rPr sz="1200" b="1" dirty="0">
                <a:latin typeface="Arial"/>
                <a:cs typeface="Arial"/>
              </a:rPr>
              <a:t>ted</a:t>
            </a:r>
            <a:r>
              <a:rPr sz="1200" b="1" spc="-19" dirty="0">
                <a:latin typeface="Arial"/>
                <a:cs typeface="Arial"/>
              </a:rPr>
              <a:t> </a:t>
            </a:r>
            <a:r>
              <a:rPr sz="1200" b="1" dirty="0">
                <a:latin typeface="Arial"/>
                <a:cs typeface="Arial"/>
              </a:rPr>
              <a:t>in</a:t>
            </a:r>
            <a:r>
              <a:rPr sz="1200" b="1" spc="-19" dirty="0">
                <a:latin typeface="Arial"/>
                <a:cs typeface="Arial"/>
              </a:rPr>
              <a:t>v</a:t>
            </a:r>
            <a:r>
              <a:rPr sz="1200" b="1" dirty="0">
                <a:latin typeface="Arial"/>
                <a:cs typeface="Arial"/>
              </a:rPr>
              <a:t>oi</a:t>
            </a:r>
            <a:r>
              <a:rPr sz="1200" b="1" spc="4" dirty="0">
                <a:latin typeface="Arial"/>
                <a:cs typeface="Arial"/>
              </a:rPr>
              <a:t>c</a:t>
            </a:r>
            <a:r>
              <a:rPr sz="1200" b="1" dirty="0">
                <a:latin typeface="Arial"/>
                <a:cs typeface="Arial"/>
              </a:rPr>
              <a:t>e</a:t>
            </a:r>
            <a:r>
              <a:rPr sz="1200" b="1" spc="29" dirty="0">
                <a:latin typeface="Arial"/>
                <a:cs typeface="Arial"/>
              </a:rPr>
              <a:t> </a:t>
            </a:r>
            <a:r>
              <a:rPr sz="1200" dirty="0">
                <a:latin typeface="Arial"/>
                <a:cs typeface="Arial"/>
              </a:rPr>
              <a:t>:</a:t>
            </a:r>
            <a:endParaRPr sz="1200">
              <a:latin typeface="Arial"/>
              <a:cs typeface="Arial"/>
            </a:endParaRPr>
          </a:p>
          <a:p>
            <a:pPr marL="476123" marR="242826">
              <a:lnSpc>
                <a:spcPct val="100041"/>
              </a:lnSpc>
              <a:spcBef>
                <a:spcPts val="60"/>
              </a:spcBef>
            </a:pPr>
            <a:r>
              <a:rPr sz="1200" spc="4" dirty="0">
                <a:latin typeface="Arial"/>
                <a:cs typeface="Arial"/>
              </a:rPr>
              <a:t>1</a:t>
            </a:r>
            <a:r>
              <a:rPr sz="1200" dirty="0">
                <a:latin typeface="Arial"/>
                <a:cs typeface="Arial"/>
              </a:rPr>
              <a:t>.</a:t>
            </a:r>
            <a:r>
              <a:rPr sz="1200" spc="4" dirty="0">
                <a:latin typeface="Arial"/>
                <a:cs typeface="Arial"/>
              </a:rPr>
              <a:t> </a:t>
            </a:r>
            <a:r>
              <a:rPr sz="1200" dirty="0">
                <a:latin typeface="Arial"/>
                <a:cs typeface="Arial"/>
              </a:rPr>
              <a:t>If</a:t>
            </a:r>
            <a:r>
              <a:rPr sz="1200" spc="4" dirty="0">
                <a:latin typeface="Arial"/>
                <a:cs typeface="Arial"/>
              </a:rPr>
              <a:t> </a:t>
            </a:r>
            <a:r>
              <a:rPr sz="1200" spc="-9"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spc="-14" dirty="0">
                <a:latin typeface="Arial"/>
                <a:cs typeface="Arial"/>
              </a:rPr>
              <a:t>w</a:t>
            </a:r>
            <a:r>
              <a:rPr sz="1200" spc="4" dirty="0">
                <a:latin typeface="Arial"/>
                <a:cs typeface="Arial"/>
              </a:rPr>
              <a:t>an</a:t>
            </a:r>
            <a:r>
              <a:rPr sz="1200" dirty="0">
                <a:latin typeface="Arial"/>
                <a:cs typeface="Arial"/>
              </a:rPr>
              <a:t>t</a:t>
            </a:r>
            <a:r>
              <a:rPr sz="1200" spc="4" dirty="0">
                <a:latin typeface="Arial"/>
                <a:cs typeface="Arial"/>
              </a:rPr>
              <a:t> </a:t>
            </a:r>
            <a:r>
              <a:rPr sz="1200" dirty="0">
                <a:latin typeface="Arial"/>
                <a:cs typeface="Arial"/>
              </a:rPr>
              <a:t>to </a:t>
            </a:r>
            <a:r>
              <a:rPr sz="1200" spc="4" dirty="0">
                <a:latin typeface="Arial"/>
                <a:cs typeface="Arial"/>
              </a:rPr>
              <a:t>ma</a:t>
            </a:r>
            <a:r>
              <a:rPr sz="1200" dirty="0">
                <a:latin typeface="Arial"/>
                <a:cs typeface="Arial"/>
              </a:rPr>
              <a:t>ke</a:t>
            </a:r>
            <a:r>
              <a:rPr sz="1200" spc="-14" dirty="0">
                <a:latin typeface="Arial"/>
                <a:cs typeface="Arial"/>
              </a:rPr>
              <a:t> </a:t>
            </a:r>
            <a:r>
              <a:rPr sz="1200" dirty="0">
                <a:latin typeface="Arial"/>
                <a:cs typeface="Arial"/>
              </a:rPr>
              <a:t>s</a:t>
            </a:r>
            <a:r>
              <a:rPr sz="1200" spc="4" dirty="0">
                <a:latin typeface="Arial"/>
                <a:cs typeface="Arial"/>
              </a:rPr>
              <a:t>u</a:t>
            </a:r>
            <a:r>
              <a:rPr sz="1200" dirty="0">
                <a:latin typeface="Arial"/>
                <a:cs typeface="Arial"/>
              </a:rPr>
              <a:t>re</a:t>
            </a:r>
            <a:r>
              <a:rPr sz="1200" spc="-4"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t</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g</a:t>
            </a:r>
            <a:r>
              <a:rPr sz="1200" spc="4" dirty="0">
                <a:latin typeface="Arial"/>
                <a:cs typeface="Arial"/>
              </a:rPr>
              <a:t>ood</a:t>
            </a:r>
            <a:r>
              <a:rPr sz="1200" dirty="0">
                <a:latin typeface="Arial"/>
                <a:cs typeface="Arial"/>
              </a:rPr>
              <a:t>s </a:t>
            </a:r>
            <a:r>
              <a:rPr sz="1200" spc="4" dirty="0">
                <a:latin typeface="Arial"/>
                <a:cs typeface="Arial"/>
              </a:rPr>
              <a:t>a</a:t>
            </a:r>
            <a:r>
              <a:rPr sz="1200" dirty="0">
                <a:latin typeface="Arial"/>
                <a:cs typeface="Arial"/>
              </a:rPr>
              <a:t>re</a:t>
            </a:r>
            <a:r>
              <a:rPr sz="1200" spc="-4" dirty="0">
                <a:latin typeface="Arial"/>
                <a:cs typeface="Arial"/>
              </a:rPr>
              <a:t> </a:t>
            </a:r>
            <a:r>
              <a:rPr sz="1200" dirty="0">
                <a:latin typeface="Arial"/>
                <a:cs typeface="Arial"/>
              </a:rPr>
              <a:t>s</a:t>
            </a:r>
            <a:r>
              <a:rPr sz="1200" spc="4" dirty="0">
                <a:latin typeface="Arial"/>
                <a:cs typeface="Arial"/>
              </a:rPr>
              <a:t>en</a:t>
            </a:r>
            <a:r>
              <a:rPr sz="1200" dirty="0">
                <a:latin typeface="Arial"/>
                <a:cs typeface="Arial"/>
              </a:rPr>
              <a:t>t</a:t>
            </a:r>
            <a:r>
              <a:rPr sz="1200" spc="-4" dirty="0">
                <a:latin typeface="Arial"/>
                <a:cs typeface="Arial"/>
              </a:rPr>
              <a:t> </a:t>
            </a:r>
            <a:r>
              <a:rPr sz="1200" spc="4" dirty="0">
                <a:latin typeface="Arial"/>
                <a:cs typeface="Arial"/>
              </a:rPr>
              <a:t>ou</a:t>
            </a:r>
            <a:r>
              <a:rPr sz="1200" dirty="0">
                <a:latin typeface="Arial"/>
                <a:cs typeface="Arial"/>
              </a:rPr>
              <a:t>t</a:t>
            </a:r>
            <a:r>
              <a:rPr sz="1200" spc="-19" dirty="0">
                <a:latin typeface="Arial"/>
                <a:cs typeface="Arial"/>
              </a:rPr>
              <a:t> </a:t>
            </a:r>
            <a:r>
              <a:rPr sz="1200" spc="4" dirty="0">
                <a:latin typeface="Arial"/>
                <a:cs typeface="Arial"/>
              </a:rPr>
              <a:t>be</a:t>
            </a:r>
            <a:r>
              <a:rPr sz="1200" spc="14" dirty="0">
                <a:latin typeface="Arial"/>
                <a:cs typeface="Arial"/>
              </a:rPr>
              <a:t>f</a:t>
            </a:r>
            <a:r>
              <a:rPr sz="1200" spc="4" dirty="0">
                <a:latin typeface="Arial"/>
                <a:cs typeface="Arial"/>
              </a:rPr>
              <a:t>o</a:t>
            </a:r>
            <a:r>
              <a:rPr sz="1200" dirty="0">
                <a:latin typeface="Arial"/>
                <a:cs typeface="Arial"/>
              </a:rPr>
              <a:t>re</a:t>
            </a:r>
            <a:r>
              <a:rPr sz="1200" spc="-2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in</a:t>
            </a:r>
            <a:r>
              <a:rPr sz="1200" spc="-9" dirty="0">
                <a:latin typeface="Arial"/>
                <a:cs typeface="Arial"/>
              </a:rPr>
              <a:t>v</a:t>
            </a:r>
            <a:r>
              <a:rPr sz="1200" spc="4" dirty="0">
                <a:latin typeface="Arial"/>
                <a:cs typeface="Arial"/>
              </a:rPr>
              <a:t>o</a:t>
            </a:r>
            <a:r>
              <a:rPr sz="1200" dirty="0">
                <a:latin typeface="Arial"/>
                <a:cs typeface="Arial"/>
              </a:rPr>
              <a:t>ice</a:t>
            </a:r>
            <a:r>
              <a:rPr sz="1200" spc="-4" dirty="0">
                <a:latin typeface="Arial"/>
                <a:cs typeface="Arial"/>
              </a:rPr>
              <a:t> </a:t>
            </a:r>
            <a:r>
              <a:rPr sz="1200" dirty="0">
                <a:latin typeface="Arial"/>
                <a:cs typeface="Arial"/>
              </a:rPr>
              <a:t>is cre</a:t>
            </a:r>
            <a:r>
              <a:rPr sz="1200" spc="4" dirty="0">
                <a:latin typeface="Arial"/>
                <a:cs typeface="Arial"/>
              </a:rPr>
              <a:t>a</a:t>
            </a:r>
            <a:r>
              <a:rPr sz="1200" dirty="0">
                <a:latin typeface="Arial"/>
                <a:cs typeface="Arial"/>
              </a:rPr>
              <a:t>t</a:t>
            </a:r>
            <a:r>
              <a:rPr sz="1200" spc="4" dirty="0">
                <a:latin typeface="Arial"/>
                <a:cs typeface="Arial"/>
              </a:rPr>
              <a:t>ed</a:t>
            </a:r>
            <a:r>
              <a:rPr sz="1200" dirty="0">
                <a:latin typeface="Arial"/>
                <a:cs typeface="Arial"/>
              </a:rPr>
              <a:t>, t</a:t>
            </a:r>
            <a:r>
              <a:rPr sz="1200" spc="4" dirty="0">
                <a:latin typeface="Arial"/>
                <a:cs typeface="Arial"/>
              </a:rPr>
              <a:t>he</a:t>
            </a:r>
            <a:r>
              <a:rPr sz="1200" dirty="0">
                <a:latin typeface="Arial"/>
                <a:cs typeface="Arial"/>
              </a:rPr>
              <a:t>n</a:t>
            </a:r>
            <a:r>
              <a:rPr sz="1200" spc="-1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a:t>
            </a:r>
            <a:r>
              <a:rPr sz="1200" spc="-14" dirty="0">
                <a:latin typeface="Arial"/>
                <a:cs typeface="Arial"/>
              </a:rPr>
              <a:t> </a:t>
            </a:r>
            <a:r>
              <a:rPr sz="1200" spc="4" dirty="0">
                <a:latin typeface="Arial"/>
                <a:cs typeface="Arial"/>
              </a:rPr>
              <a:t>a</a:t>
            </a:r>
            <a:r>
              <a:rPr sz="1200" dirty="0">
                <a:latin typeface="Arial"/>
                <a:cs typeface="Arial"/>
              </a:rPr>
              <a:t>n</a:t>
            </a:r>
            <a:r>
              <a:rPr sz="1200" spc="-4" dirty="0">
                <a:latin typeface="Arial"/>
                <a:cs typeface="Arial"/>
              </a:rPr>
              <a:t> </a:t>
            </a:r>
            <a:r>
              <a:rPr sz="1200" dirty="0">
                <a:latin typeface="Arial"/>
                <a:cs typeface="Arial"/>
              </a:rPr>
              <a:t>in</a:t>
            </a:r>
            <a:r>
              <a:rPr sz="1200" spc="-9" dirty="0">
                <a:latin typeface="Arial"/>
                <a:cs typeface="Arial"/>
              </a:rPr>
              <a:t>v</a:t>
            </a:r>
            <a:r>
              <a:rPr sz="1200" spc="4" dirty="0">
                <a:latin typeface="Arial"/>
                <a:cs typeface="Arial"/>
              </a:rPr>
              <a:t>o</a:t>
            </a:r>
            <a:r>
              <a:rPr sz="1200" dirty="0">
                <a:latin typeface="Arial"/>
                <a:cs typeface="Arial"/>
              </a:rPr>
              <a:t>ice</a:t>
            </a:r>
            <a:r>
              <a:rPr sz="1200" spc="-19" dirty="0">
                <a:latin typeface="Arial"/>
                <a:cs typeface="Arial"/>
              </a:rPr>
              <a:t> </a:t>
            </a:r>
            <a:r>
              <a:rPr sz="1200" spc="4" dirty="0">
                <a:latin typeface="Arial"/>
                <a:cs typeface="Arial"/>
              </a:rPr>
              <a:t>o</a:t>
            </a:r>
            <a:r>
              <a:rPr sz="1200" dirty="0">
                <a:latin typeface="Arial"/>
                <a:cs typeface="Arial"/>
              </a:rPr>
              <a:t>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spc="4" dirty="0">
                <a:latin typeface="Arial"/>
                <a:cs typeface="Arial"/>
              </a:rPr>
              <a:t>ba</a:t>
            </a:r>
            <a:r>
              <a:rPr sz="1200" dirty="0">
                <a:latin typeface="Arial"/>
                <a:cs typeface="Arial"/>
              </a:rPr>
              <a:t>sis</a:t>
            </a:r>
            <a:r>
              <a:rPr sz="1200" spc="-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100" dirty="0">
                <a:latin typeface="Arial"/>
                <a:cs typeface="Arial"/>
              </a:rPr>
              <a:t>y</a:t>
            </a:r>
            <a:r>
              <a:rPr sz="1200" dirty="0">
                <a:latin typeface="Arial"/>
                <a:cs typeface="Arial"/>
              </a:rPr>
              <a:t>.</a:t>
            </a:r>
            <a:endParaRPr sz="1200">
              <a:latin typeface="Arial"/>
              <a:cs typeface="Arial"/>
            </a:endParaRPr>
          </a:p>
          <a:p>
            <a:pPr marL="691007" marR="445213" indent="-214884">
              <a:lnSpc>
                <a:spcPct val="100041"/>
              </a:lnSpc>
              <a:spcBef>
                <a:spcPts val="1443"/>
              </a:spcBef>
            </a:pPr>
            <a:r>
              <a:rPr sz="1200" spc="4" dirty="0">
                <a:latin typeface="Arial"/>
                <a:cs typeface="Arial"/>
              </a:rPr>
              <a:t>2</a:t>
            </a:r>
            <a:r>
              <a:rPr sz="1200" dirty="0">
                <a:latin typeface="Arial"/>
                <a:cs typeface="Arial"/>
              </a:rPr>
              <a:t>.</a:t>
            </a:r>
            <a:r>
              <a:rPr sz="1200" spc="-19" dirty="0">
                <a:latin typeface="Arial"/>
                <a:cs typeface="Arial"/>
              </a:rPr>
              <a:t> </a:t>
            </a:r>
            <a:r>
              <a:rPr sz="1200" spc="-114" dirty="0">
                <a:latin typeface="Arial"/>
                <a:cs typeface="Arial"/>
              </a:rPr>
              <a:t>Y</a:t>
            </a:r>
            <a:r>
              <a:rPr sz="1200" spc="4" dirty="0">
                <a:latin typeface="Arial"/>
                <a:cs typeface="Arial"/>
              </a:rPr>
              <a:t>o</a:t>
            </a:r>
            <a:r>
              <a:rPr sz="1200" dirty="0">
                <a:latin typeface="Arial"/>
                <a:cs typeface="Arial"/>
              </a:rPr>
              <a:t>u</a:t>
            </a:r>
            <a:r>
              <a:rPr sz="1200" spc="-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1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 </a:t>
            </a:r>
            <a:r>
              <a:rPr sz="1200" spc="4" dirty="0">
                <a:latin typeface="Arial"/>
                <a:cs typeface="Arial"/>
              </a:rPr>
              <a:t>a</a:t>
            </a:r>
            <a:r>
              <a:rPr sz="1200" dirty="0">
                <a:latin typeface="Arial"/>
                <a:cs typeface="Arial"/>
              </a:rPr>
              <a:t>n</a:t>
            </a:r>
            <a:r>
              <a:rPr sz="1200" spc="-14" dirty="0">
                <a:latin typeface="Arial"/>
                <a:cs typeface="Arial"/>
              </a:rPr>
              <a:t> </a:t>
            </a:r>
            <a:r>
              <a:rPr sz="1200" dirty="0">
                <a:latin typeface="Arial"/>
                <a:cs typeface="Arial"/>
              </a:rPr>
              <a:t>in</a:t>
            </a:r>
            <a:r>
              <a:rPr sz="1200" spc="-9" dirty="0">
                <a:latin typeface="Arial"/>
                <a:cs typeface="Arial"/>
              </a:rPr>
              <a:t>v</a:t>
            </a:r>
            <a:r>
              <a:rPr sz="1200" spc="4" dirty="0">
                <a:latin typeface="Arial"/>
                <a:cs typeface="Arial"/>
              </a:rPr>
              <a:t>o</a:t>
            </a:r>
            <a:r>
              <a:rPr sz="1200" dirty="0">
                <a:latin typeface="Arial"/>
                <a:cs typeface="Arial"/>
              </a:rPr>
              <a:t>ice</a:t>
            </a:r>
            <a:r>
              <a:rPr sz="1200" spc="-4" dirty="0">
                <a:latin typeface="Arial"/>
                <a:cs typeface="Arial"/>
              </a:rPr>
              <a:t> </a:t>
            </a:r>
            <a:r>
              <a:rPr sz="1200" spc="4" dirty="0">
                <a:latin typeface="Arial"/>
                <a:cs typeface="Arial"/>
              </a:rPr>
              <a:t>e</a:t>
            </a:r>
            <a:r>
              <a:rPr sz="1200" dirty="0">
                <a:latin typeface="Arial"/>
                <a:cs typeface="Arial"/>
              </a:rPr>
              <a:t>it</a:t>
            </a:r>
            <a:r>
              <a:rPr sz="1200" spc="4" dirty="0">
                <a:latin typeface="Arial"/>
                <a:cs typeface="Arial"/>
              </a:rPr>
              <a:t>he</a:t>
            </a:r>
            <a:r>
              <a:rPr sz="1200" dirty="0">
                <a:latin typeface="Arial"/>
                <a:cs typeface="Arial"/>
              </a:rPr>
              <a:t>r</a:t>
            </a:r>
            <a:r>
              <a:rPr sz="1200" spc="-24" dirty="0">
                <a:latin typeface="Arial"/>
                <a:cs typeface="Arial"/>
              </a:rPr>
              <a:t> </a:t>
            </a:r>
            <a:r>
              <a:rPr sz="1200" spc="-14" dirty="0">
                <a:latin typeface="Arial"/>
                <a:cs typeface="Arial"/>
              </a:rPr>
              <a:t>w</a:t>
            </a:r>
            <a:r>
              <a:rPr sz="1200" dirty="0">
                <a:latin typeface="Arial"/>
                <a:cs typeface="Arial"/>
              </a:rPr>
              <a:t>ith 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a:t>
            </a:r>
            <a:r>
              <a:rPr sz="1200" spc="-39" dirty="0">
                <a:latin typeface="Arial"/>
                <a:cs typeface="Arial"/>
              </a:rPr>
              <a:t> </a:t>
            </a:r>
            <a:r>
              <a:rPr sz="1200" dirty="0">
                <a:latin typeface="Arial"/>
                <a:cs typeface="Arial"/>
              </a:rPr>
              <a:t>to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9" dirty="0">
                <a:latin typeface="Arial"/>
                <a:cs typeface="Arial"/>
              </a:rPr>
              <a:t> </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100" dirty="0">
                <a:latin typeface="Arial"/>
                <a:cs typeface="Arial"/>
              </a:rPr>
              <a:t>y</a:t>
            </a:r>
            <a:r>
              <a:rPr sz="1200" dirty="0">
                <a:latin typeface="Arial"/>
                <a:cs typeface="Arial"/>
              </a:rPr>
              <a:t>.</a:t>
            </a:r>
            <a:endParaRPr sz="1200">
              <a:latin typeface="Arial"/>
              <a:cs typeface="Arial"/>
            </a:endParaRPr>
          </a:p>
        </p:txBody>
      </p:sp>
      <p:sp>
        <p:nvSpPr>
          <p:cNvPr id="9" name="Title 8"/>
          <p:cNvSpPr>
            <a:spLocks noGrp="1"/>
          </p:cNvSpPr>
          <p:nvPr>
            <p:ph type="title"/>
          </p:nvPr>
        </p:nvSpPr>
        <p:spPr/>
        <p:txBody>
          <a:bodyPr>
            <a:normAutofit fontScale="90000"/>
          </a:bodyPr>
          <a:lstStyle/>
          <a:p>
            <a:r>
              <a:rPr lang="en-US" sz="2400" dirty="0">
                <a:latin typeface="+mn-lt"/>
                <a:cs typeface="Arial"/>
              </a:rPr>
              <a:t>Billing Types</a:t>
            </a:r>
            <a:br>
              <a:rPr lang="en-US" sz="2800" b="1" dirty="0">
                <a:latin typeface="Arial"/>
                <a:cs typeface="Arial"/>
              </a:rPr>
            </a:b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23"/>
          <p:cNvSpPr/>
          <p:nvPr/>
        </p:nvSpPr>
        <p:spPr>
          <a:xfrm>
            <a:off x="8681604" y="146687"/>
            <a:ext cx="1679296" cy="1300711"/>
          </a:xfrm>
          <a:custGeom>
            <a:avLst/>
            <a:gdLst/>
            <a:ahLst/>
            <a:cxnLst/>
            <a:rect l="l" t="t" r="r" b="b"/>
            <a:pathLst>
              <a:path w="1679296" h="1300711">
                <a:moveTo>
                  <a:pt x="411291" y="7901"/>
                </a:moveTo>
                <a:lnTo>
                  <a:pt x="285001" y="0"/>
                </a:lnTo>
                <a:lnTo>
                  <a:pt x="143359" y="474554"/>
                </a:lnTo>
                <a:lnTo>
                  <a:pt x="151035" y="478955"/>
                </a:lnTo>
                <a:lnTo>
                  <a:pt x="176638" y="485981"/>
                </a:lnTo>
                <a:lnTo>
                  <a:pt x="193703" y="488619"/>
                </a:lnTo>
                <a:lnTo>
                  <a:pt x="212471" y="491257"/>
                </a:lnTo>
                <a:lnTo>
                  <a:pt x="232102" y="492133"/>
                </a:lnTo>
                <a:lnTo>
                  <a:pt x="252573" y="493895"/>
                </a:lnTo>
                <a:lnTo>
                  <a:pt x="273056" y="494770"/>
                </a:lnTo>
                <a:lnTo>
                  <a:pt x="292688" y="494770"/>
                </a:lnTo>
                <a:lnTo>
                  <a:pt x="312307" y="495658"/>
                </a:lnTo>
                <a:lnTo>
                  <a:pt x="345586" y="495658"/>
                </a:lnTo>
                <a:lnTo>
                  <a:pt x="359245" y="494770"/>
                </a:lnTo>
                <a:lnTo>
                  <a:pt x="378013" y="494770"/>
                </a:lnTo>
                <a:lnTo>
                  <a:pt x="378013" y="726802"/>
                </a:lnTo>
                <a:lnTo>
                  <a:pt x="340465" y="801504"/>
                </a:lnTo>
                <a:lnTo>
                  <a:pt x="327669" y="802379"/>
                </a:lnTo>
                <a:lnTo>
                  <a:pt x="314010" y="803267"/>
                </a:lnTo>
                <a:lnTo>
                  <a:pt x="299511" y="803267"/>
                </a:lnTo>
                <a:lnTo>
                  <a:pt x="285001" y="804142"/>
                </a:lnTo>
                <a:lnTo>
                  <a:pt x="256843" y="804142"/>
                </a:lnTo>
                <a:lnTo>
                  <a:pt x="242344" y="803267"/>
                </a:lnTo>
                <a:lnTo>
                  <a:pt x="228685" y="802379"/>
                </a:lnTo>
                <a:lnTo>
                  <a:pt x="228685" y="800629"/>
                </a:lnTo>
                <a:lnTo>
                  <a:pt x="331087" y="572998"/>
                </a:lnTo>
                <a:lnTo>
                  <a:pt x="312307" y="545743"/>
                </a:lnTo>
                <a:lnTo>
                  <a:pt x="173220" y="805893"/>
                </a:lnTo>
                <a:lnTo>
                  <a:pt x="46078" y="805017"/>
                </a:lnTo>
                <a:lnTo>
                  <a:pt x="44372" y="1105600"/>
                </a:lnTo>
                <a:lnTo>
                  <a:pt x="0" y="1178551"/>
                </a:lnTo>
                <a:lnTo>
                  <a:pt x="44372" y="1178551"/>
                </a:lnTo>
                <a:lnTo>
                  <a:pt x="46078" y="1268192"/>
                </a:lnTo>
                <a:lnTo>
                  <a:pt x="211620" y="1269071"/>
                </a:lnTo>
                <a:lnTo>
                  <a:pt x="454811" y="1300711"/>
                </a:lnTo>
                <a:lnTo>
                  <a:pt x="453960" y="1291043"/>
                </a:lnTo>
                <a:lnTo>
                  <a:pt x="449691" y="1282254"/>
                </a:lnTo>
                <a:lnTo>
                  <a:pt x="445421" y="1273466"/>
                </a:lnTo>
                <a:lnTo>
                  <a:pt x="444570" y="1264677"/>
                </a:lnTo>
                <a:lnTo>
                  <a:pt x="448839" y="1264677"/>
                </a:lnTo>
                <a:lnTo>
                  <a:pt x="460784" y="1265556"/>
                </a:lnTo>
                <a:lnTo>
                  <a:pt x="563186" y="1265556"/>
                </a:lnTo>
                <a:lnTo>
                  <a:pt x="600722" y="1266435"/>
                </a:lnTo>
                <a:lnTo>
                  <a:pt x="1008603" y="1266435"/>
                </a:lnTo>
                <a:lnTo>
                  <a:pt x="1066634" y="1265556"/>
                </a:lnTo>
                <a:lnTo>
                  <a:pt x="1488187" y="1265556"/>
                </a:lnTo>
                <a:lnTo>
                  <a:pt x="1529105" y="1264677"/>
                </a:lnTo>
                <a:lnTo>
                  <a:pt x="1679296" y="1264677"/>
                </a:lnTo>
                <a:lnTo>
                  <a:pt x="1677641" y="602879"/>
                </a:lnTo>
                <a:lnTo>
                  <a:pt x="1668180" y="594965"/>
                </a:lnTo>
                <a:lnTo>
                  <a:pt x="1659665" y="588813"/>
                </a:lnTo>
                <a:lnTo>
                  <a:pt x="1650322" y="584425"/>
                </a:lnTo>
                <a:lnTo>
                  <a:pt x="1641808" y="580900"/>
                </a:lnTo>
                <a:lnTo>
                  <a:pt x="1633175" y="579149"/>
                </a:lnTo>
                <a:lnTo>
                  <a:pt x="1624660" y="578262"/>
                </a:lnTo>
                <a:lnTo>
                  <a:pt x="1615317" y="577386"/>
                </a:lnTo>
                <a:lnTo>
                  <a:pt x="1605975" y="575636"/>
                </a:lnTo>
                <a:lnTo>
                  <a:pt x="1599115" y="575636"/>
                </a:lnTo>
                <a:lnTo>
                  <a:pt x="1592256" y="576511"/>
                </a:lnTo>
                <a:lnTo>
                  <a:pt x="1585397" y="577386"/>
                </a:lnTo>
                <a:lnTo>
                  <a:pt x="1578656" y="579149"/>
                </a:lnTo>
                <a:lnTo>
                  <a:pt x="1571797" y="580900"/>
                </a:lnTo>
                <a:lnTo>
                  <a:pt x="1565766" y="582662"/>
                </a:lnTo>
                <a:lnTo>
                  <a:pt x="1559853" y="584425"/>
                </a:lnTo>
                <a:lnTo>
                  <a:pt x="1553822" y="586175"/>
                </a:lnTo>
                <a:lnTo>
                  <a:pt x="1549564" y="570360"/>
                </a:lnTo>
                <a:lnTo>
                  <a:pt x="1544479" y="554532"/>
                </a:lnTo>
                <a:lnTo>
                  <a:pt x="1538566" y="538716"/>
                </a:lnTo>
                <a:lnTo>
                  <a:pt x="1531707" y="522901"/>
                </a:lnTo>
                <a:lnTo>
                  <a:pt x="1524020" y="507960"/>
                </a:lnTo>
                <a:lnTo>
                  <a:pt x="1514559" y="493020"/>
                </a:lnTo>
                <a:lnTo>
                  <a:pt x="1505216" y="478080"/>
                </a:lnTo>
                <a:lnTo>
                  <a:pt x="1494100" y="464014"/>
                </a:lnTo>
                <a:lnTo>
                  <a:pt x="1481328" y="449949"/>
                </a:lnTo>
                <a:lnTo>
                  <a:pt x="1466782" y="438522"/>
                </a:lnTo>
                <a:lnTo>
                  <a:pt x="1450580" y="429733"/>
                </a:lnTo>
                <a:lnTo>
                  <a:pt x="1433550" y="422707"/>
                </a:lnTo>
                <a:lnTo>
                  <a:pt x="1416521" y="417431"/>
                </a:lnTo>
                <a:lnTo>
                  <a:pt x="1397717" y="413917"/>
                </a:lnTo>
                <a:lnTo>
                  <a:pt x="1378914" y="410404"/>
                </a:lnTo>
                <a:lnTo>
                  <a:pt x="1360110" y="407766"/>
                </a:lnTo>
                <a:lnTo>
                  <a:pt x="1353369" y="397214"/>
                </a:lnTo>
                <a:lnTo>
                  <a:pt x="1344855" y="382274"/>
                </a:lnTo>
                <a:lnTo>
                  <a:pt x="1333738" y="362945"/>
                </a:lnTo>
                <a:lnTo>
                  <a:pt x="1321794" y="339215"/>
                </a:lnTo>
                <a:lnTo>
                  <a:pt x="1308075" y="313723"/>
                </a:lnTo>
                <a:lnTo>
                  <a:pt x="1293648" y="285593"/>
                </a:lnTo>
                <a:lnTo>
                  <a:pt x="1279102" y="257475"/>
                </a:lnTo>
                <a:lnTo>
                  <a:pt x="1264555" y="227594"/>
                </a:lnTo>
                <a:lnTo>
                  <a:pt x="1249182" y="198589"/>
                </a:lnTo>
                <a:lnTo>
                  <a:pt x="1235582" y="170471"/>
                </a:lnTo>
                <a:lnTo>
                  <a:pt x="1222809" y="144978"/>
                </a:lnTo>
                <a:lnTo>
                  <a:pt x="1210865" y="121249"/>
                </a:lnTo>
                <a:lnTo>
                  <a:pt x="1200576" y="101032"/>
                </a:lnTo>
                <a:lnTo>
                  <a:pt x="1192889" y="85217"/>
                </a:lnTo>
                <a:lnTo>
                  <a:pt x="1186953" y="74641"/>
                </a:lnTo>
                <a:lnTo>
                  <a:pt x="1184386" y="69413"/>
                </a:lnTo>
                <a:lnTo>
                  <a:pt x="1174145" y="62363"/>
                </a:lnTo>
                <a:lnTo>
                  <a:pt x="1163052" y="56163"/>
                </a:lnTo>
                <a:lnTo>
                  <a:pt x="1151108" y="52637"/>
                </a:lnTo>
                <a:lnTo>
                  <a:pt x="1140015" y="49233"/>
                </a:lnTo>
                <a:lnTo>
                  <a:pt x="1128071" y="47410"/>
                </a:lnTo>
                <a:lnTo>
                  <a:pt x="1104182" y="47410"/>
                </a:lnTo>
                <a:lnTo>
                  <a:pt x="1092226" y="49233"/>
                </a:lnTo>
                <a:lnTo>
                  <a:pt x="1079430" y="50935"/>
                </a:lnTo>
                <a:lnTo>
                  <a:pt x="1067486" y="53610"/>
                </a:lnTo>
                <a:lnTo>
                  <a:pt x="1055541" y="57135"/>
                </a:lnTo>
                <a:lnTo>
                  <a:pt x="1043597" y="60661"/>
                </a:lnTo>
                <a:lnTo>
                  <a:pt x="1031641" y="64064"/>
                </a:lnTo>
                <a:lnTo>
                  <a:pt x="1020548" y="67590"/>
                </a:lnTo>
                <a:lnTo>
                  <a:pt x="1009455" y="72088"/>
                </a:lnTo>
                <a:lnTo>
                  <a:pt x="998362" y="75492"/>
                </a:lnTo>
                <a:lnTo>
                  <a:pt x="982148" y="86092"/>
                </a:lnTo>
                <a:lnTo>
                  <a:pt x="966798" y="98394"/>
                </a:lnTo>
                <a:lnTo>
                  <a:pt x="952288" y="110697"/>
                </a:lnTo>
                <a:lnTo>
                  <a:pt x="938640" y="123887"/>
                </a:lnTo>
                <a:lnTo>
                  <a:pt x="925833" y="137952"/>
                </a:lnTo>
                <a:lnTo>
                  <a:pt x="914740" y="152005"/>
                </a:lnTo>
                <a:lnTo>
                  <a:pt x="904498" y="167833"/>
                </a:lnTo>
                <a:lnTo>
                  <a:pt x="895120" y="183648"/>
                </a:lnTo>
                <a:lnTo>
                  <a:pt x="886582" y="200351"/>
                </a:lnTo>
                <a:lnTo>
                  <a:pt x="880610" y="217042"/>
                </a:lnTo>
                <a:lnTo>
                  <a:pt x="875489" y="235508"/>
                </a:lnTo>
                <a:lnTo>
                  <a:pt x="871220" y="253074"/>
                </a:lnTo>
                <a:lnTo>
                  <a:pt x="869517" y="272415"/>
                </a:lnTo>
                <a:lnTo>
                  <a:pt x="868665" y="291756"/>
                </a:lnTo>
                <a:lnTo>
                  <a:pt x="869517" y="311085"/>
                </a:lnTo>
                <a:lnTo>
                  <a:pt x="872083" y="331302"/>
                </a:lnTo>
                <a:lnTo>
                  <a:pt x="871220" y="340966"/>
                </a:lnTo>
                <a:lnTo>
                  <a:pt x="873786" y="350630"/>
                </a:lnTo>
                <a:lnTo>
                  <a:pt x="877192" y="361182"/>
                </a:lnTo>
                <a:lnTo>
                  <a:pt x="880610" y="370847"/>
                </a:lnTo>
                <a:lnTo>
                  <a:pt x="882313" y="379636"/>
                </a:lnTo>
                <a:lnTo>
                  <a:pt x="882313" y="388425"/>
                </a:lnTo>
                <a:lnTo>
                  <a:pt x="878055" y="396339"/>
                </a:lnTo>
                <a:lnTo>
                  <a:pt x="869517" y="402490"/>
                </a:lnTo>
                <a:lnTo>
                  <a:pt x="863545" y="415668"/>
                </a:lnTo>
                <a:lnTo>
                  <a:pt x="863545" y="428858"/>
                </a:lnTo>
                <a:lnTo>
                  <a:pt x="867814" y="443798"/>
                </a:lnTo>
                <a:lnTo>
                  <a:pt x="876340" y="458739"/>
                </a:lnTo>
                <a:lnTo>
                  <a:pt x="878055" y="461376"/>
                </a:lnTo>
                <a:lnTo>
                  <a:pt x="879758" y="464890"/>
                </a:lnTo>
                <a:lnTo>
                  <a:pt x="882313" y="468403"/>
                </a:lnTo>
                <a:lnTo>
                  <a:pt x="885730" y="471041"/>
                </a:lnTo>
                <a:lnTo>
                  <a:pt x="889148" y="474554"/>
                </a:lnTo>
                <a:lnTo>
                  <a:pt x="893405" y="478080"/>
                </a:lnTo>
                <a:lnTo>
                  <a:pt x="898526" y="479830"/>
                </a:lnTo>
                <a:lnTo>
                  <a:pt x="904498" y="481593"/>
                </a:lnTo>
                <a:lnTo>
                  <a:pt x="910471" y="490382"/>
                </a:lnTo>
                <a:lnTo>
                  <a:pt x="915591" y="500046"/>
                </a:lnTo>
                <a:lnTo>
                  <a:pt x="920712" y="509711"/>
                </a:lnTo>
                <a:lnTo>
                  <a:pt x="925833" y="520263"/>
                </a:lnTo>
                <a:lnTo>
                  <a:pt x="931805" y="529927"/>
                </a:lnTo>
                <a:lnTo>
                  <a:pt x="938640" y="538716"/>
                </a:lnTo>
                <a:lnTo>
                  <a:pt x="946315" y="547506"/>
                </a:lnTo>
                <a:lnTo>
                  <a:pt x="956557" y="554532"/>
                </a:lnTo>
                <a:lnTo>
                  <a:pt x="935223" y="572110"/>
                </a:lnTo>
                <a:lnTo>
                  <a:pt x="915591" y="591451"/>
                </a:lnTo>
                <a:lnTo>
                  <a:pt x="897675" y="611668"/>
                </a:lnTo>
                <a:lnTo>
                  <a:pt x="880610" y="631884"/>
                </a:lnTo>
                <a:lnTo>
                  <a:pt x="865248" y="653851"/>
                </a:lnTo>
                <a:lnTo>
                  <a:pt x="849897" y="675818"/>
                </a:lnTo>
                <a:lnTo>
                  <a:pt x="836238" y="697797"/>
                </a:lnTo>
                <a:lnTo>
                  <a:pt x="821728" y="720651"/>
                </a:lnTo>
                <a:lnTo>
                  <a:pt x="808932" y="711862"/>
                </a:lnTo>
                <a:lnTo>
                  <a:pt x="796987" y="701310"/>
                </a:lnTo>
                <a:lnTo>
                  <a:pt x="785043" y="690770"/>
                </a:lnTo>
                <a:lnTo>
                  <a:pt x="773950" y="679343"/>
                </a:lnTo>
                <a:lnTo>
                  <a:pt x="761143" y="668791"/>
                </a:lnTo>
                <a:lnTo>
                  <a:pt x="749198" y="659127"/>
                </a:lnTo>
                <a:lnTo>
                  <a:pt x="735551" y="651213"/>
                </a:lnTo>
                <a:lnTo>
                  <a:pt x="721040" y="645937"/>
                </a:lnTo>
                <a:lnTo>
                  <a:pt x="712514" y="643299"/>
                </a:lnTo>
                <a:lnTo>
                  <a:pt x="703124" y="642424"/>
                </a:lnTo>
                <a:lnTo>
                  <a:pt x="686059" y="642424"/>
                </a:lnTo>
                <a:lnTo>
                  <a:pt x="676669" y="643299"/>
                </a:lnTo>
                <a:lnTo>
                  <a:pt x="668142" y="645062"/>
                </a:lnTo>
                <a:lnTo>
                  <a:pt x="660455" y="645937"/>
                </a:lnTo>
                <a:lnTo>
                  <a:pt x="652780" y="647700"/>
                </a:lnTo>
                <a:lnTo>
                  <a:pt x="649362" y="638911"/>
                </a:lnTo>
                <a:lnTo>
                  <a:pt x="645093" y="630121"/>
                </a:lnTo>
                <a:lnTo>
                  <a:pt x="640836" y="622207"/>
                </a:lnTo>
                <a:lnTo>
                  <a:pt x="637418" y="613418"/>
                </a:lnTo>
                <a:lnTo>
                  <a:pt x="632297" y="604629"/>
                </a:lnTo>
                <a:lnTo>
                  <a:pt x="628028" y="596727"/>
                </a:lnTo>
                <a:lnTo>
                  <a:pt x="623771" y="588813"/>
                </a:lnTo>
                <a:lnTo>
                  <a:pt x="618650" y="580900"/>
                </a:lnTo>
                <a:lnTo>
                  <a:pt x="498331" y="640673"/>
                </a:lnTo>
                <a:lnTo>
                  <a:pt x="500034" y="494770"/>
                </a:lnTo>
                <a:lnTo>
                  <a:pt x="715920" y="484231"/>
                </a:lnTo>
                <a:lnTo>
                  <a:pt x="589629" y="3525"/>
                </a:lnTo>
                <a:lnTo>
                  <a:pt x="585371" y="3525"/>
                </a:lnTo>
                <a:lnTo>
                  <a:pt x="578536" y="2552"/>
                </a:lnTo>
                <a:lnTo>
                  <a:pt x="568306" y="2552"/>
                </a:lnTo>
                <a:lnTo>
                  <a:pt x="556350" y="3525"/>
                </a:lnTo>
                <a:lnTo>
                  <a:pt x="527341" y="3525"/>
                </a:lnTo>
                <a:lnTo>
                  <a:pt x="511979" y="4376"/>
                </a:lnTo>
                <a:lnTo>
                  <a:pt x="495765" y="4376"/>
                </a:lnTo>
                <a:lnTo>
                  <a:pt x="479552" y="5227"/>
                </a:lnTo>
                <a:lnTo>
                  <a:pt x="464201" y="6078"/>
                </a:lnTo>
                <a:lnTo>
                  <a:pt x="449691" y="6078"/>
                </a:lnTo>
                <a:lnTo>
                  <a:pt x="437746" y="7050"/>
                </a:lnTo>
                <a:lnTo>
                  <a:pt x="426653" y="7050"/>
                </a:lnTo>
                <a:lnTo>
                  <a:pt x="418115" y="7901"/>
                </a:lnTo>
                <a:lnTo>
                  <a:pt x="411291" y="7901"/>
                </a:lnTo>
                <a:close/>
              </a:path>
            </a:pathLst>
          </a:custGeom>
          <a:solidFill>
            <a:srgbClr val="000000"/>
          </a:solidFill>
        </p:spPr>
        <p:txBody>
          <a:bodyPr wrap="square" lIns="0" tIns="0" rIns="0" bIns="0" rtlCol="0">
            <a:noAutofit/>
          </a:bodyPr>
          <a:lstStyle/>
          <a:p>
            <a:endParaRPr/>
          </a:p>
        </p:txBody>
      </p:sp>
      <p:sp>
        <p:nvSpPr>
          <p:cNvPr id="24" name="object 24"/>
          <p:cNvSpPr/>
          <p:nvPr/>
        </p:nvSpPr>
        <p:spPr>
          <a:xfrm>
            <a:off x="9585252" y="219625"/>
            <a:ext cx="297757" cy="210028"/>
          </a:xfrm>
          <a:custGeom>
            <a:avLst/>
            <a:gdLst/>
            <a:ahLst/>
            <a:cxnLst/>
            <a:rect l="l" t="t" r="r" b="b"/>
            <a:pathLst>
              <a:path w="297757" h="210028">
                <a:moveTo>
                  <a:pt x="180903" y="76428"/>
                </a:moveTo>
                <a:lnTo>
                  <a:pt x="179200" y="70276"/>
                </a:lnTo>
                <a:lnTo>
                  <a:pt x="178349" y="63250"/>
                </a:lnTo>
                <a:lnTo>
                  <a:pt x="179200" y="57099"/>
                </a:lnTo>
                <a:lnTo>
                  <a:pt x="182606" y="51823"/>
                </a:lnTo>
                <a:lnTo>
                  <a:pt x="186875" y="47434"/>
                </a:lnTo>
                <a:lnTo>
                  <a:pt x="191996" y="45672"/>
                </a:lnTo>
                <a:lnTo>
                  <a:pt x="197968" y="43909"/>
                </a:lnTo>
                <a:lnTo>
                  <a:pt x="209061" y="43909"/>
                </a:lnTo>
                <a:lnTo>
                  <a:pt x="215033" y="44796"/>
                </a:lnTo>
                <a:lnTo>
                  <a:pt x="220154" y="45672"/>
                </a:lnTo>
                <a:lnTo>
                  <a:pt x="228692" y="54461"/>
                </a:lnTo>
                <a:lnTo>
                  <a:pt x="233813" y="65888"/>
                </a:lnTo>
                <a:lnTo>
                  <a:pt x="236368" y="78190"/>
                </a:lnTo>
                <a:lnTo>
                  <a:pt x="236368" y="91368"/>
                </a:lnTo>
                <a:lnTo>
                  <a:pt x="244906" y="92255"/>
                </a:lnTo>
                <a:lnTo>
                  <a:pt x="252581" y="94893"/>
                </a:lnTo>
                <a:lnTo>
                  <a:pt x="259405" y="98407"/>
                </a:lnTo>
                <a:lnTo>
                  <a:pt x="266228" y="102795"/>
                </a:lnTo>
                <a:lnTo>
                  <a:pt x="272212" y="108071"/>
                </a:lnTo>
                <a:lnTo>
                  <a:pt x="278185" y="113347"/>
                </a:lnTo>
                <a:lnTo>
                  <a:pt x="284985" y="118623"/>
                </a:lnTo>
                <a:lnTo>
                  <a:pt x="291016" y="123887"/>
                </a:lnTo>
                <a:lnTo>
                  <a:pt x="297757" y="115098"/>
                </a:lnTo>
                <a:lnTo>
                  <a:pt x="297757" y="100157"/>
                </a:lnTo>
                <a:lnTo>
                  <a:pt x="291844" y="81704"/>
                </a:lnTo>
                <a:lnTo>
                  <a:pt x="282442" y="62375"/>
                </a:lnTo>
                <a:lnTo>
                  <a:pt x="272212" y="43034"/>
                </a:lnTo>
                <a:lnTo>
                  <a:pt x="261971" y="27218"/>
                </a:lnTo>
                <a:lnTo>
                  <a:pt x="254284" y="15791"/>
                </a:lnTo>
                <a:lnTo>
                  <a:pt x="251730" y="11427"/>
                </a:lnTo>
                <a:lnTo>
                  <a:pt x="244906" y="8752"/>
                </a:lnTo>
                <a:lnTo>
                  <a:pt x="238922" y="7050"/>
                </a:lnTo>
                <a:lnTo>
                  <a:pt x="232098" y="4376"/>
                </a:lnTo>
                <a:lnTo>
                  <a:pt x="226126" y="2552"/>
                </a:lnTo>
                <a:lnTo>
                  <a:pt x="219302" y="1701"/>
                </a:lnTo>
                <a:lnTo>
                  <a:pt x="213330" y="850"/>
                </a:lnTo>
                <a:lnTo>
                  <a:pt x="206507" y="0"/>
                </a:lnTo>
                <a:lnTo>
                  <a:pt x="200534" y="0"/>
                </a:lnTo>
                <a:lnTo>
                  <a:pt x="186875" y="1701"/>
                </a:lnTo>
                <a:lnTo>
                  <a:pt x="172365" y="4376"/>
                </a:lnTo>
                <a:lnTo>
                  <a:pt x="158717" y="7050"/>
                </a:lnTo>
                <a:lnTo>
                  <a:pt x="144207" y="11427"/>
                </a:lnTo>
                <a:lnTo>
                  <a:pt x="129708" y="16666"/>
                </a:lnTo>
                <a:lnTo>
                  <a:pt x="116049" y="22817"/>
                </a:lnTo>
                <a:lnTo>
                  <a:pt x="102402" y="29856"/>
                </a:lnTo>
                <a:lnTo>
                  <a:pt x="89594" y="36882"/>
                </a:lnTo>
                <a:lnTo>
                  <a:pt x="76798" y="45672"/>
                </a:lnTo>
                <a:lnTo>
                  <a:pt x="64002" y="55336"/>
                </a:lnTo>
                <a:lnTo>
                  <a:pt x="52909" y="65013"/>
                </a:lnTo>
                <a:lnTo>
                  <a:pt x="41817" y="76428"/>
                </a:lnTo>
                <a:lnTo>
                  <a:pt x="32427" y="87855"/>
                </a:lnTo>
                <a:lnTo>
                  <a:pt x="23037" y="100157"/>
                </a:lnTo>
                <a:lnTo>
                  <a:pt x="15362" y="114222"/>
                </a:lnTo>
                <a:lnTo>
                  <a:pt x="8538" y="128287"/>
                </a:lnTo>
                <a:lnTo>
                  <a:pt x="4269" y="137952"/>
                </a:lnTo>
                <a:lnTo>
                  <a:pt x="851" y="147616"/>
                </a:lnTo>
                <a:lnTo>
                  <a:pt x="0" y="157293"/>
                </a:lnTo>
                <a:lnTo>
                  <a:pt x="0" y="166957"/>
                </a:lnTo>
                <a:lnTo>
                  <a:pt x="2566" y="176622"/>
                </a:lnTo>
                <a:lnTo>
                  <a:pt x="7686" y="186298"/>
                </a:lnTo>
                <a:lnTo>
                  <a:pt x="14510" y="195088"/>
                </a:lnTo>
                <a:lnTo>
                  <a:pt x="23900" y="204752"/>
                </a:lnTo>
                <a:lnTo>
                  <a:pt x="33278" y="209141"/>
                </a:lnTo>
                <a:lnTo>
                  <a:pt x="36696" y="210028"/>
                </a:lnTo>
                <a:lnTo>
                  <a:pt x="45222" y="210028"/>
                </a:lnTo>
                <a:lnTo>
                  <a:pt x="48640" y="209141"/>
                </a:lnTo>
                <a:lnTo>
                  <a:pt x="52058" y="207390"/>
                </a:lnTo>
                <a:lnTo>
                  <a:pt x="59733" y="203877"/>
                </a:lnTo>
                <a:lnTo>
                  <a:pt x="65705" y="198601"/>
                </a:lnTo>
                <a:lnTo>
                  <a:pt x="71677" y="193325"/>
                </a:lnTo>
                <a:lnTo>
                  <a:pt x="75947" y="186298"/>
                </a:lnTo>
                <a:lnTo>
                  <a:pt x="79364" y="179260"/>
                </a:lnTo>
                <a:lnTo>
                  <a:pt x="82770" y="171358"/>
                </a:lnTo>
                <a:lnTo>
                  <a:pt x="84485" y="163444"/>
                </a:lnTo>
                <a:lnTo>
                  <a:pt x="86188" y="155530"/>
                </a:lnTo>
                <a:lnTo>
                  <a:pt x="84485" y="151142"/>
                </a:lnTo>
                <a:lnTo>
                  <a:pt x="81067" y="147616"/>
                </a:lnTo>
                <a:lnTo>
                  <a:pt x="76798" y="145866"/>
                </a:lnTo>
                <a:lnTo>
                  <a:pt x="71677" y="144990"/>
                </a:lnTo>
                <a:lnTo>
                  <a:pt x="67408" y="147616"/>
                </a:lnTo>
                <a:lnTo>
                  <a:pt x="64854" y="152017"/>
                </a:lnTo>
                <a:lnTo>
                  <a:pt x="63151" y="157293"/>
                </a:lnTo>
                <a:lnTo>
                  <a:pt x="62299" y="163444"/>
                </a:lnTo>
                <a:lnTo>
                  <a:pt x="59733" y="166082"/>
                </a:lnTo>
                <a:lnTo>
                  <a:pt x="57179" y="166957"/>
                </a:lnTo>
                <a:lnTo>
                  <a:pt x="51206" y="166957"/>
                </a:lnTo>
                <a:lnTo>
                  <a:pt x="46937" y="161681"/>
                </a:lnTo>
                <a:lnTo>
                  <a:pt x="46937" y="155530"/>
                </a:lnTo>
                <a:lnTo>
                  <a:pt x="48640" y="149379"/>
                </a:lnTo>
                <a:lnTo>
                  <a:pt x="49492" y="143228"/>
                </a:lnTo>
                <a:lnTo>
                  <a:pt x="52058" y="138839"/>
                </a:lnTo>
                <a:lnTo>
                  <a:pt x="55464" y="135314"/>
                </a:lnTo>
                <a:lnTo>
                  <a:pt x="58882" y="131801"/>
                </a:lnTo>
                <a:lnTo>
                  <a:pt x="64002" y="129163"/>
                </a:lnTo>
                <a:lnTo>
                  <a:pt x="68272" y="128287"/>
                </a:lnTo>
                <a:lnTo>
                  <a:pt x="73392" y="126525"/>
                </a:lnTo>
                <a:lnTo>
                  <a:pt x="82770" y="126525"/>
                </a:lnTo>
                <a:lnTo>
                  <a:pt x="91309" y="131801"/>
                </a:lnTo>
                <a:lnTo>
                  <a:pt x="96429" y="139715"/>
                </a:lnTo>
                <a:lnTo>
                  <a:pt x="98984" y="148504"/>
                </a:lnTo>
                <a:lnTo>
                  <a:pt x="99835" y="157293"/>
                </a:lnTo>
                <a:lnTo>
                  <a:pt x="101550" y="166082"/>
                </a:lnTo>
                <a:lnTo>
                  <a:pt x="104105" y="173984"/>
                </a:lnTo>
                <a:lnTo>
                  <a:pt x="109225" y="179260"/>
                </a:lnTo>
                <a:lnTo>
                  <a:pt x="117764" y="181898"/>
                </a:lnTo>
                <a:lnTo>
                  <a:pt x="124587" y="180135"/>
                </a:lnTo>
                <a:lnTo>
                  <a:pt x="130560" y="177509"/>
                </a:lnTo>
                <a:lnTo>
                  <a:pt x="135680" y="173984"/>
                </a:lnTo>
                <a:lnTo>
                  <a:pt x="140801" y="169595"/>
                </a:lnTo>
                <a:lnTo>
                  <a:pt x="145922" y="164319"/>
                </a:lnTo>
                <a:lnTo>
                  <a:pt x="150179" y="158168"/>
                </a:lnTo>
                <a:lnTo>
                  <a:pt x="153597" y="152892"/>
                </a:lnTo>
                <a:lnTo>
                  <a:pt x="157866" y="146741"/>
                </a:lnTo>
                <a:lnTo>
                  <a:pt x="161272" y="136201"/>
                </a:lnTo>
                <a:lnTo>
                  <a:pt x="162135" y="125649"/>
                </a:lnTo>
                <a:lnTo>
                  <a:pt x="160420" y="115098"/>
                </a:lnTo>
                <a:lnTo>
                  <a:pt x="154448" y="105433"/>
                </a:lnTo>
                <a:lnTo>
                  <a:pt x="145058" y="109834"/>
                </a:lnTo>
                <a:lnTo>
                  <a:pt x="143355" y="119498"/>
                </a:lnTo>
                <a:lnTo>
                  <a:pt x="142504" y="129163"/>
                </a:lnTo>
                <a:lnTo>
                  <a:pt x="133114" y="132676"/>
                </a:lnTo>
                <a:lnTo>
                  <a:pt x="129708" y="126525"/>
                </a:lnTo>
                <a:lnTo>
                  <a:pt x="126290" y="120374"/>
                </a:lnTo>
                <a:lnTo>
                  <a:pt x="124587" y="113347"/>
                </a:lnTo>
                <a:lnTo>
                  <a:pt x="127993" y="107196"/>
                </a:lnTo>
                <a:lnTo>
                  <a:pt x="130560" y="102795"/>
                </a:lnTo>
                <a:lnTo>
                  <a:pt x="133114" y="99282"/>
                </a:lnTo>
                <a:lnTo>
                  <a:pt x="136532" y="95769"/>
                </a:lnTo>
                <a:lnTo>
                  <a:pt x="140801" y="93131"/>
                </a:lnTo>
                <a:lnTo>
                  <a:pt x="145058" y="91368"/>
                </a:lnTo>
                <a:lnTo>
                  <a:pt x="150179" y="90493"/>
                </a:lnTo>
                <a:lnTo>
                  <a:pt x="154448" y="89617"/>
                </a:lnTo>
                <a:lnTo>
                  <a:pt x="159569" y="90493"/>
                </a:lnTo>
                <a:lnTo>
                  <a:pt x="166393" y="97531"/>
                </a:lnTo>
                <a:lnTo>
                  <a:pt x="172365" y="104558"/>
                </a:lnTo>
                <a:lnTo>
                  <a:pt x="178349" y="113347"/>
                </a:lnTo>
                <a:lnTo>
                  <a:pt x="183458" y="121261"/>
                </a:lnTo>
                <a:lnTo>
                  <a:pt x="187727" y="119498"/>
                </a:lnTo>
                <a:lnTo>
                  <a:pt x="192848" y="117736"/>
                </a:lnTo>
                <a:lnTo>
                  <a:pt x="197968" y="115098"/>
                </a:lnTo>
                <a:lnTo>
                  <a:pt x="202237" y="112472"/>
                </a:lnTo>
                <a:lnTo>
                  <a:pt x="206507" y="108946"/>
                </a:lnTo>
                <a:lnTo>
                  <a:pt x="210764" y="105433"/>
                </a:lnTo>
                <a:lnTo>
                  <a:pt x="213330" y="101045"/>
                </a:lnTo>
                <a:lnTo>
                  <a:pt x="215885" y="95769"/>
                </a:lnTo>
                <a:lnTo>
                  <a:pt x="218451" y="87855"/>
                </a:lnTo>
                <a:lnTo>
                  <a:pt x="218451" y="79066"/>
                </a:lnTo>
                <a:lnTo>
                  <a:pt x="216736" y="71164"/>
                </a:lnTo>
                <a:lnTo>
                  <a:pt x="212479" y="64125"/>
                </a:lnTo>
                <a:lnTo>
                  <a:pt x="206507" y="60612"/>
                </a:lnTo>
                <a:lnTo>
                  <a:pt x="202237" y="61487"/>
                </a:lnTo>
                <a:lnTo>
                  <a:pt x="199671" y="64125"/>
                </a:lnTo>
                <a:lnTo>
                  <a:pt x="197117" y="67638"/>
                </a:lnTo>
                <a:lnTo>
                  <a:pt x="195414" y="72914"/>
                </a:lnTo>
                <a:lnTo>
                  <a:pt x="192848" y="77315"/>
                </a:lnTo>
                <a:lnTo>
                  <a:pt x="190293" y="80828"/>
                </a:lnTo>
                <a:lnTo>
                  <a:pt x="185172" y="81704"/>
                </a:lnTo>
                <a:lnTo>
                  <a:pt x="180903" y="76428"/>
                </a:lnTo>
                <a:close/>
              </a:path>
            </a:pathLst>
          </a:custGeom>
          <a:solidFill>
            <a:srgbClr val="BEBEBE"/>
          </a:solidFill>
        </p:spPr>
        <p:txBody>
          <a:bodyPr wrap="square" lIns="0" tIns="0" rIns="0" bIns="0" rtlCol="0">
            <a:noAutofit/>
          </a:bodyPr>
          <a:lstStyle/>
          <a:p>
            <a:endParaRPr/>
          </a:p>
        </p:txBody>
      </p:sp>
      <p:sp>
        <p:nvSpPr>
          <p:cNvPr id="25" name="object 25"/>
          <p:cNvSpPr/>
          <p:nvPr/>
        </p:nvSpPr>
        <p:spPr>
          <a:xfrm>
            <a:off x="8865067" y="181819"/>
            <a:ext cx="488937" cy="424481"/>
          </a:xfrm>
          <a:custGeom>
            <a:avLst/>
            <a:gdLst/>
            <a:ahLst/>
            <a:cxnLst/>
            <a:rect l="l" t="t" r="r" b="b"/>
            <a:pathLst>
              <a:path w="488937" h="424481">
                <a:moveTo>
                  <a:pt x="89594" y="120386"/>
                </a:moveTo>
                <a:lnTo>
                  <a:pt x="69111" y="192462"/>
                </a:lnTo>
                <a:lnTo>
                  <a:pt x="46925" y="265413"/>
                </a:lnTo>
                <a:lnTo>
                  <a:pt x="26454" y="331326"/>
                </a:lnTo>
                <a:lnTo>
                  <a:pt x="10241" y="381423"/>
                </a:lnTo>
                <a:lnTo>
                  <a:pt x="0" y="408666"/>
                </a:lnTo>
                <a:lnTo>
                  <a:pt x="2554" y="413942"/>
                </a:lnTo>
                <a:lnTo>
                  <a:pt x="16213" y="418330"/>
                </a:lnTo>
                <a:lnTo>
                  <a:pt x="39250" y="420968"/>
                </a:lnTo>
                <a:lnTo>
                  <a:pt x="69974" y="422731"/>
                </a:lnTo>
                <a:lnTo>
                  <a:pt x="106659" y="424481"/>
                </a:lnTo>
                <a:lnTo>
                  <a:pt x="192848" y="424481"/>
                </a:lnTo>
                <a:lnTo>
                  <a:pt x="238922" y="423606"/>
                </a:lnTo>
                <a:lnTo>
                  <a:pt x="284996" y="422731"/>
                </a:lnTo>
                <a:lnTo>
                  <a:pt x="330231" y="420968"/>
                </a:lnTo>
                <a:lnTo>
                  <a:pt x="372036" y="420093"/>
                </a:lnTo>
                <a:lnTo>
                  <a:pt x="410436" y="418330"/>
                </a:lnTo>
                <a:lnTo>
                  <a:pt x="442863" y="416580"/>
                </a:lnTo>
                <a:lnTo>
                  <a:pt x="467615" y="415692"/>
                </a:lnTo>
                <a:lnTo>
                  <a:pt x="482965" y="414817"/>
                </a:lnTo>
                <a:lnTo>
                  <a:pt x="488937" y="414817"/>
                </a:lnTo>
                <a:lnTo>
                  <a:pt x="381426" y="0"/>
                </a:lnTo>
                <a:lnTo>
                  <a:pt x="376306" y="0"/>
                </a:lnTo>
                <a:lnTo>
                  <a:pt x="371185" y="850"/>
                </a:lnTo>
                <a:lnTo>
                  <a:pt x="366916" y="850"/>
                </a:lnTo>
                <a:lnTo>
                  <a:pt x="361795" y="1701"/>
                </a:lnTo>
                <a:lnTo>
                  <a:pt x="357538" y="1701"/>
                </a:lnTo>
                <a:lnTo>
                  <a:pt x="352417" y="2674"/>
                </a:lnTo>
                <a:lnTo>
                  <a:pt x="343027" y="2674"/>
                </a:lnTo>
                <a:lnTo>
                  <a:pt x="199671" y="3525"/>
                </a:lnTo>
                <a:lnTo>
                  <a:pt x="125439" y="0"/>
                </a:lnTo>
                <a:lnTo>
                  <a:pt x="120318" y="15803"/>
                </a:lnTo>
                <a:lnTo>
                  <a:pt x="108362" y="58874"/>
                </a:lnTo>
                <a:lnTo>
                  <a:pt x="89594" y="120386"/>
                </a:lnTo>
                <a:close/>
              </a:path>
            </a:pathLst>
          </a:custGeom>
          <a:solidFill>
            <a:srgbClr val="FFB10E"/>
          </a:solidFill>
        </p:spPr>
        <p:txBody>
          <a:bodyPr wrap="square" lIns="0" tIns="0" rIns="0" bIns="0" rtlCol="0">
            <a:noAutofit/>
          </a:bodyPr>
          <a:lstStyle/>
          <a:p>
            <a:endParaRPr/>
          </a:p>
        </p:txBody>
      </p:sp>
      <p:sp>
        <p:nvSpPr>
          <p:cNvPr id="26" name="object 26"/>
          <p:cNvSpPr/>
          <p:nvPr/>
        </p:nvSpPr>
        <p:spPr>
          <a:xfrm>
            <a:off x="9573308" y="340000"/>
            <a:ext cx="430091" cy="382323"/>
          </a:xfrm>
          <a:custGeom>
            <a:avLst/>
            <a:gdLst/>
            <a:ahLst/>
            <a:cxnLst/>
            <a:rect l="l" t="t" r="r" b="b"/>
            <a:pathLst>
              <a:path w="430091" h="382323">
                <a:moveTo>
                  <a:pt x="41817" y="275977"/>
                </a:moveTo>
                <a:lnTo>
                  <a:pt x="37547" y="283004"/>
                </a:lnTo>
                <a:lnTo>
                  <a:pt x="42668" y="295306"/>
                </a:lnTo>
                <a:lnTo>
                  <a:pt x="47789" y="305858"/>
                </a:lnTo>
                <a:lnTo>
                  <a:pt x="53761" y="316398"/>
                </a:lnTo>
                <a:lnTo>
                  <a:pt x="60585" y="326074"/>
                </a:lnTo>
                <a:lnTo>
                  <a:pt x="68260" y="334863"/>
                </a:lnTo>
                <a:lnTo>
                  <a:pt x="75947" y="342765"/>
                </a:lnTo>
                <a:lnTo>
                  <a:pt x="85337" y="350679"/>
                </a:lnTo>
                <a:lnTo>
                  <a:pt x="94715" y="356830"/>
                </a:lnTo>
                <a:lnTo>
                  <a:pt x="104956" y="362981"/>
                </a:lnTo>
                <a:lnTo>
                  <a:pt x="115197" y="368257"/>
                </a:lnTo>
                <a:lnTo>
                  <a:pt x="127142" y="371771"/>
                </a:lnTo>
                <a:lnTo>
                  <a:pt x="139086" y="375284"/>
                </a:lnTo>
                <a:lnTo>
                  <a:pt x="151894" y="378797"/>
                </a:lnTo>
                <a:lnTo>
                  <a:pt x="165541" y="380560"/>
                </a:lnTo>
                <a:lnTo>
                  <a:pt x="180052" y="381435"/>
                </a:lnTo>
                <a:lnTo>
                  <a:pt x="195402" y="382323"/>
                </a:lnTo>
                <a:lnTo>
                  <a:pt x="208210" y="369133"/>
                </a:lnTo>
                <a:lnTo>
                  <a:pt x="221005" y="355955"/>
                </a:lnTo>
                <a:lnTo>
                  <a:pt x="233801" y="343653"/>
                </a:lnTo>
                <a:lnTo>
                  <a:pt x="247460" y="330463"/>
                </a:lnTo>
                <a:lnTo>
                  <a:pt x="261108" y="318160"/>
                </a:lnTo>
                <a:lnTo>
                  <a:pt x="275618" y="306733"/>
                </a:lnTo>
                <a:lnTo>
                  <a:pt x="290129" y="295306"/>
                </a:lnTo>
                <a:lnTo>
                  <a:pt x="304616" y="283879"/>
                </a:lnTo>
                <a:lnTo>
                  <a:pt x="319162" y="273339"/>
                </a:lnTo>
                <a:lnTo>
                  <a:pt x="334536" y="262787"/>
                </a:lnTo>
                <a:lnTo>
                  <a:pt x="349910" y="253123"/>
                </a:lnTo>
                <a:lnTo>
                  <a:pt x="365165" y="244334"/>
                </a:lnTo>
                <a:lnTo>
                  <a:pt x="381485" y="236420"/>
                </a:lnTo>
                <a:lnTo>
                  <a:pt x="397687" y="228518"/>
                </a:lnTo>
                <a:lnTo>
                  <a:pt x="413889" y="222355"/>
                </a:lnTo>
                <a:lnTo>
                  <a:pt x="430091" y="216203"/>
                </a:lnTo>
                <a:lnTo>
                  <a:pt x="325075" y="8789"/>
                </a:lnTo>
                <a:lnTo>
                  <a:pt x="320818" y="12302"/>
                </a:lnTo>
                <a:lnTo>
                  <a:pt x="316560" y="15827"/>
                </a:lnTo>
                <a:lnTo>
                  <a:pt x="313131" y="19341"/>
                </a:lnTo>
                <a:lnTo>
                  <a:pt x="310647" y="23729"/>
                </a:lnTo>
                <a:lnTo>
                  <a:pt x="306390" y="23729"/>
                </a:lnTo>
                <a:lnTo>
                  <a:pt x="302014" y="22854"/>
                </a:lnTo>
                <a:lnTo>
                  <a:pt x="297757" y="21979"/>
                </a:lnTo>
                <a:lnTo>
                  <a:pt x="293535" y="20216"/>
                </a:lnTo>
                <a:lnTo>
                  <a:pt x="289266" y="18465"/>
                </a:lnTo>
                <a:lnTo>
                  <a:pt x="285008" y="15827"/>
                </a:lnTo>
                <a:lnTo>
                  <a:pt x="281590" y="13189"/>
                </a:lnTo>
                <a:lnTo>
                  <a:pt x="277321" y="11427"/>
                </a:lnTo>
                <a:lnTo>
                  <a:pt x="263674" y="1762"/>
                </a:lnTo>
                <a:lnTo>
                  <a:pt x="251730" y="0"/>
                </a:lnTo>
                <a:lnTo>
                  <a:pt x="242340" y="3513"/>
                </a:lnTo>
                <a:lnTo>
                  <a:pt x="233801" y="11427"/>
                </a:lnTo>
                <a:lnTo>
                  <a:pt x="225275" y="21091"/>
                </a:lnTo>
                <a:lnTo>
                  <a:pt x="216736" y="29005"/>
                </a:lnTo>
                <a:lnTo>
                  <a:pt x="205643" y="34281"/>
                </a:lnTo>
                <a:lnTo>
                  <a:pt x="191996" y="34281"/>
                </a:lnTo>
                <a:lnTo>
                  <a:pt x="188578" y="39557"/>
                </a:lnTo>
                <a:lnTo>
                  <a:pt x="185172" y="45708"/>
                </a:lnTo>
                <a:lnTo>
                  <a:pt x="180903" y="51859"/>
                </a:lnTo>
                <a:lnTo>
                  <a:pt x="177485" y="57135"/>
                </a:lnTo>
                <a:lnTo>
                  <a:pt x="173216" y="63286"/>
                </a:lnTo>
                <a:lnTo>
                  <a:pt x="168107" y="68550"/>
                </a:lnTo>
                <a:lnTo>
                  <a:pt x="162123" y="73826"/>
                </a:lnTo>
                <a:lnTo>
                  <a:pt x="156151" y="78227"/>
                </a:lnTo>
                <a:lnTo>
                  <a:pt x="150179" y="80865"/>
                </a:lnTo>
                <a:lnTo>
                  <a:pt x="145058" y="82615"/>
                </a:lnTo>
                <a:lnTo>
                  <a:pt x="139086" y="84378"/>
                </a:lnTo>
                <a:lnTo>
                  <a:pt x="132262" y="86129"/>
                </a:lnTo>
                <a:lnTo>
                  <a:pt x="120318" y="86129"/>
                </a:lnTo>
                <a:lnTo>
                  <a:pt x="113494" y="85253"/>
                </a:lnTo>
                <a:lnTo>
                  <a:pt x="107522" y="83503"/>
                </a:lnTo>
                <a:lnTo>
                  <a:pt x="103253" y="87891"/>
                </a:lnTo>
                <a:lnTo>
                  <a:pt x="98984" y="92280"/>
                </a:lnTo>
                <a:lnTo>
                  <a:pt x="93863" y="96680"/>
                </a:lnTo>
                <a:lnTo>
                  <a:pt x="89594" y="100194"/>
                </a:lnTo>
                <a:lnTo>
                  <a:pt x="84473" y="104594"/>
                </a:lnTo>
                <a:lnTo>
                  <a:pt x="79353" y="108108"/>
                </a:lnTo>
                <a:lnTo>
                  <a:pt x="74244" y="110746"/>
                </a:lnTo>
                <a:lnTo>
                  <a:pt x="68260" y="112496"/>
                </a:lnTo>
                <a:lnTo>
                  <a:pt x="58882" y="116021"/>
                </a:lnTo>
                <a:lnTo>
                  <a:pt x="49492" y="116897"/>
                </a:lnTo>
                <a:lnTo>
                  <a:pt x="40953" y="115134"/>
                </a:lnTo>
                <a:lnTo>
                  <a:pt x="32427" y="111621"/>
                </a:lnTo>
                <a:lnTo>
                  <a:pt x="23888" y="106345"/>
                </a:lnTo>
                <a:lnTo>
                  <a:pt x="16213" y="100194"/>
                </a:lnTo>
                <a:lnTo>
                  <a:pt x="8538" y="94042"/>
                </a:lnTo>
                <a:lnTo>
                  <a:pt x="1702" y="87016"/>
                </a:lnTo>
                <a:lnTo>
                  <a:pt x="0" y="113384"/>
                </a:lnTo>
                <a:lnTo>
                  <a:pt x="1702" y="138864"/>
                </a:lnTo>
                <a:lnTo>
                  <a:pt x="6823" y="164356"/>
                </a:lnTo>
                <a:lnTo>
                  <a:pt x="15362" y="188085"/>
                </a:lnTo>
                <a:lnTo>
                  <a:pt x="23888" y="184572"/>
                </a:lnTo>
                <a:lnTo>
                  <a:pt x="33278" y="181934"/>
                </a:lnTo>
                <a:lnTo>
                  <a:pt x="41817" y="178421"/>
                </a:lnTo>
                <a:lnTo>
                  <a:pt x="50343" y="175783"/>
                </a:lnTo>
                <a:lnTo>
                  <a:pt x="58882" y="173145"/>
                </a:lnTo>
                <a:lnTo>
                  <a:pt x="68260" y="170507"/>
                </a:lnTo>
                <a:lnTo>
                  <a:pt x="76798" y="168744"/>
                </a:lnTo>
                <a:lnTo>
                  <a:pt x="85337" y="166106"/>
                </a:lnTo>
                <a:lnTo>
                  <a:pt x="94715" y="164356"/>
                </a:lnTo>
                <a:lnTo>
                  <a:pt x="103253" y="162593"/>
                </a:lnTo>
                <a:lnTo>
                  <a:pt x="112631" y="160843"/>
                </a:lnTo>
                <a:lnTo>
                  <a:pt x="122021" y="159955"/>
                </a:lnTo>
                <a:lnTo>
                  <a:pt x="130560" y="158205"/>
                </a:lnTo>
                <a:lnTo>
                  <a:pt x="139938" y="157317"/>
                </a:lnTo>
                <a:lnTo>
                  <a:pt x="150179" y="156442"/>
                </a:lnTo>
                <a:lnTo>
                  <a:pt x="159569" y="155567"/>
                </a:lnTo>
                <a:lnTo>
                  <a:pt x="163838" y="150291"/>
                </a:lnTo>
                <a:lnTo>
                  <a:pt x="172365" y="138864"/>
                </a:lnTo>
                <a:lnTo>
                  <a:pt x="183458" y="123923"/>
                </a:lnTo>
                <a:lnTo>
                  <a:pt x="197117" y="106345"/>
                </a:lnTo>
                <a:lnTo>
                  <a:pt x="211616" y="87891"/>
                </a:lnTo>
                <a:lnTo>
                  <a:pt x="226126" y="70313"/>
                </a:lnTo>
                <a:lnTo>
                  <a:pt x="239773" y="53610"/>
                </a:lnTo>
                <a:lnTo>
                  <a:pt x="250866" y="41307"/>
                </a:lnTo>
                <a:lnTo>
                  <a:pt x="255136" y="36031"/>
                </a:lnTo>
                <a:lnTo>
                  <a:pt x="261108" y="32518"/>
                </a:lnTo>
                <a:lnTo>
                  <a:pt x="267080" y="29005"/>
                </a:lnTo>
                <a:lnTo>
                  <a:pt x="273064" y="27242"/>
                </a:lnTo>
                <a:lnTo>
                  <a:pt x="279888" y="26367"/>
                </a:lnTo>
                <a:lnTo>
                  <a:pt x="286711" y="26367"/>
                </a:lnTo>
                <a:lnTo>
                  <a:pt x="293535" y="27242"/>
                </a:lnTo>
                <a:lnTo>
                  <a:pt x="300358" y="29880"/>
                </a:lnTo>
                <a:lnTo>
                  <a:pt x="309701" y="36919"/>
                </a:lnTo>
                <a:lnTo>
                  <a:pt x="317388" y="45708"/>
                </a:lnTo>
                <a:lnTo>
                  <a:pt x="323419" y="54497"/>
                </a:lnTo>
                <a:lnTo>
                  <a:pt x="328505" y="65037"/>
                </a:lnTo>
                <a:lnTo>
                  <a:pt x="331934" y="76464"/>
                </a:lnTo>
                <a:lnTo>
                  <a:pt x="333590" y="87891"/>
                </a:lnTo>
                <a:lnTo>
                  <a:pt x="333590" y="99318"/>
                </a:lnTo>
                <a:lnTo>
                  <a:pt x="332762" y="110746"/>
                </a:lnTo>
                <a:lnTo>
                  <a:pt x="330278" y="114259"/>
                </a:lnTo>
                <a:lnTo>
                  <a:pt x="327677" y="118647"/>
                </a:lnTo>
                <a:lnTo>
                  <a:pt x="325075" y="123923"/>
                </a:lnTo>
                <a:lnTo>
                  <a:pt x="322592" y="128324"/>
                </a:lnTo>
                <a:lnTo>
                  <a:pt x="319162" y="131837"/>
                </a:lnTo>
                <a:lnTo>
                  <a:pt x="314905" y="134475"/>
                </a:lnTo>
                <a:lnTo>
                  <a:pt x="310647" y="136226"/>
                </a:lnTo>
                <a:lnTo>
                  <a:pt x="304616" y="135350"/>
                </a:lnTo>
                <a:lnTo>
                  <a:pt x="301186" y="130074"/>
                </a:lnTo>
                <a:lnTo>
                  <a:pt x="302960" y="125686"/>
                </a:lnTo>
                <a:lnTo>
                  <a:pt x="307218" y="121285"/>
                </a:lnTo>
                <a:lnTo>
                  <a:pt x="310647" y="116897"/>
                </a:lnTo>
                <a:lnTo>
                  <a:pt x="313131" y="107232"/>
                </a:lnTo>
                <a:lnTo>
                  <a:pt x="313131" y="97556"/>
                </a:lnTo>
                <a:lnTo>
                  <a:pt x="310647" y="87891"/>
                </a:lnTo>
                <a:lnTo>
                  <a:pt x="307218" y="79102"/>
                </a:lnTo>
                <a:lnTo>
                  <a:pt x="304616" y="73826"/>
                </a:lnTo>
                <a:lnTo>
                  <a:pt x="301186" y="67675"/>
                </a:lnTo>
                <a:lnTo>
                  <a:pt x="297757" y="62399"/>
                </a:lnTo>
                <a:lnTo>
                  <a:pt x="293535" y="58010"/>
                </a:lnTo>
                <a:lnTo>
                  <a:pt x="288414" y="54497"/>
                </a:lnTo>
                <a:lnTo>
                  <a:pt x="283293" y="51859"/>
                </a:lnTo>
                <a:lnTo>
                  <a:pt x="277321" y="50984"/>
                </a:lnTo>
                <a:lnTo>
                  <a:pt x="270498" y="52735"/>
                </a:lnTo>
                <a:lnTo>
                  <a:pt x="264525" y="58010"/>
                </a:lnTo>
                <a:lnTo>
                  <a:pt x="261108" y="64162"/>
                </a:lnTo>
                <a:lnTo>
                  <a:pt x="259405" y="72951"/>
                </a:lnTo>
                <a:lnTo>
                  <a:pt x="259405" y="83503"/>
                </a:lnTo>
                <a:lnTo>
                  <a:pt x="255136" y="87016"/>
                </a:lnTo>
                <a:lnTo>
                  <a:pt x="250015" y="85253"/>
                </a:lnTo>
                <a:lnTo>
                  <a:pt x="246609" y="81740"/>
                </a:lnTo>
                <a:lnTo>
                  <a:pt x="244894" y="79102"/>
                </a:lnTo>
                <a:lnTo>
                  <a:pt x="237219" y="89654"/>
                </a:lnTo>
                <a:lnTo>
                  <a:pt x="228681" y="100194"/>
                </a:lnTo>
                <a:lnTo>
                  <a:pt x="220154" y="110746"/>
                </a:lnTo>
                <a:lnTo>
                  <a:pt x="211616" y="121285"/>
                </a:lnTo>
                <a:lnTo>
                  <a:pt x="202237" y="131837"/>
                </a:lnTo>
                <a:lnTo>
                  <a:pt x="193699" y="142377"/>
                </a:lnTo>
                <a:lnTo>
                  <a:pt x="185172" y="152929"/>
                </a:lnTo>
                <a:lnTo>
                  <a:pt x="177485" y="163481"/>
                </a:lnTo>
                <a:lnTo>
                  <a:pt x="184309" y="193361"/>
                </a:lnTo>
                <a:lnTo>
                  <a:pt x="183458" y="201263"/>
                </a:lnTo>
                <a:lnTo>
                  <a:pt x="180903" y="209177"/>
                </a:lnTo>
                <a:lnTo>
                  <a:pt x="178337" y="216203"/>
                </a:lnTo>
                <a:lnTo>
                  <a:pt x="174931" y="223242"/>
                </a:lnTo>
                <a:lnTo>
                  <a:pt x="170662" y="229393"/>
                </a:lnTo>
                <a:lnTo>
                  <a:pt x="165541" y="236420"/>
                </a:lnTo>
                <a:lnTo>
                  <a:pt x="160420" y="242571"/>
                </a:lnTo>
                <a:lnTo>
                  <a:pt x="155300" y="248722"/>
                </a:lnTo>
                <a:lnTo>
                  <a:pt x="126290" y="261912"/>
                </a:lnTo>
                <a:lnTo>
                  <a:pt x="120318" y="262787"/>
                </a:lnTo>
                <a:lnTo>
                  <a:pt x="114346" y="262787"/>
                </a:lnTo>
                <a:lnTo>
                  <a:pt x="108374" y="261912"/>
                </a:lnTo>
                <a:lnTo>
                  <a:pt x="102402" y="260149"/>
                </a:lnTo>
                <a:lnTo>
                  <a:pt x="96429" y="257511"/>
                </a:lnTo>
                <a:lnTo>
                  <a:pt x="91309" y="254873"/>
                </a:lnTo>
                <a:lnTo>
                  <a:pt x="87040" y="250485"/>
                </a:lnTo>
                <a:lnTo>
                  <a:pt x="82770" y="246096"/>
                </a:lnTo>
                <a:lnTo>
                  <a:pt x="87040" y="304971"/>
                </a:lnTo>
                <a:lnTo>
                  <a:pt x="91309" y="302345"/>
                </a:lnTo>
                <a:lnTo>
                  <a:pt x="94715" y="299707"/>
                </a:lnTo>
                <a:lnTo>
                  <a:pt x="98984" y="296181"/>
                </a:lnTo>
                <a:lnTo>
                  <a:pt x="103253" y="292668"/>
                </a:lnTo>
                <a:lnTo>
                  <a:pt x="106659" y="290030"/>
                </a:lnTo>
                <a:lnTo>
                  <a:pt x="110928" y="288280"/>
                </a:lnTo>
                <a:lnTo>
                  <a:pt x="115197" y="289155"/>
                </a:lnTo>
                <a:lnTo>
                  <a:pt x="119467" y="291793"/>
                </a:lnTo>
                <a:lnTo>
                  <a:pt x="116049" y="297944"/>
                </a:lnTo>
                <a:lnTo>
                  <a:pt x="111780" y="303220"/>
                </a:lnTo>
                <a:lnTo>
                  <a:pt x="106659" y="308496"/>
                </a:lnTo>
                <a:lnTo>
                  <a:pt x="100687" y="312884"/>
                </a:lnTo>
                <a:lnTo>
                  <a:pt x="94715" y="317285"/>
                </a:lnTo>
                <a:lnTo>
                  <a:pt x="88742" y="321674"/>
                </a:lnTo>
                <a:lnTo>
                  <a:pt x="82770" y="325187"/>
                </a:lnTo>
                <a:lnTo>
                  <a:pt x="76798" y="329587"/>
                </a:lnTo>
                <a:lnTo>
                  <a:pt x="65705" y="315522"/>
                </a:lnTo>
                <a:lnTo>
                  <a:pt x="62288" y="296181"/>
                </a:lnTo>
                <a:lnTo>
                  <a:pt x="62288" y="274214"/>
                </a:lnTo>
                <a:lnTo>
                  <a:pt x="60585" y="253998"/>
                </a:lnTo>
                <a:lnTo>
                  <a:pt x="56315" y="262787"/>
                </a:lnTo>
                <a:lnTo>
                  <a:pt x="49492" y="269826"/>
                </a:lnTo>
                <a:lnTo>
                  <a:pt x="41817" y="275977"/>
                </a:lnTo>
                <a:close/>
              </a:path>
            </a:pathLst>
          </a:custGeom>
          <a:solidFill>
            <a:srgbClr val="F1CCB1"/>
          </a:solidFill>
        </p:spPr>
        <p:txBody>
          <a:bodyPr wrap="square" lIns="0" tIns="0" rIns="0" bIns="0" rtlCol="0">
            <a:noAutofit/>
          </a:bodyPr>
          <a:lstStyle/>
          <a:p>
            <a:endParaRPr/>
          </a:p>
        </p:txBody>
      </p:sp>
      <p:sp>
        <p:nvSpPr>
          <p:cNvPr id="27" name="object 27"/>
          <p:cNvSpPr/>
          <p:nvPr/>
        </p:nvSpPr>
        <p:spPr>
          <a:xfrm>
            <a:off x="9653523" y="520172"/>
            <a:ext cx="81056" cy="57135"/>
          </a:xfrm>
          <a:custGeom>
            <a:avLst/>
            <a:gdLst/>
            <a:ahLst/>
            <a:cxnLst/>
            <a:rect l="l" t="t" r="r" b="b"/>
            <a:pathLst>
              <a:path w="81056" h="57135">
                <a:moveTo>
                  <a:pt x="76786" y="887"/>
                </a:moveTo>
                <a:lnTo>
                  <a:pt x="67408" y="0"/>
                </a:lnTo>
                <a:lnTo>
                  <a:pt x="58018" y="0"/>
                </a:lnTo>
                <a:lnTo>
                  <a:pt x="48628" y="887"/>
                </a:lnTo>
                <a:lnTo>
                  <a:pt x="39250" y="2637"/>
                </a:lnTo>
                <a:lnTo>
                  <a:pt x="29009" y="4400"/>
                </a:lnTo>
                <a:lnTo>
                  <a:pt x="19619" y="7038"/>
                </a:lnTo>
                <a:lnTo>
                  <a:pt x="10229" y="8789"/>
                </a:lnTo>
                <a:lnTo>
                  <a:pt x="851" y="10551"/>
                </a:lnTo>
                <a:lnTo>
                  <a:pt x="0" y="18453"/>
                </a:lnTo>
                <a:lnTo>
                  <a:pt x="1702" y="24616"/>
                </a:lnTo>
                <a:lnTo>
                  <a:pt x="4257" y="29880"/>
                </a:lnTo>
                <a:lnTo>
                  <a:pt x="5120" y="36919"/>
                </a:lnTo>
                <a:lnTo>
                  <a:pt x="7675" y="41307"/>
                </a:lnTo>
                <a:lnTo>
                  <a:pt x="10229" y="44821"/>
                </a:lnTo>
                <a:lnTo>
                  <a:pt x="14498" y="48346"/>
                </a:lnTo>
                <a:lnTo>
                  <a:pt x="17916" y="50972"/>
                </a:lnTo>
                <a:lnTo>
                  <a:pt x="22185" y="53610"/>
                </a:lnTo>
                <a:lnTo>
                  <a:pt x="26443" y="55373"/>
                </a:lnTo>
                <a:lnTo>
                  <a:pt x="31563" y="56248"/>
                </a:lnTo>
                <a:lnTo>
                  <a:pt x="36684" y="57135"/>
                </a:lnTo>
                <a:lnTo>
                  <a:pt x="41805" y="57135"/>
                </a:lnTo>
                <a:lnTo>
                  <a:pt x="47777" y="56248"/>
                </a:lnTo>
                <a:lnTo>
                  <a:pt x="52898" y="54497"/>
                </a:lnTo>
                <a:lnTo>
                  <a:pt x="58018" y="51859"/>
                </a:lnTo>
                <a:lnTo>
                  <a:pt x="62288" y="49221"/>
                </a:lnTo>
                <a:lnTo>
                  <a:pt x="66557" y="45708"/>
                </a:lnTo>
                <a:lnTo>
                  <a:pt x="70814" y="42183"/>
                </a:lnTo>
                <a:lnTo>
                  <a:pt x="74232" y="36919"/>
                </a:lnTo>
                <a:lnTo>
                  <a:pt x="77650" y="28130"/>
                </a:lnTo>
                <a:lnTo>
                  <a:pt x="81056" y="18453"/>
                </a:lnTo>
                <a:lnTo>
                  <a:pt x="81056" y="9664"/>
                </a:lnTo>
                <a:lnTo>
                  <a:pt x="76786" y="887"/>
                </a:lnTo>
                <a:close/>
              </a:path>
            </a:pathLst>
          </a:custGeom>
          <a:solidFill>
            <a:srgbClr val="E4E4E4"/>
          </a:solidFill>
        </p:spPr>
        <p:txBody>
          <a:bodyPr wrap="square" lIns="0" tIns="0" rIns="0" bIns="0" rtlCol="0">
            <a:noAutofit/>
          </a:bodyPr>
          <a:lstStyle/>
          <a:p>
            <a:endParaRPr/>
          </a:p>
        </p:txBody>
      </p:sp>
      <p:sp>
        <p:nvSpPr>
          <p:cNvPr id="28" name="object 28"/>
          <p:cNvSpPr/>
          <p:nvPr/>
        </p:nvSpPr>
        <p:spPr>
          <a:xfrm>
            <a:off x="9567336" y="540388"/>
            <a:ext cx="57167" cy="62399"/>
          </a:xfrm>
          <a:custGeom>
            <a:avLst/>
            <a:gdLst/>
            <a:ahLst/>
            <a:cxnLst/>
            <a:rect l="l" t="t" r="r" b="b"/>
            <a:pathLst>
              <a:path w="57167" h="62399">
                <a:moveTo>
                  <a:pt x="46925" y="48334"/>
                </a:moveTo>
                <a:lnTo>
                  <a:pt x="52046" y="36919"/>
                </a:lnTo>
                <a:lnTo>
                  <a:pt x="56315" y="23729"/>
                </a:lnTo>
                <a:lnTo>
                  <a:pt x="57167" y="11427"/>
                </a:lnTo>
                <a:lnTo>
                  <a:pt x="54612" y="0"/>
                </a:lnTo>
                <a:lnTo>
                  <a:pt x="46925" y="1762"/>
                </a:lnTo>
                <a:lnTo>
                  <a:pt x="38399" y="4400"/>
                </a:lnTo>
                <a:lnTo>
                  <a:pt x="29860" y="7026"/>
                </a:lnTo>
                <a:lnTo>
                  <a:pt x="22185" y="9664"/>
                </a:lnTo>
                <a:lnTo>
                  <a:pt x="14510" y="13189"/>
                </a:lnTo>
                <a:lnTo>
                  <a:pt x="8538" y="17578"/>
                </a:lnTo>
                <a:lnTo>
                  <a:pt x="3417" y="23729"/>
                </a:lnTo>
                <a:lnTo>
                  <a:pt x="0" y="31643"/>
                </a:lnTo>
                <a:lnTo>
                  <a:pt x="2554" y="38669"/>
                </a:lnTo>
                <a:lnTo>
                  <a:pt x="5120" y="47459"/>
                </a:lnTo>
                <a:lnTo>
                  <a:pt x="9389" y="56248"/>
                </a:lnTo>
                <a:lnTo>
                  <a:pt x="15362" y="60648"/>
                </a:lnTo>
                <a:lnTo>
                  <a:pt x="19631" y="61524"/>
                </a:lnTo>
                <a:lnTo>
                  <a:pt x="23888" y="62399"/>
                </a:lnTo>
                <a:lnTo>
                  <a:pt x="28157" y="61524"/>
                </a:lnTo>
                <a:lnTo>
                  <a:pt x="32427" y="60648"/>
                </a:lnTo>
                <a:lnTo>
                  <a:pt x="36696" y="58010"/>
                </a:lnTo>
                <a:lnTo>
                  <a:pt x="40953" y="55373"/>
                </a:lnTo>
                <a:lnTo>
                  <a:pt x="44371" y="52735"/>
                </a:lnTo>
                <a:lnTo>
                  <a:pt x="46925" y="48334"/>
                </a:lnTo>
                <a:close/>
              </a:path>
            </a:pathLst>
          </a:custGeom>
          <a:solidFill>
            <a:srgbClr val="E4E4E4"/>
          </a:solidFill>
        </p:spPr>
        <p:txBody>
          <a:bodyPr wrap="square" lIns="0" tIns="0" rIns="0" bIns="0" rtlCol="0">
            <a:noAutofit/>
          </a:bodyPr>
          <a:lstStyle/>
          <a:p>
            <a:endParaRPr/>
          </a:p>
        </p:txBody>
      </p:sp>
      <p:sp>
        <p:nvSpPr>
          <p:cNvPr id="29" name="object 29"/>
          <p:cNvSpPr/>
          <p:nvPr/>
        </p:nvSpPr>
        <p:spPr>
          <a:xfrm>
            <a:off x="9419711" y="589609"/>
            <a:ext cx="849893" cy="671466"/>
          </a:xfrm>
          <a:custGeom>
            <a:avLst/>
            <a:gdLst/>
            <a:ahLst/>
            <a:cxnLst/>
            <a:rect l="l" t="t" r="r" b="b"/>
            <a:pathLst>
              <a:path w="849893" h="671466">
                <a:moveTo>
                  <a:pt x="232098" y="531726"/>
                </a:moveTo>
                <a:lnTo>
                  <a:pt x="242340" y="532602"/>
                </a:lnTo>
                <a:lnTo>
                  <a:pt x="252581" y="534352"/>
                </a:lnTo>
                <a:lnTo>
                  <a:pt x="262822" y="536115"/>
                </a:lnTo>
                <a:lnTo>
                  <a:pt x="272212" y="538753"/>
                </a:lnTo>
                <a:lnTo>
                  <a:pt x="282442" y="540516"/>
                </a:lnTo>
                <a:lnTo>
                  <a:pt x="291832" y="544029"/>
                </a:lnTo>
                <a:lnTo>
                  <a:pt x="301222" y="547542"/>
                </a:lnTo>
                <a:lnTo>
                  <a:pt x="310600" y="551055"/>
                </a:lnTo>
                <a:lnTo>
                  <a:pt x="319138" y="555456"/>
                </a:lnTo>
                <a:lnTo>
                  <a:pt x="325962" y="551931"/>
                </a:lnTo>
                <a:lnTo>
                  <a:pt x="338770" y="546667"/>
                </a:lnTo>
                <a:lnTo>
                  <a:pt x="355835" y="539628"/>
                </a:lnTo>
                <a:lnTo>
                  <a:pt x="376306" y="531726"/>
                </a:lnTo>
                <a:lnTo>
                  <a:pt x="401058" y="522937"/>
                </a:lnTo>
                <a:lnTo>
                  <a:pt x="427513" y="513261"/>
                </a:lnTo>
                <a:lnTo>
                  <a:pt x="456557" y="503596"/>
                </a:lnTo>
                <a:lnTo>
                  <a:pt x="485531" y="493932"/>
                </a:lnTo>
                <a:lnTo>
                  <a:pt x="515451" y="485143"/>
                </a:lnTo>
                <a:lnTo>
                  <a:pt x="544425" y="476353"/>
                </a:lnTo>
                <a:lnTo>
                  <a:pt x="572571" y="468439"/>
                </a:lnTo>
                <a:lnTo>
                  <a:pt x="598116" y="461413"/>
                </a:lnTo>
                <a:lnTo>
                  <a:pt x="621177" y="456137"/>
                </a:lnTo>
                <a:lnTo>
                  <a:pt x="640808" y="452624"/>
                </a:lnTo>
                <a:lnTo>
                  <a:pt x="657010" y="451749"/>
                </a:lnTo>
                <a:lnTo>
                  <a:pt x="667298" y="452624"/>
                </a:lnTo>
                <a:lnTo>
                  <a:pt x="671556" y="453499"/>
                </a:lnTo>
                <a:lnTo>
                  <a:pt x="674985" y="454374"/>
                </a:lnTo>
                <a:lnTo>
                  <a:pt x="679243" y="456137"/>
                </a:lnTo>
                <a:lnTo>
                  <a:pt x="682672" y="457900"/>
                </a:lnTo>
                <a:lnTo>
                  <a:pt x="686102" y="459650"/>
                </a:lnTo>
                <a:lnTo>
                  <a:pt x="689531" y="462288"/>
                </a:lnTo>
                <a:lnTo>
                  <a:pt x="691187" y="464926"/>
                </a:lnTo>
                <a:lnTo>
                  <a:pt x="692843" y="468439"/>
                </a:lnTo>
                <a:lnTo>
                  <a:pt x="686930" y="471953"/>
                </a:lnTo>
                <a:lnTo>
                  <a:pt x="680898" y="473715"/>
                </a:lnTo>
                <a:lnTo>
                  <a:pt x="674157" y="475478"/>
                </a:lnTo>
                <a:lnTo>
                  <a:pt x="668126" y="476353"/>
                </a:lnTo>
                <a:lnTo>
                  <a:pt x="661267" y="477229"/>
                </a:lnTo>
                <a:lnTo>
                  <a:pt x="655354" y="477229"/>
                </a:lnTo>
                <a:lnTo>
                  <a:pt x="648495" y="478104"/>
                </a:lnTo>
                <a:lnTo>
                  <a:pt x="642582" y="479867"/>
                </a:lnTo>
                <a:lnTo>
                  <a:pt x="639980" y="480742"/>
                </a:lnTo>
                <a:lnTo>
                  <a:pt x="632293" y="482505"/>
                </a:lnTo>
                <a:lnTo>
                  <a:pt x="619521" y="486018"/>
                </a:lnTo>
                <a:lnTo>
                  <a:pt x="604147" y="491294"/>
                </a:lnTo>
                <a:lnTo>
                  <a:pt x="584516" y="496570"/>
                </a:lnTo>
                <a:lnTo>
                  <a:pt x="563229" y="502721"/>
                </a:lnTo>
                <a:lnTo>
                  <a:pt x="540168" y="510623"/>
                </a:lnTo>
                <a:lnTo>
                  <a:pt x="515451" y="517661"/>
                </a:lnTo>
                <a:lnTo>
                  <a:pt x="490617" y="525563"/>
                </a:lnTo>
                <a:lnTo>
                  <a:pt x="465072" y="534352"/>
                </a:lnTo>
                <a:lnTo>
                  <a:pt x="441160" y="542266"/>
                </a:lnTo>
                <a:lnTo>
                  <a:pt x="418123" y="550180"/>
                </a:lnTo>
                <a:lnTo>
                  <a:pt x="397640" y="558082"/>
                </a:lnTo>
                <a:lnTo>
                  <a:pt x="378872" y="565120"/>
                </a:lnTo>
                <a:lnTo>
                  <a:pt x="364361" y="572147"/>
                </a:lnTo>
                <a:lnTo>
                  <a:pt x="353268" y="578298"/>
                </a:lnTo>
                <a:lnTo>
                  <a:pt x="362658" y="600277"/>
                </a:lnTo>
                <a:lnTo>
                  <a:pt x="367779" y="624007"/>
                </a:lnTo>
                <a:lnTo>
                  <a:pt x="367779" y="648611"/>
                </a:lnTo>
                <a:lnTo>
                  <a:pt x="364361" y="670590"/>
                </a:lnTo>
                <a:lnTo>
                  <a:pt x="701476" y="671466"/>
                </a:lnTo>
                <a:lnTo>
                  <a:pt x="718505" y="669703"/>
                </a:lnTo>
                <a:lnTo>
                  <a:pt x="736363" y="668828"/>
                </a:lnTo>
                <a:lnTo>
                  <a:pt x="753511" y="667953"/>
                </a:lnTo>
                <a:lnTo>
                  <a:pt x="788398" y="665315"/>
                </a:lnTo>
                <a:lnTo>
                  <a:pt x="820919" y="656525"/>
                </a:lnTo>
                <a:lnTo>
                  <a:pt x="849893" y="573910"/>
                </a:lnTo>
                <a:lnTo>
                  <a:pt x="849893" y="507109"/>
                </a:lnTo>
                <a:lnTo>
                  <a:pt x="846464" y="441197"/>
                </a:lnTo>
                <a:lnTo>
                  <a:pt x="839604" y="377034"/>
                </a:lnTo>
                <a:lnTo>
                  <a:pt x="828606" y="313760"/>
                </a:lnTo>
                <a:lnTo>
                  <a:pt x="814888" y="251360"/>
                </a:lnTo>
                <a:lnTo>
                  <a:pt x="797031" y="189836"/>
                </a:lnTo>
                <a:lnTo>
                  <a:pt x="775625" y="130074"/>
                </a:lnTo>
                <a:lnTo>
                  <a:pt x="750081" y="72063"/>
                </a:lnTo>
                <a:lnTo>
                  <a:pt x="706561" y="14940"/>
                </a:lnTo>
                <a:lnTo>
                  <a:pt x="679243" y="5263"/>
                </a:lnTo>
                <a:lnTo>
                  <a:pt x="651924" y="875"/>
                </a:lnTo>
                <a:lnTo>
                  <a:pt x="637378" y="0"/>
                </a:lnTo>
                <a:lnTo>
                  <a:pt x="623778" y="0"/>
                </a:lnTo>
                <a:lnTo>
                  <a:pt x="610060" y="1750"/>
                </a:lnTo>
                <a:lnTo>
                  <a:pt x="596460" y="3513"/>
                </a:lnTo>
                <a:lnTo>
                  <a:pt x="590547" y="4388"/>
                </a:lnTo>
                <a:lnTo>
                  <a:pt x="581914" y="7901"/>
                </a:lnTo>
                <a:lnTo>
                  <a:pt x="571744" y="11427"/>
                </a:lnTo>
                <a:lnTo>
                  <a:pt x="558025" y="17578"/>
                </a:lnTo>
                <a:lnTo>
                  <a:pt x="543597" y="23729"/>
                </a:lnTo>
                <a:lnTo>
                  <a:pt x="527396" y="31631"/>
                </a:lnTo>
                <a:lnTo>
                  <a:pt x="510248" y="41307"/>
                </a:lnTo>
                <a:lnTo>
                  <a:pt x="492391" y="50972"/>
                </a:lnTo>
                <a:lnTo>
                  <a:pt x="473587" y="62399"/>
                </a:lnTo>
                <a:lnTo>
                  <a:pt x="455611" y="73826"/>
                </a:lnTo>
                <a:lnTo>
                  <a:pt x="436891" y="86129"/>
                </a:lnTo>
                <a:lnTo>
                  <a:pt x="419826" y="99306"/>
                </a:lnTo>
                <a:lnTo>
                  <a:pt x="402761" y="113371"/>
                </a:lnTo>
                <a:lnTo>
                  <a:pt x="387399" y="127436"/>
                </a:lnTo>
                <a:lnTo>
                  <a:pt x="373751" y="142377"/>
                </a:lnTo>
                <a:lnTo>
                  <a:pt x="361807" y="157317"/>
                </a:lnTo>
                <a:lnTo>
                  <a:pt x="348999" y="159080"/>
                </a:lnTo>
                <a:lnTo>
                  <a:pt x="335352" y="159080"/>
                </a:lnTo>
                <a:lnTo>
                  <a:pt x="321705" y="157317"/>
                </a:lnTo>
                <a:lnTo>
                  <a:pt x="307194" y="155555"/>
                </a:lnTo>
                <a:lnTo>
                  <a:pt x="293535" y="152041"/>
                </a:lnTo>
                <a:lnTo>
                  <a:pt x="279888" y="148528"/>
                </a:lnTo>
                <a:lnTo>
                  <a:pt x="267092" y="145015"/>
                </a:lnTo>
                <a:lnTo>
                  <a:pt x="255136" y="140614"/>
                </a:lnTo>
                <a:lnTo>
                  <a:pt x="242340" y="148528"/>
                </a:lnTo>
                <a:lnTo>
                  <a:pt x="229544" y="158192"/>
                </a:lnTo>
                <a:lnTo>
                  <a:pt x="217600" y="167857"/>
                </a:lnTo>
                <a:lnTo>
                  <a:pt x="205643" y="177534"/>
                </a:lnTo>
                <a:lnTo>
                  <a:pt x="193699" y="188073"/>
                </a:lnTo>
                <a:lnTo>
                  <a:pt x="182606" y="198625"/>
                </a:lnTo>
                <a:lnTo>
                  <a:pt x="170662" y="210052"/>
                </a:lnTo>
                <a:lnTo>
                  <a:pt x="158717" y="220592"/>
                </a:lnTo>
                <a:lnTo>
                  <a:pt x="150179" y="231144"/>
                </a:lnTo>
                <a:lnTo>
                  <a:pt x="141652" y="242571"/>
                </a:lnTo>
                <a:lnTo>
                  <a:pt x="133114" y="253111"/>
                </a:lnTo>
                <a:lnTo>
                  <a:pt x="125439" y="264538"/>
                </a:lnTo>
                <a:lnTo>
                  <a:pt x="117764" y="275090"/>
                </a:lnTo>
                <a:lnTo>
                  <a:pt x="109225" y="286517"/>
                </a:lnTo>
                <a:lnTo>
                  <a:pt x="101550" y="296181"/>
                </a:lnTo>
                <a:lnTo>
                  <a:pt x="93012" y="306721"/>
                </a:lnTo>
                <a:lnTo>
                  <a:pt x="81919" y="305846"/>
                </a:lnTo>
                <a:lnTo>
                  <a:pt x="71677" y="302333"/>
                </a:lnTo>
                <a:lnTo>
                  <a:pt x="62299" y="297057"/>
                </a:lnTo>
                <a:lnTo>
                  <a:pt x="53761" y="290030"/>
                </a:lnTo>
                <a:lnTo>
                  <a:pt x="46086" y="282116"/>
                </a:lnTo>
                <a:lnTo>
                  <a:pt x="37547" y="273327"/>
                </a:lnTo>
                <a:lnTo>
                  <a:pt x="29872" y="264538"/>
                </a:lnTo>
                <a:lnTo>
                  <a:pt x="21334" y="256636"/>
                </a:lnTo>
                <a:lnTo>
                  <a:pt x="22185" y="270689"/>
                </a:lnTo>
                <a:lnTo>
                  <a:pt x="21334" y="283879"/>
                </a:lnTo>
                <a:lnTo>
                  <a:pt x="19631" y="297057"/>
                </a:lnTo>
                <a:lnTo>
                  <a:pt x="17065" y="309359"/>
                </a:lnTo>
                <a:lnTo>
                  <a:pt x="13659" y="321674"/>
                </a:lnTo>
                <a:lnTo>
                  <a:pt x="9389" y="333089"/>
                </a:lnTo>
                <a:lnTo>
                  <a:pt x="5120" y="344516"/>
                </a:lnTo>
                <a:lnTo>
                  <a:pt x="0" y="355943"/>
                </a:lnTo>
                <a:lnTo>
                  <a:pt x="10241" y="356818"/>
                </a:lnTo>
                <a:lnTo>
                  <a:pt x="20482" y="356818"/>
                </a:lnTo>
                <a:lnTo>
                  <a:pt x="30724" y="355943"/>
                </a:lnTo>
                <a:lnTo>
                  <a:pt x="40965" y="355068"/>
                </a:lnTo>
                <a:lnTo>
                  <a:pt x="51206" y="355068"/>
                </a:lnTo>
                <a:lnTo>
                  <a:pt x="59733" y="356818"/>
                </a:lnTo>
                <a:lnTo>
                  <a:pt x="68272" y="361219"/>
                </a:lnTo>
                <a:lnTo>
                  <a:pt x="75947" y="369133"/>
                </a:lnTo>
                <a:lnTo>
                  <a:pt x="161272" y="520299"/>
                </a:lnTo>
                <a:lnTo>
                  <a:pt x="170662" y="522050"/>
                </a:lnTo>
                <a:lnTo>
                  <a:pt x="180903" y="524688"/>
                </a:lnTo>
                <a:lnTo>
                  <a:pt x="190293" y="525563"/>
                </a:lnTo>
                <a:lnTo>
                  <a:pt x="200534" y="527326"/>
                </a:lnTo>
                <a:lnTo>
                  <a:pt x="210764" y="529088"/>
                </a:lnTo>
                <a:lnTo>
                  <a:pt x="221005" y="529964"/>
                </a:lnTo>
                <a:lnTo>
                  <a:pt x="232098" y="531726"/>
                </a:lnTo>
                <a:close/>
              </a:path>
            </a:pathLst>
          </a:custGeom>
          <a:solidFill>
            <a:srgbClr val="6FD1FF"/>
          </a:solidFill>
        </p:spPr>
        <p:txBody>
          <a:bodyPr wrap="square" lIns="0" tIns="0" rIns="0" bIns="0" rtlCol="0">
            <a:noAutofit/>
          </a:bodyPr>
          <a:lstStyle/>
          <a:p>
            <a:endParaRPr/>
          </a:p>
        </p:txBody>
      </p:sp>
      <p:sp>
        <p:nvSpPr>
          <p:cNvPr id="30" name="object 30"/>
          <p:cNvSpPr/>
          <p:nvPr/>
        </p:nvSpPr>
        <p:spPr>
          <a:xfrm>
            <a:off x="9087776" y="641457"/>
            <a:ext cx="63151" cy="188961"/>
          </a:xfrm>
          <a:custGeom>
            <a:avLst/>
            <a:gdLst/>
            <a:ahLst/>
            <a:cxnLst/>
            <a:rect l="l" t="t" r="r" b="b"/>
            <a:pathLst>
              <a:path w="63151" h="188961">
                <a:moveTo>
                  <a:pt x="60585" y="159955"/>
                </a:moveTo>
                <a:lnTo>
                  <a:pt x="63151" y="0"/>
                </a:lnTo>
                <a:lnTo>
                  <a:pt x="55464" y="0"/>
                </a:lnTo>
                <a:lnTo>
                  <a:pt x="46937" y="887"/>
                </a:lnTo>
                <a:lnTo>
                  <a:pt x="0" y="887"/>
                </a:lnTo>
                <a:lnTo>
                  <a:pt x="0" y="188961"/>
                </a:lnTo>
                <a:lnTo>
                  <a:pt x="60585" y="159955"/>
                </a:lnTo>
                <a:close/>
              </a:path>
            </a:pathLst>
          </a:custGeom>
          <a:solidFill>
            <a:srgbClr val="FFEE7B"/>
          </a:solidFill>
        </p:spPr>
        <p:txBody>
          <a:bodyPr wrap="square" lIns="0" tIns="0" rIns="0" bIns="0" rtlCol="0">
            <a:noAutofit/>
          </a:bodyPr>
          <a:lstStyle/>
          <a:p>
            <a:endParaRPr/>
          </a:p>
        </p:txBody>
      </p:sp>
      <p:sp>
        <p:nvSpPr>
          <p:cNvPr id="31" name="object 31"/>
          <p:cNvSpPr/>
          <p:nvPr/>
        </p:nvSpPr>
        <p:spPr>
          <a:xfrm>
            <a:off x="10196163" y="750440"/>
            <a:ext cx="140848" cy="638072"/>
          </a:xfrm>
          <a:custGeom>
            <a:avLst/>
            <a:gdLst/>
            <a:ahLst/>
            <a:cxnLst/>
            <a:rect l="l" t="t" r="r" b="b"/>
            <a:pathLst>
              <a:path w="140848" h="638072">
                <a:moveTo>
                  <a:pt x="93071" y="180172"/>
                </a:moveTo>
                <a:lnTo>
                  <a:pt x="100758" y="217091"/>
                </a:lnTo>
                <a:lnTo>
                  <a:pt x="105843" y="255761"/>
                </a:lnTo>
                <a:lnTo>
                  <a:pt x="110100" y="296181"/>
                </a:lnTo>
                <a:lnTo>
                  <a:pt x="112702" y="335739"/>
                </a:lnTo>
                <a:lnTo>
                  <a:pt x="111874" y="377047"/>
                </a:lnTo>
                <a:lnTo>
                  <a:pt x="108445" y="417467"/>
                </a:lnTo>
                <a:lnTo>
                  <a:pt x="102413" y="457024"/>
                </a:lnTo>
                <a:lnTo>
                  <a:pt x="93071" y="496570"/>
                </a:lnTo>
                <a:lnTo>
                  <a:pt x="88813" y="508872"/>
                </a:lnTo>
                <a:lnTo>
                  <a:pt x="73440" y="524700"/>
                </a:lnTo>
                <a:lnTo>
                  <a:pt x="52153" y="532602"/>
                </a:lnTo>
                <a:lnTo>
                  <a:pt x="29920" y="537878"/>
                </a:lnTo>
                <a:lnTo>
                  <a:pt x="19631" y="540516"/>
                </a:lnTo>
                <a:lnTo>
                  <a:pt x="16320" y="562482"/>
                </a:lnTo>
                <a:lnTo>
                  <a:pt x="12890" y="586217"/>
                </a:lnTo>
                <a:lnTo>
                  <a:pt x="7686" y="610825"/>
                </a:lnTo>
                <a:lnTo>
                  <a:pt x="0" y="638072"/>
                </a:lnTo>
                <a:lnTo>
                  <a:pt x="139193" y="637193"/>
                </a:lnTo>
                <a:lnTo>
                  <a:pt x="140848" y="21091"/>
                </a:lnTo>
                <a:lnTo>
                  <a:pt x="134935" y="15815"/>
                </a:lnTo>
                <a:lnTo>
                  <a:pt x="128076" y="11427"/>
                </a:lnTo>
                <a:lnTo>
                  <a:pt x="120389" y="7026"/>
                </a:lnTo>
                <a:lnTo>
                  <a:pt x="111874" y="4400"/>
                </a:lnTo>
                <a:lnTo>
                  <a:pt x="103360" y="1762"/>
                </a:lnTo>
                <a:lnTo>
                  <a:pt x="94726" y="875"/>
                </a:lnTo>
                <a:lnTo>
                  <a:pt x="87040" y="0"/>
                </a:lnTo>
                <a:lnTo>
                  <a:pt x="79471" y="875"/>
                </a:lnTo>
                <a:lnTo>
                  <a:pt x="76041" y="3513"/>
                </a:lnTo>
                <a:lnTo>
                  <a:pt x="70838" y="5275"/>
                </a:lnTo>
                <a:lnTo>
                  <a:pt x="66580" y="6151"/>
                </a:lnTo>
                <a:lnTo>
                  <a:pt x="61495" y="7026"/>
                </a:lnTo>
                <a:lnTo>
                  <a:pt x="57238" y="8789"/>
                </a:lnTo>
                <a:lnTo>
                  <a:pt x="54636" y="10551"/>
                </a:lnTo>
                <a:lnTo>
                  <a:pt x="52980" y="14065"/>
                </a:lnTo>
                <a:lnTo>
                  <a:pt x="53808" y="18453"/>
                </a:lnTo>
                <a:lnTo>
                  <a:pt x="93071" y="180172"/>
                </a:lnTo>
                <a:close/>
              </a:path>
            </a:pathLst>
          </a:custGeom>
          <a:solidFill>
            <a:srgbClr val="FF5800"/>
          </a:solidFill>
        </p:spPr>
        <p:txBody>
          <a:bodyPr wrap="square" lIns="0" tIns="0" rIns="0" bIns="0" rtlCol="0">
            <a:noAutofit/>
          </a:bodyPr>
          <a:lstStyle/>
          <a:p>
            <a:endParaRPr/>
          </a:p>
        </p:txBody>
      </p:sp>
      <p:sp>
        <p:nvSpPr>
          <p:cNvPr id="32" name="object 32"/>
          <p:cNvSpPr/>
          <p:nvPr/>
        </p:nvSpPr>
        <p:spPr>
          <a:xfrm>
            <a:off x="9104840" y="760104"/>
            <a:ext cx="298656" cy="352442"/>
          </a:xfrm>
          <a:custGeom>
            <a:avLst/>
            <a:gdLst/>
            <a:ahLst/>
            <a:cxnLst/>
            <a:rect l="l" t="t" r="r" b="b"/>
            <a:pathLst>
              <a:path w="298656" h="352442">
                <a:moveTo>
                  <a:pt x="205643" y="112496"/>
                </a:moveTo>
                <a:lnTo>
                  <a:pt x="206507" y="104594"/>
                </a:lnTo>
                <a:lnTo>
                  <a:pt x="211627" y="100194"/>
                </a:lnTo>
                <a:lnTo>
                  <a:pt x="217600" y="96680"/>
                </a:lnTo>
                <a:lnTo>
                  <a:pt x="222720" y="94918"/>
                </a:lnTo>
                <a:lnTo>
                  <a:pt x="228692" y="92292"/>
                </a:lnTo>
                <a:lnTo>
                  <a:pt x="224423" y="80865"/>
                </a:lnTo>
                <a:lnTo>
                  <a:pt x="219302" y="69438"/>
                </a:lnTo>
                <a:lnTo>
                  <a:pt x="214182" y="58010"/>
                </a:lnTo>
                <a:lnTo>
                  <a:pt x="209061" y="45708"/>
                </a:lnTo>
                <a:lnTo>
                  <a:pt x="203940" y="34281"/>
                </a:lnTo>
                <a:lnTo>
                  <a:pt x="198820" y="22854"/>
                </a:lnTo>
                <a:lnTo>
                  <a:pt x="193699" y="11427"/>
                </a:lnTo>
                <a:lnTo>
                  <a:pt x="188578" y="0"/>
                </a:lnTo>
                <a:lnTo>
                  <a:pt x="0" y="91404"/>
                </a:lnTo>
                <a:lnTo>
                  <a:pt x="110928" y="352442"/>
                </a:lnTo>
                <a:lnTo>
                  <a:pt x="298656" y="244334"/>
                </a:lnTo>
                <a:lnTo>
                  <a:pt x="294398" y="232031"/>
                </a:lnTo>
                <a:lnTo>
                  <a:pt x="289277" y="219729"/>
                </a:lnTo>
                <a:lnTo>
                  <a:pt x="284157" y="208302"/>
                </a:lnTo>
                <a:lnTo>
                  <a:pt x="279036" y="195999"/>
                </a:lnTo>
                <a:lnTo>
                  <a:pt x="273915" y="183697"/>
                </a:lnTo>
                <a:lnTo>
                  <a:pt x="267943" y="172270"/>
                </a:lnTo>
                <a:lnTo>
                  <a:pt x="262822" y="159955"/>
                </a:lnTo>
                <a:lnTo>
                  <a:pt x="257702" y="147653"/>
                </a:lnTo>
                <a:lnTo>
                  <a:pt x="251730" y="146778"/>
                </a:lnTo>
                <a:lnTo>
                  <a:pt x="245757" y="146778"/>
                </a:lnTo>
                <a:lnTo>
                  <a:pt x="239785" y="145902"/>
                </a:lnTo>
                <a:lnTo>
                  <a:pt x="233813" y="145015"/>
                </a:lnTo>
                <a:lnTo>
                  <a:pt x="227841" y="144140"/>
                </a:lnTo>
                <a:lnTo>
                  <a:pt x="222720" y="141502"/>
                </a:lnTo>
                <a:lnTo>
                  <a:pt x="217600" y="137988"/>
                </a:lnTo>
                <a:lnTo>
                  <a:pt x="214182" y="132712"/>
                </a:lnTo>
                <a:lnTo>
                  <a:pt x="209913" y="126561"/>
                </a:lnTo>
                <a:lnTo>
                  <a:pt x="207358" y="119535"/>
                </a:lnTo>
                <a:lnTo>
                  <a:pt x="205643" y="112496"/>
                </a:lnTo>
                <a:close/>
              </a:path>
            </a:pathLst>
          </a:custGeom>
          <a:solidFill>
            <a:srgbClr val="FFFFFF"/>
          </a:solidFill>
        </p:spPr>
        <p:txBody>
          <a:bodyPr wrap="square" lIns="0" tIns="0" rIns="0" bIns="0" rtlCol="0">
            <a:noAutofit/>
          </a:bodyPr>
          <a:lstStyle/>
          <a:p>
            <a:endParaRPr/>
          </a:p>
        </p:txBody>
      </p:sp>
      <p:sp>
        <p:nvSpPr>
          <p:cNvPr id="33" name="object 33"/>
          <p:cNvSpPr/>
          <p:nvPr/>
        </p:nvSpPr>
        <p:spPr>
          <a:xfrm>
            <a:off x="9331818" y="815477"/>
            <a:ext cx="88742" cy="115134"/>
          </a:xfrm>
          <a:custGeom>
            <a:avLst/>
            <a:gdLst/>
            <a:ahLst/>
            <a:cxnLst/>
            <a:rect l="l" t="t" r="r" b="b"/>
            <a:pathLst>
              <a:path w="88742" h="115134">
                <a:moveTo>
                  <a:pt x="5120" y="52735"/>
                </a:moveTo>
                <a:lnTo>
                  <a:pt x="0" y="56248"/>
                </a:lnTo>
                <a:lnTo>
                  <a:pt x="6835" y="63286"/>
                </a:lnTo>
                <a:lnTo>
                  <a:pt x="14510" y="68550"/>
                </a:lnTo>
                <a:lnTo>
                  <a:pt x="23049" y="70313"/>
                </a:lnTo>
                <a:lnTo>
                  <a:pt x="31575" y="71188"/>
                </a:lnTo>
                <a:lnTo>
                  <a:pt x="40114" y="70313"/>
                </a:lnTo>
                <a:lnTo>
                  <a:pt x="49492" y="69438"/>
                </a:lnTo>
                <a:lnTo>
                  <a:pt x="58030" y="67675"/>
                </a:lnTo>
                <a:lnTo>
                  <a:pt x="66557" y="65912"/>
                </a:lnTo>
                <a:lnTo>
                  <a:pt x="69123" y="68550"/>
                </a:lnTo>
                <a:lnTo>
                  <a:pt x="69974" y="72063"/>
                </a:lnTo>
                <a:lnTo>
                  <a:pt x="69974" y="74701"/>
                </a:lnTo>
                <a:lnTo>
                  <a:pt x="69123" y="78227"/>
                </a:lnTo>
                <a:lnTo>
                  <a:pt x="64854" y="80853"/>
                </a:lnTo>
                <a:lnTo>
                  <a:pt x="60585" y="82615"/>
                </a:lnTo>
                <a:lnTo>
                  <a:pt x="56327" y="83491"/>
                </a:lnTo>
                <a:lnTo>
                  <a:pt x="52058" y="84378"/>
                </a:lnTo>
                <a:lnTo>
                  <a:pt x="66557" y="115134"/>
                </a:lnTo>
                <a:lnTo>
                  <a:pt x="70826" y="103707"/>
                </a:lnTo>
                <a:lnTo>
                  <a:pt x="75947" y="91404"/>
                </a:lnTo>
                <a:lnTo>
                  <a:pt x="79364" y="79977"/>
                </a:lnTo>
                <a:lnTo>
                  <a:pt x="83622" y="66800"/>
                </a:lnTo>
                <a:lnTo>
                  <a:pt x="86188" y="54497"/>
                </a:lnTo>
                <a:lnTo>
                  <a:pt x="87891" y="41307"/>
                </a:lnTo>
                <a:lnTo>
                  <a:pt x="88742" y="28130"/>
                </a:lnTo>
                <a:lnTo>
                  <a:pt x="87891" y="14065"/>
                </a:lnTo>
                <a:lnTo>
                  <a:pt x="80216" y="9664"/>
                </a:lnTo>
                <a:lnTo>
                  <a:pt x="71677" y="6151"/>
                </a:lnTo>
                <a:lnTo>
                  <a:pt x="62299" y="3513"/>
                </a:lnTo>
                <a:lnTo>
                  <a:pt x="52909" y="875"/>
                </a:lnTo>
                <a:lnTo>
                  <a:pt x="43520" y="0"/>
                </a:lnTo>
                <a:lnTo>
                  <a:pt x="24752" y="0"/>
                </a:lnTo>
                <a:lnTo>
                  <a:pt x="15362" y="1762"/>
                </a:lnTo>
                <a:lnTo>
                  <a:pt x="16213" y="7913"/>
                </a:lnTo>
                <a:lnTo>
                  <a:pt x="18779" y="14065"/>
                </a:lnTo>
                <a:lnTo>
                  <a:pt x="22185" y="20216"/>
                </a:lnTo>
                <a:lnTo>
                  <a:pt x="24752" y="26367"/>
                </a:lnTo>
                <a:lnTo>
                  <a:pt x="29021" y="22854"/>
                </a:lnTo>
                <a:lnTo>
                  <a:pt x="34141" y="22854"/>
                </a:lnTo>
                <a:lnTo>
                  <a:pt x="39250" y="23729"/>
                </a:lnTo>
                <a:lnTo>
                  <a:pt x="44371" y="25492"/>
                </a:lnTo>
                <a:lnTo>
                  <a:pt x="41817" y="32518"/>
                </a:lnTo>
                <a:lnTo>
                  <a:pt x="36696" y="36919"/>
                </a:lnTo>
                <a:lnTo>
                  <a:pt x="31575" y="41307"/>
                </a:lnTo>
                <a:lnTo>
                  <a:pt x="24752" y="44821"/>
                </a:lnTo>
                <a:lnTo>
                  <a:pt x="17928" y="47459"/>
                </a:lnTo>
                <a:lnTo>
                  <a:pt x="11956" y="50097"/>
                </a:lnTo>
                <a:lnTo>
                  <a:pt x="5120" y="52735"/>
                </a:lnTo>
                <a:close/>
              </a:path>
            </a:pathLst>
          </a:custGeom>
          <a:solidFill>
            <a:srgbClr val="F1CCB1"/>
          </a:solidFill>
        </p:spPr>
        <p:txBody>
          <a:bodyPr wrap="square" lIns="0" tIns="0" rIns="0" bIns="0" rtlCol="0">
            <a:noAutofit/>
          </a:bodyPr>
          <a:lstStyle/>
          <a:p>
            <a:endParaRPr/>
          </a:p>
        </p:txBody>
      </p:sp>
      <p:sp>
        <p:nvSpPr>
          <p:cNvPr id="34" name="object 34"/>
          <p:cNvSpPr/>
          <p:nvPr/>
        </p:nvSpPr>
        <p:spPr>
          <a:xfrm>
            <a:off x="9006720" y="881390"/>
            <a:ext cx="122021" cy="153804"/>
          </a:xfrm>
          <a:custGeom>
            <a:avLst/>
            <a:gdLst/>
            <a:ahLst/>
            <a:cxnLst/>
            <a:rect l="l" t="t" r="r" b="b"/>
            <a:pathLst>
              <a:path w="122021" h="153804">
                <a:moveTo>
                  <a:pt x="0" y="153804"/>
                </a:moveTo>
                <a:lnTo>
                  <a:pt x="122021" y="94930"/>
                </a:lnTo>
                <a:lnTo>
                  <a:pt x="80204" y="0"/>
                </a:lnTo>
                <a:lnTo>
                  <a:pt x="0" y="153804"/>
                </a:lnTo>
                <a:close/>
              </a:path>
            </a:pathLst>
          </a:custGeom>
          <a:solidFill>
            <a:srgbClr val="D7D7D7"/>
          </a:solidFill>
        </p:spPr>
        <p:txBody>
          <a:bodyPr wrap="square" lIns="0" tIns="0" rIns="0" bIns="0" rtlCol="0">
            <a:noAutofit/>
          </a:bodyPr>
          <a:lstStyle/>
          <a:p>
            <a:endParaRPr/>
          </a:p>
        </p:txBody>
      </p:sp>
      <p:sp>
        <p:nvSpPr>
          <p:cNvPr id="35" name="object 35"/>
          <p:cNvSpPr/>
          <p:nvPr/>
        </p:nvSpPr>
        <p:spPr>
          <a:xfrm>
            <a:off x="8749869" y="970158"/>
            <a:ext cx="961673" cy="416597"/>
          </a:xfrm>
          <a:custGeom>
            <a:avLst/>
            <a:gdLst/>
            <a:ahLst/>
            <a:cxnLst/>
            <a:rect l="l" t="t" r="r" b="b"/>
            <a:pathLst>
              <a:path w="961673" h="416597">
                <a:moveTo>
                  <a:pt x="724454" y="190723"/>
                </a:moveTo>
                <a:lnTo>
                  <a:pt x="726157" y="181059"/>
                </a:lnTo>
                <a:lnTo>
                  <a:pt x="732992" y="174020"/>
                </a:lnTo>
                <a:lnTo>
                  <a:pt x="740667" y="169632"/>
                </a:lnTo>
                <a:lnTo>
                  <a:pt x="750057" y="166994"/>
                </a:lnTo>
                <a:lnTo>
                  <a:pt x="759435" y="165231"/>
                </a:lnTo>
                <a:lnTo>
                  <a:pt x="769677" y="164356"/>
                </a:lnTo>
                <a:lnTo>
                  <a:pt x="779918" y="163481"/>
                </a:lnTo>
                <a:lnTo>
                  <a:pt x="790160" y="162593"/>
                </a:lnTo>
                <a:lnTo>
                  <a:pt x="799550" y="160843"/>
                </a:lnTo>
                <a:lnTo>
                  <a:pt x="809791" y="152053"/>
                </a:lnTo>
                <a:lnTo>
                  <a:pt x="740667" y="30768"/>
                </a:lnTo>
                <a:lnTo>
                  <a:pt x="737250" y="17578"/>
                </a:lnTo>
                <a:lnTo>
                  <a:pt x="731278" y="8789"/>
                </a:lnTo>
                <a:lnTo>
                  <a:pt x="722751" y="3525"/>
                </a:lnTo>
                <a:lnTo>
                  <a:pt x="712510" y="887"/>
                </a:lnTo>
                <a:lnTo>
                  <a:pt x="701417" y="0"/>
                </a:lnTo>
                <a:lnTo>
                  <a:pt x="689472" y="887"/>
                </a:lnTo>
                <a:lnTo>
                  <a:pt x="667287" y="887"/>
                </a:lnTo>
                <a:lnTo>
                  <a:pt x="668138" y="2637"/>
                </a:lnTo>
                <a:lnTo>
                  <a:pt x="670692" y="7913"/>
                </a:lnTo>
                <a:lnTo>
                  <a:pt x="674962" y="14940"/>
                </a:lnTo>
                <a:lnTo>
                  <a:pt x="678379" y="23729"/>
                </a:lnTo>
                <a:lnTo>
                  <a:pt x="681785" y="32518"/>
                </a:lnTo>
                <a:lnTo>
                  <a:pt x="683500" y="40432"/>
                </a:lnTo>
                <a:lnTo>
                  <a:pt x="683500" y="45708"/>
                </a:lnTo>
                <a:lnTo>
                  <a:pt x="680934" y="49221"/>
                </a:lnTo>
                <a:lnTo>
                  <a:pt x="458225" y="179296"/>
                </a:lnTo>
                <a:lnTo>
                  <a:pt x="453956" y="173145"/>
                </a:lnTo>
                <a:lnTo>
                  <a:pt x="445429" y="155567"/>
                </a:lnTo>
                <a:lnTo>
                  <a:pt x="434336" y="131837"/>
                </a:lnTo>
                <a:lnTo>
                  <a:pt x="422380" y="104594"/>
                </a:lnTo>
                <a:lnTo>
                  <a:pt x="410436" y="77352"/>
                </a:lnTo>
                <a:lnTo>
                  <a:pt x="400194" y="53622"/>
                </a:lnTo>
                <a:lnTo>
                  <a:pt x="392519" y="36044"/>
                </a:lnTo>
                <a:lnTo>
                  <a:pt x="389965" y="29892"/>
                </a:lnTo>
                <a:lnTo>
                  <a:pt x="236368" y="103719"/>
                </a:lnTo>
                <a:lnTo>
                  <a:pt x="230395" y="105470"/>
                </a:lnTo>
                <a:lnTo>
                  <a:pt x="224423" y="104594"/>
                </a:lnTo>
                <a:lnTo>
                  <a:pt x="219302" y="101956"/>
                </a:lnTo>
                <a:lnTo>
                  <a:pt x="214182" y="98443"/>
                </a:lnTo>
                <a:lnTo>
                  <a:pt x="218451" y="87016"/>
                </a:lnTo>
                <a:lnTo>
                  <a:pt x="223560" y="74714"/>
                </a:lnTo>
                <a:lnTo>
                  <a:pt x="227829" y="63286"/>
                </a:lnTo>
                <a:lnTo>
                  <a:pt x="232950" y="51859"/>
                </a:lnTo>
                <a:lnTo>
                  <a:pt x="238070" y="40432"/>
                </a:lnTo>
                <a:lnTo>
                  <a:pt x="243191" y="29892"/>
                </a:lnTo>
                <a:lnTo>
                  <a:pt x="248312" y="18465"/>
                </a:lnTo>
                <a:lnTo>
                  <a:pt x="253433" y="7038"/>
                </a:lnTo>
                <a:lnTo>
                  <a:pt x="237219" y="8789"/>
                </a:lnTo>
                <a:lnTo>
                  <a:pt x="220154" y="7913"/>
                </a:lnTo>
                <a:lnTo>
                  <a:pt x="202237" y="6163"/>
                </a:lnTo>
                <a:lnTo>
                  <a:pt x="184309" y="5275"/>
                </a:lnTo>
                <a:lnTo>
                  <a:pt x="167244" y="5275"/>
                </a:lnTo>
                <a:lnTo>
                  <a:pt x="151894" y="9676"/>
                </a:lnTo>
                <a:lnTo>
                  <a:pt x="137383" y="18465"/>
                </a:lnTo>
                <a:lnTo>
                  <a:pt x="125439" y="32518"/>
                </a:lnTo>
                <a:lnTo>
                  <a:pt x="166393" y="32518"/>
                </a:lnTo>
                <a:lnTo>
                  <a:pt x="175782" y="51859"/>
                </a:lnTo>
                <a:lnTo>
                  <a:pt x="184309" y="75589"/>
                </a:lnTo>
                <a:lnTo>
                  <a:pt x="189430" y="95805"/>
                </a:lnTo>
                <a:lnTo>
                  <a:pt x="191145" y="103719"/>
                </a:lnTo>
                <a:lnTo>
                  <a:pt x="185172" y="104594"/>
                </a:lnTo>
                <a:lnTo>
                  <a:pt x="178337" y="105470"/>
                </a:lnTo>
                <a:lnTo>
                  <a:pt x="168959" y="106345"/>
                </a:lnTo>
                <a:lnTo>
                  <a:pt x="159569" y="107232"/>
                </a:lnTo>
                <a:lnTo>
                  <a:pt x="148476" y="108108"/>
                </a:lnTo>
                <a:lnTo>
                  <a:pt x="137383" y="108108"/>
                </a:lnTo>
                <a:lnTo>
                  <a:pt x="126290" y="108983"/>
                </a:lnTo>
                <a:lnTo>
                  <a:pt x="91309" y="108983"/>
                </a:lnTo>
                <a:lnTo>
                  <a:pt x="81067" y="108108"/>
                </a:lnTo>
                <a:lnTo>
                  <a:pt x="70826" y="108108"/>
                </a:lnTo>
                <a:lnTo>
                  <a:pt x="62288" y="107232"/>
                </a:lnTo>
                <a:lnTo>
                  <a:pt x="54611" y="105470"/>
                </a:lnTo>
                <a:lnTo>
                  <a:pt x="48638" y="104594"/>
                </a:lnTo>
                <a:lnTo>
                  <a:pt x="44371" y="102832"/>
                </a:lnTo>
                <a:lnTo>
                  <a:pt x="56315" y="43070"/>
                </a:lnTo>
                <a:lnTo>
                  <a:pt x="58882" y="36919"/>
                </a:lnTo>
                <a:lnTo>
                  <a:pt x="64002" y="32518"/>
                </a:lnTo>
                <a:lnTo>
                  <a:pt x="70826" y="30768"/>
                </a:lnTo>
                <a:lnTo>
                  <a:pt x="78501" y="31643"/>
                </a:lnTo>
                <a:lnTo>
                  <a:pt x="82770" y="28130"/>
                </a:lnTo>
                <a:lnTo>
                  <a:pt x="86188" y="22854"/>
                </a:lnTo>
                <a:lnTo>
                  <a:pt x="88742" y="15827"/>
                </a:lnTo>
                <a:lnTo>
                  <a:pt x="91309" y="10551"/>
                </a:lnTo>
                <a:lnTo>
                  <a:pt x="853" y="8789"/>
                </a:lnTo>
                <a:lnTo>
                  <a:pt x="0" y="266313"/>
                </a:lnTo>
                <a:lnTo>
                  <a:pt x="124587" y="130074"/>
                </a:lnTo>
                <a:lnTo>
                  <a:pt x="138235" y="129199"/>
                </a:lnTo>
                <a:lnTo>
                  <a:pt x="151894" y="127449"/>
                </a:lnTo>
                <a:lnTo>
                  <a:pt x="165541" y="127449"/>
                </a:lnTo>
                <a:lnTo>
                  <a:pt x="179188" y="126561"/>
                </a:lnTo>
                <a:lnTo>
                  <a:pt x="262822" y="126561"/>
                </a:lnTo>
                <a:lnTo>
                  <a:pt x="276470" y="127449"/>
                </a:lnTo>
                <a:lnTo>
                  <a:pt x="303776" y="127449"/>
                </a:lnTo>
                <a:lnTo>
                  <a:pt x="317424" y="126561"/>
                </a:lnTo>
                <a:lnTo>
                  <a:pt x="331083" y="126561"/>
                </a:lnTo>
                <a:lnTo>
                  <a:pt x="343879" y="125686"/>
                </a:lnTo>
                <a:lnTo>
                  <a:pt x="343027" y="136238"/>
                </a:lnTo>
                <a:lnTo>
                  <a:pt x="340473" y="146778"/>
                </a:lnTo>
                <a:lnTo>
                  <a:pt x="337055" y="156442"/>
                </a:lnTo>
                <a:lnTo>
                  <a:pt x="333637" y="166994"/>
                </a:lnTo>
                <a:lnTo>
                  <a:pt x="329380" y="177534"/>
                </a:lnTo>
                <a:lnTo>
                  <a:pt x="325110" y="187210"/>
                </a:lnTo>
                <a:lnTo>
                  <a:pt x="321693" y="197750"/>
                </a:lnTo>
                <a:lnTo>
                  <a:pt x="318287" y="208302"/>
                </a:lnTo>
                <a:lnTo>
                  <a:pt x="386547" y="358589"/>
                </a:lnTo>
                <a:lnTo>
                  <a:pt x="381426" y="362105"/>
                </a:lnTo>
                <a:lnTo>
                  <a:pt x="376306" y="364742"/>
                </a:lnTo>
                <a:lnTo>
                  <a:pt x="370333" y="365621"/>
                </a:lnTo>
                <a:lnTo>
                  <a:pt x="364361" y="366500"/>
                </a:lnTo>
                <a:lnTo>
                  <a:pt x="358389" y="367379"/>
                </a:lnTo>
                <a:lnTo>
                  <a:pt x="352417" y="368257"/>
                </a:lnTo>
                <a:lnTo>
                  <a:pt x="346445" y="369136"/>
                </a:lnTo>
                <a:lnTo>
                  <a:pt x="340473" y="370015"/>
                </a:lnTo>
                <a:lnTo>
                  <a:pt x="360092" y="416597"/>
                </a:lnTo>
                <a:lnTo>
                  <a:pt x="961673" y="415718"/>
                </a:lnTo>
                <a:lnTo>
                  <a:pt x="954850" y="405171"/>
                </a:lnTo>
                <a:lnTo>
                  <a:pt x="948026" y="394624"/>
                </a:lnTo>
                <a:lnTo>
                  <a:pt x="942054" y="384078"/>
                </a:lnTo>
                <a:lnTo>
                  <a:pt x="936070" y="373531"/>
                </a:lnTo>
                <a:lnTo>
                  <a:pt x="930098" y="363863"/>
                </a:lnTo>
                <a:lnTo>
                  <a:pt x="924126" y="353317"/>
                </a:lnTo>
                <a:lnTo>
                  <a:pt x="918153" y="342765"/>
                </a:lnTo>
                <a:lnTo>
                  <a:pt x="912181" y="332225"/>
                </a:lnTo>
                <a:lnTo>
                  <a:pt x="907912" y="335739"/>
                </a:lnTo>
                <a:lnTo>
                  <a:pt x="903655" y="338377"/>
                </a:lnTo>
                <a:lnTo>
                  <a:pt x="899385" y="340127"/>
                </a:lnTo>
                <a:lnTo>
                  <a:pt x="895116" y="341890"/>
                </a:lnTo>
                <a:lnTo>
                  <a:pt x="889995" y="343653"/>
                </a:lnTo>
                <a:lnTo>
                  <a:pt x="880606" y="343653"/>
                </a:lnTo>
                <a:lnTo>
                  <a:pt x="876348" y="342765"/>
                </a:lnTo>
                <a:lnTo>
                  <a:pt x="877200" y="354192"/>
                </a:lnTo>
                <a:lnTo>
                  <a:pt x="876348" y="366500"/>
                </a:lnTo>
                <a:lnTo>
                  <a:pt x="874633" y="378804"/>
                </a:lnTo>
                <a:lnTo>
                  <a:pt x="871227" y="390229"/>
                </a:lnTo>
                <a:lnTo>
                  <a:pt x="558061" y="404292"/>
                </a:lnTo>
                <a:lnTo>
                  <a:pt x="549522" y="397260"/>
                </a:lnTo>
                <a:lnTo>
                  <a:pt x="538429" y="384957"/>
                </a:lnTo>
                <a:lnTo>
                  <a:pt x="524782" y="368257"/>
                </a:lnTo>
                <a:lnTo>
                  <a:pt x="511135" y="349804"/>
                </a:lnTo>
                <a:lnTo>
                  <a:pt x="498327" y="329587"/>
                </a:lnTo>
                <a:lnTo>
                  <a:pt x="487234" y="310246"/>
                </a:lnTo>
                <a:lnTo>
                  <a:pt x="478708" y="293556"/>
                </a:lnTo>
                <a:lnTo>
                  <a:pt x="474439" y="279490"/>
                </a:lnTo>
                <a:lnTo>
                  <a:pt x="472736" y="261912"/>
                </a:lnTo>
                <a:lnTo>
                  <a:pt x="471872" y="243458"/>
                </a:lnTo>
                <a:lnTo>
                  <a:pt x="473587" y="226755"/>
                </a:lnTo>
                <a:lnTo>
                  <a:pt x="480411" y="211815"/>
                </a:lnTo>
                <a:lnTo>
                  <a:pt x="722751" y="227631"/>
                </a:lnTo>
                <a:lnTo>
                  <a:pt x="736398" y="215328"/>
                </a:lnTo>
                <a:lnTo>
                  <a:pt x="730426" y="208302"/>
                </a:lnTo>
                <a:lnTo>
                  <a:pt x="726157" y="200388"/>
                </a:lnTo>
                <a:lnTo>
                  <a:pt x="724454" y="190723"/>
                </a:lnTo>
                <a:close/>
              </a:path>
            </a:pathLst>
          </a:custGeom>
          <a:solidFill>
            <a:srgbClr val="A8B97B"/>
          </a:solidFill>
        </p:spPr>
        <p:txBody>
          <a:bodyPr wrap="square" lIns="0" tIns="0" rIns="0" bIns="0" rtlCol="0">
            <a:noAutofit/>
          </a:bodyPr>
          <a:lstStyle/>
          <a:p>
            <a:endParaRPr/>
          </a:p>
        </p:txBody>
      </p:sp>
      <p:sp>
        <p:nvSpPr>
          <p:cNvPr id="36" name="object 36"/>
          <p:cNvSpPr/>
          <p:nvPr/>
        </p:nvSpPr>
        <p:spPr>
          <a:xfrm>
            <a:off x="8853123" y="954341"/>
            <a:ext cx="35833" cy="40432"/>
          </a:xfrm>
          <a:custGeom>
            <a:avLst/>
            <a:gdLst/>
            <a:ahLst/>
            <a:cxnLst/>
            <a:rect l="l" t="t" r="r" b="b"/>
            <a:pathLst>
              <a:path w="35833" h="40432">
                <a:moveTo>
                  <a:pt x="35833" y="4400"/>
                </a:moveTo>
                <a:lnTo>
                  <a:pt x="27306" y="0"/>
                </a:lnTo>
                <a:lnTo>
                  <a:pt x="20470" y="875"/>
                </a:lnTo>
                <a:lnTo>
                  <a:pt x="15350" y="4400"/>
                </a:lnTo>
                <a:lnTo>
                  <a:pt x="11944" y="11427"/>
                </a:lnTo>
                <a:lnTo>
                  <a:pt x="8526" y="19341"/>
                </a:lnTo>
                <a:lnTo>
                  <a:pt x="5972" y="27242"/>
                </a:lnTo>
                <a:lnTo>
                  <a:pt x="3405" y="34281"/>
                </a:lnTo>
                <a:lnTo>
                  <a:pt x="0" y="40432"/>
                </a:lnTo>
                <a:lnTo>
                  <a:pt x="6823" y="36919"/>
                </a:lnTo>
                <a:lnTo>
                  <a:pt x="12795" y="33394"/>
                </a:lnTo>
                <a:lnTo>
                  <a:pt x="18768" y="30756"/>
                </a:lnTo>
                <a:lnTo>
                  <a:pt x="23888" y="26367"/>
                </a:lnTo>
                <a:lnTo>
                  <a:pt x="28157" y="22854"/>
                </a:lnTo>
                <a:lnTo>
                  <a:pt x="32427" y="17578"/>
                </a:lnTo>
                <a:lnTo>
                  <a:pt x="34130" y="11427"/>
                </a:lnTo>
                <a:lnTo>
                  <a:pt x="35833" y="4400"/>
                </a:lnTo>
                <a:close/>
              </a:path>
            </a:pathLst>
          </a:custGeom>
          <a:solidFill>
            <a:srgbClr val="FFEE7B"/>
          </a:solidFill>
        </p:spPr>
        <p:txBody>
          <a:bodyPr wrap="square" lIns="0" tIns="0" rIns="0" bIns="0" rtlCol="0">
            <a:noAutofit/>
          </a:bodyPr>
          <a:lstStyle/>
          <a:p>
            <a:endParaRPr/>
          </a:p>
        </p:txBody>
      </p:sp>
      <p:sp>
        <p:nvSpPr>
          <p:cNvPr id="37" name="object 37"/>
          <p:cNvSpPr/>
          <p:nvPr/>
        </p:nvSpPr>
        <p:spPr>
          <a:xfrm>
            <a:off x="9482010" y="1134513"/>
            <a:ext cx="278173" cy="161718"/>
          </a:xfrm>
          <a:custGeom>
            <a:avLst/>
            <a:gdLst/>
            <a:ahLst/>
            <a:cxnLst/>
            <a:rect l="l" t="t" r="r" b="b"/>
            <a:pathLst>
              <a:path w="278173" h="161718">
                <a:moveTo>
                  <a:pt x="115186" y="70313"/>
                </a:moveTo>
                <a:lnTo>
                  <a:pt x="121158" y="65037"/>
                </a:lnTo>
                <a:lnTo>
                  <a:pt x="127993" y="61524"/>
                </a:lnTo>
                <a:lnTo>
                  <a:pt x="128845" y="70313"/>
                </a:lnTo>
                <a:lnTo>
                  <a:pt x="126278" y="79102"/>
                </a:lnTo>
                <a:lnTo>
                  <a:pt x="121158" y="86129"/>
                </a:lnTo>
                <a:lnTo>
                  <a:pt x="115186" y="93167"/>
                </a:lnTo>
                <a:lnTo>
                  <a:pt x="108362" y="99318"/>
                </a:lnTo>
                <a:lnTo>
                  <a:pt x="103241" y="106345"/>
                </a:lnTo>
                <a:lnTo>
                  <a:pt x="100687" y="114259"/>
                </a:lnTo>
                <a:lnTo>
                  <a:pt x="101538" y="123048"/>
                </a:lnTo>
                <a:lnTo>
                  <a:pt x="107510" y="123048"/>
                </a:lnTo>
                <a:lnTo>
                  <a:pt x="111780" y="121285"/>
                </a:lnTo>
                <a:lnTo>
                  <a:pt x="116900" y="117772"/>
                </a:lnTo>
                <a:lnTo>
                  <a:pt x="120306" y="112496"/>
                </a:lnTo>
                <a:lnTo>
                  <a:pt x="124576" y="106345"/>
                </a:lnTo>
                <a:lnTo>
                  <a:pt x="127993" y="100194"/>
                </a:lnTo>
                <a:lnTo>
                  <a:pt x="132251" y="94918"/>
                </a:lnTo>
                <a:lnTo>
                  <a:pt x="136520" y="89642"/>
                </a:lnTo>
                <a:lnTo>
                  <a:pt x="144207" y="94918"/>
                </a:lnTo>
                <a:lnTo>
                  <a:pt x="145910" y="101069"/>
                </a:lnTo>
                <a:lnTo>
                  <a:pt x="144207" y="107220"/>
                </a:lnTo>
                <a:lnTo>
                  <a:pt x="140789" y="115134"/>
                </a:lnTo>
                <a:lnTo>
                  <a:pt x="135668" y="123048"/>
                </a:lnTo>
                <a:lnTo>
                  <a:pt x="130548" y="130950"/>
                </a:lnTo>
                <a:lnTo>
                  <a:pt x="127142" y="139739"/>
                </a:lnTo>
                <a:lnTo>
                  <a:pt x="127142" y="147653"/>
                </a:lnTo>
                <a:lnTo>
                  <a:pt x="128845" y="151166"/>
                </a:lnTo>
                <a:lnTo>
                  <a:pt x="131399" y="153804"/>
                </a:lnTo>
                <a:lnTo>
                  <a:pt x="134817" y="156442"/>
                </a:lnTo>
                <a:lnTo>
                  <a:pt x="138235" y="159080"/>
                </a:lnTo>
                <a:lnTo>
                  <a:pt x="141641" y="160830"/>
                </a:lnTo>
                <a:lnTo>
                  <a:pt x="145910" y="161718"/>
                </a:lnTo>
                <a:lnTo>
                  <a:pt x="150179" y="161718"/>
                </a:lnTo>
                <a:lnTo>
                  <a:pt x="154448" y="160830"/>
                </a:lnTo>
                <a:lnTo>
                  <a:pt x="158706" y="159080"/>
                </a:lnTo>
                <a:lnTo>
                  <a:pt x="162975" y="155567"/>
                </a:lnTo>
                <a:lnTo>
                  <a:pt x="166393" y="150291"/>
                </a:lnTo>
                <a:lnTo>
                  <a:pt x="168096" y="145015"/>
                </a:lnTo>
                <a:lnTo>
                  <a:pt x="163826" y="146778"/>
                </a:lnTo>
                <a:lnTo>
                  <a:pt x="159557" y="150291"/>
                </a:lnTo>
                <a:lnTo>
                  <a:pt x="155300" y="152041"/>
                </a:lnTo>
                <a:lnTo>
                  <a:pt x="150179" y="151166"/>
                </a:lnTo>
                <a:lnTo>
                  <a:pt x="147613" y="147653"/>
                </a:lnTo>
                <a:lnTo>
                  <a:pt x="147613" y="138864"/>
                </a:lnTo>
                <a:lnTo>
                  <a:pt x="146761" y="135350"/>
                </a:lnTo>
                <a:lnTo>
                  <a:pt x="162975" y="129199"/>
                </a:lnTo>
                <a:lnTo>
                  <a:pt x="180040" y="126561"/>
                </a:lnTo>
                <a:lnTo>
                  <a:pt x="197105" y="125686"/>
                </a:lnTo>
                <a:lnTo>
                  <a:pt x="230384" y="125686"/>
                </a:lnTo>
                <a:lnTo>
                  <a:pt x="245746" y="124798"/>
                </a:lnTo>
                <a:lnTo>
                  <a:pt x="261108" y="120410"/>
                </a:lnTo>
                <a:lnTo>
                  <a:pt x="274755" y="111621"/>
                </a:lnTo>
                <a:lnTo>
                  <a:pt x="278173" y="95793"/>
                </a:lnTo>
                <a:lnTo>
                  <a:pt x="278173" y="79977"/>
                </a:lnTo>
                <a:lnTo>
                  <a:pt x="275606" y="64162"/>
                </a:lnTo>
                <a:lnTo>
                  <a:pt x="272201" y="49221"/>
                </a:lnTo>
                <a:lnTo>
                  <a:pt x="262811" y="43945"/>
                </a:lnTo>
                <a:lnTo>
                  <a:pt x="253421" y="40432"/>
                </a:lnTo>
                <a:lnTo>
                  <a:pt x="244043" y="36031"/>
                </a:lnTo>
                <a:lnTo>
                  <a:pt x="233801" y="33394"/>
                </a:lnTo>
                <a:lnTo>
                  <a:pt x="223560" y="29880"/>
                </a:lnTo>
                <a:lnTo>
                  <a:pt x="214170" y="27242"/>
                </a:lnTo>
                <a:lnTo>
                  <a:pt x="203929" y="23729"/>
                </a:lnTo>
                <a:lnTo>
                  <a:pt x="193699" y="20216"/>
                </a:lnTo>
                <a:lnTo>
                  <a:pt x="181743" y="16703"/>
                </a:lnTo>
                <a:lnTo>
                  <a:pt x="169798" y="13177"/>
                </a:lnTo>
                <a:lnTo>
                  <a:pt x="157854" y="9664"/>
                </a:lnTo>
                <a:lnTo>
                  <a:pt x="145058" y="6151"/>
                </a:lnTo>
                <a:lnTo>
                  <a:pt x="132251" y="3513"/>
                </a:lnTo>
                <a:lnTo>
                  <a:pt x="120306" y="1762"/>
                </a:lnTo>
                <a:lnTo>
                  <a:pt x="108362" y="0"/>
                </a:lnTo>
                <a:lnTo>
                  <a:pt x="96418" y="0"/>
                </a:lnTo>
                <a:lnTo>
                  <a:pt x="0" y="85253"/>
                </a:lnTo>
                <a:lnTo>
                  <a:pt x="5108" y="87891"/>
                </a:lnTo>
                <a:lnTo>
                  <a:pt x="10229" y="88767"/>
                </a:lnTo>
                <a:lnTo>
                  <a:pt x="16201" y="88767"/>
                </a:lnTo>
                <a:lnTo>
                  <a:pt x="21322" y="87891"/>
                </a:lnTo>
                <a:lnTo>
                  <a:pt x="26443" y="86129"/>
                </a:lnTo>
                <a:lnTo>
                  <a:pt x="31563" y="85253"/>
                </a:lnTo>
                <a:lnTo>
                  <a:pt x="36684" y="83491"/>
                </a:lnTo>
                <a:lnTo>
                  <a:pt x="41805" y="81740"/>
                </a:lnTo>
                <a:lnTo>
                  <a:pt x="51195" y="75589"/>
                </a:lnTo>
                <a:lnTo>
                  <a:pt x="59721" y="69438"/>
                </a:lnTo>
                <a:lnTo>
                  <a:pt x="68260" y="62399"/>
                </a:lnTo>
                <a:lnTo>
                  <a:pt x="76786" y="54485"/>
                </a:lnTo>
                <a:lnTo>
                  <a:pt x="85325" y="48334"/>
                </a:lnTo>
                <a:lnTo>
                  <a:pt x="94715" y="41307"/>
                </a:lnTo>
                <a:lnTo>
                  <a:pt x="104093" y="36031"/>
                </a:lnTo>
                <a:lnTo>
                  <a:pt x="113483" y="30756"/>
                </a:lnTo>
                <a:lnTo>
                  <a:pt x="116049" y="33394"/>
                </a:lnTo>
                <a:lnTo>
                  <a:pt x="116900" y="36919"/>
                </a:lnTo>
                <a:lnTo>
                  <a:pt x="116900" y="39545"/>
                </a:lnTo>
                <a:lnTo>
                  <a:pt x="116049" y="43070"/>
                </a:lnTo>
                <a:lnTo>
                  <a:pt x="108362" y="48334"/>
                </a:lnTo>
                <a:lnTo>
                  <a:pt x="100687" y="54485"/>
                </a:lnTo>
                <a:lnTo>
                  <a:pt x="93863" y="60648"/>
                </a:lnTo>
                <a:lnTo>
                  <a:pt x="87879" y="67675"/>
                </a:lnTo>
                <a:lnTo>
                  <a:pt x="82770" y="75589"/>
                </a:lnTo>
                <a:lnTo>
                  <a:pt x="78501" y="82615"/>
                </a:lnTo>
                <a:lnTo>
                  <a:pt x="75083" y="90529"/>
                </a:lnTo>
                <a:lnTo>
                  <a:pt x="74232" y="99318"/>
                </a:lnTo>
                <a:lnTo>
                  <a:pt x="82770" y="98431"/>
                </a:lnTo>
                <a:lnTo>
                  <a:pt x="90445" y="95793"/>
                </a:lnTo>
                <a:lnTo>
                  <a:pt x="97269" y="90529"/>
                </a:lnTo>
                <a:lnTo>
                  <a:pt x="103241" y="83491"/>
                </a:lnTo>
                <a:lnTo>
                  <a:pt x="109213" y="76464"/>
                </a:lnTo>
                <a:lnTo>
                  <a:pt x="115186" y="70313"/>
                </a:lnTo>
                <a:close/>
              </a:path>
            </a:pathLst>
          </a:custGeom>
          <a:solidFill>
            <a:srgbClr val="F1CCB1"/>
          </a:solidFill>
        </p:spPr>
        <p:txBody>
          <a:bodyPr wrap="square" lIns="0" tIns="0" rIns="0" bIns="0" rtlCol="0">
            <a:noAutofit/>
          </a:bodyPr>
          <a:lstStyle/>
          <a:p>
            <a:endParaRPr/>
          </a:p>
        </p:txBody>
      </p:sp>
      <p:sp>
        <p:nvSpPr>
          <p:cNvPr id="38" name="object 38"/>
          <p:cNvSpPr/>
          <p:nvPr/>
        </p:nvSpPr>
        <p:spPr>
          <a:xfrm>
            <a:off x="9495657" y="1152093"/>
            <a:ext cx="36696" cy="21091"/>
          </a:xfrm>
          <a:custGeom>
            <a:avLst/>
            <a:gdLst/>
            <a:ahLst/>
            <a:cxnLst/>
            <a:rect l="l" t="t" r="r" b="b"/>
            <a:pathLst>
              <a:path w="36696" h="21091">
                <a:moveTo>
                  <a:pt x="36696" y="0"/>
                </a:moveTo>
                <a:lnTo>
                  <a:pt x="28157" y="0"/>
                </a:lnTo>
                <a:lnTo>
                  <a:pt x="23037" y="875"/>
                </a:lnTo>
                <a:lnTo>
                  <a:pt x="17916" y="1762"/>
                </a:lnTo>
                <a:lnTo>
                  <a:pt x="12795" y="2637"/>
                </a:lnTo>
                <a:lnTo>
                  <a:pt x="7675" y="3513"/>
                </a:lnTo>
                <a:lnTo>
                  <a:pt x="3417" y="5275"/>
                </a:lnTo>
                <a:lnTo>
                  <a:pt x="0" y="6151"/>
                </a:lnTo>
                <a:lnTo>
                  <a:pt x="6823" y="21091"/>
                </a:lnTo>
                <a:lnTo>
                  <a:pt x="36696" y="0"/>
                </a:lnTo>
                <a:close/>
              </a:path>
            </a:pathLst>
          </a:custGeom>
          <a:solidFill>
            <a:srgbClr val="F1CCB1"/>
          </a:solidFill>
        </p:spPr>
        <p:txBody>
          <a:bodyPr wrap="square" lIns="0" tIns="0" rIns="0" bIns="0" rtlCol="0">
            <a:noAutofit/>
          </a:bodyPr>
          <a:lstStyle/>
          <a:p>
            <a:endParaRPr/>
          </a:p>
        </p:txBody>
      </p:sp>
      <p:sp>
        <p:nvSpPr>
          <p:cNvPr id="39" name="object 39"/>
          <p:cNvSpPr/>
          <p:nvPr/>
        </p:nvSpPr>
        <p:spPr>
          <a:xfrm>
            <a:off x="8720003" y="1123087"/>
            <a:ext cx="313159" cy="178421"/>
          </a:xfrm>
          <a:custGeom>
            <a:avLst/>
            <a:gdLst/>
            <a:ahLst/>
            <a:cxnLst/>
            <a:rect l="l" t="t" r="r" b="b"/>
            <a:pathLst>
              <a:path w="313159" h="178421">
                <a:moveTo>
                  <a:pt x="204797" y="91404"/>
                </a:moveTo>
                <a:lnTo>
                  <a:pt x="196258" y="78227"/>
                </a:lnTo>
                <a:lnTo>
                  <a:pt x="186868" y="65037"/>
                </a:lnTo>
                <a:lnTo>
                  <a:pt x="190286" y="63286"/>
                </a:lnTo>
                <a:lnTo>
                  <a:pt x="200527" y="57123"/>
                </a:lnTo>
                <a:lnTo>
                  <a:pt x="215889" y="49221"/>
                </a:lnTo>
                <a:lnTo>
                  <a:pt x="233806" y="38669"/>
                </a:lnTo>
                <a:lnTo>
                  <a:pt x="254289" y="28130"/>
                </a:lnTo>
                <a:lnTo>
                  <a:pt x="275611" y="17578"/>
                </a:lnTo>
                <a:lnTo>
                  <a:pt x="295243" y="7913"/>
                </a:lnTo>
                <a:lnTo>
                  <a:pt x="313159" y="875"/>
                </a:lnTo>
                <a:lnTo>
                  <a:pt x="162128" y="0"/>
                </a:lnTo>
                <a:lnTo>
                  <a:pt x="0" y="178421"/>
                </a:lnTo>
                <a:lnTo>
                  <a:pt x="3413" y="178421"/>
                </a:lnTo>
                <a:lnTo>
                  <a:pt x="11946" y="177534"/>
                </a:lnTo>
                <a:lnTo>
                  <a:pt x="25598" y="177534"/>
                </a:lnTo>
                <a:lnTo>
                  <a:pt x="41812" y="176658"/>
                </a:lnTo>
                <a:lnTo>
                  <a:pt x="61437" y="176658"/>
                </a:lnTo>
                <a:lnTo>
                  <a:pt x="83623" y="175783"/>
                </a:lnTo>
                <a:lnTo>
                  <a:pt x="106664" y="175783"/>
                </a:lnTo>
                <a:lnTo>
                  <a:pt x="131404" y="174896"/>
                </a:lnTo>
                <a:lnTo>
                  <a:pt x="155304" y="174896"/>
                </a:lnTo>
                <a:lnTo>
                  <a:pt x="178342" y="174020"/>
                </a:lnTo>
                <a:lnTo>
                  <a:pt x="199676" y="173145"/>
                </a:lnTo>
                <a:lnTo>
                  <a:pt x="235509" y="173145"/>
                </a:lnTo>
                <a:lnTo>
                  <a:pt x="248317" y="172258"/>
                </a:lnTo>
                <a:lnTo>
                  <a:pt x="259409" y="172258"/>
                </a:lnTo>
                <a:lnTo>
                  <a:pt x="249168" y="159080"/>
                </a:lnTo>
                <a:lnTo>
                  <a:pt x="239778" y="145902"/>
                </a:lnTo>
                <a:lnTo>
                  <a:pt x="231240" y="131837"/>
                </a:lnTo>
                <a:lnTo>
                  <a:pt x="221862" y="118647"/>
                </a:lnTo>
                <a:lnTo>
                  <a:pt x="213323" y="105470"/>
                </a:lnTo>
                <a:lnTo>
                  <a:pt x="204797" y="91404"/>
                </a:lnTo>
                <a:close/>
              </a:path>
            </a:pathLst>
          </a:custGeom>
          <a:solidFill>
            <a:srgbClr val="B9E8FF"/>
          </a:solidFill>
        </p:spPr>
        <p:txBody>
          <a:bodyPr wrap="square" lIns="0" tIns="0" rIns="0" bIns="0" rtlCol="0">
            <a:noAutofit/>
          </a:bodyPr>
          <a:lstStyle/>
          <a:p>
            <a:endParaRPr/>
          </a:p>
        </p:txBody>
      </p:sp>
      <p:sp>
        <p:nvSpPr>
          <p:cNvPr id="40" name="object 40"/>
          <p:cNvSpPr/>
          <p:nvPr/>
        </p:nvSpPr>
        <p:spPr>
          <a:xfrm>
            <a:off x="8936745" y="1129238"/>
            <a:ext cx="122021" cy="152053"/>
          </a:xfrm>
          <a:custGeom>
            <a:avLst/>
            <a:gdLst/>
            <a:ahLst/>
            <a:cxnLst/>
            <a:rect l="l" t="t" r="r" b="b"/>
            <a:pathLst>
              <a:path w="122021" h="152053">
                <a:moveTo>
                  <a:pt x="63139" y="148528"/>
                </a:moveTo>
                <a:lnTo>
                  <a:pt x="122021" y="0"/>
                </a:lnTo>
                <a:lnTo>
                  <a:pt x="0" y="61524"/>
                </a:lnTo>
                <a:lnTo>
                  <a:pt x="59733" y="152053"/>
                </a:lnTo>
                <a:lnTo>
                  <a:pt x="61436" y="151166"/>
                </a:lnTo>
                <a:lnTo>
                  <a:pt x="63139" y="148528"/>
                </a:lnTo>
                <a:close/>
              </a:path>
            </a:pathLst>
          </a:custGeom>
          <a:solidFill>
            <a:srgbClr val="B9E8FF"/>
          </a:solidFill>
        </p:spPr>
        <p:txBody>
          <a:bodyPr wrap="square" lIns="0" tIns="0" rIns="0" bIns="0" rtlCol="0">
            <a:noAutofit/>
          </a:bodyPr>
          <a:lstStyle/>
          <a:p>
            <a:endParaRPr/>
          </a:p>
        </p:txBody>
      </p:sp>
      <p:sp>
        <p:nvSpPr>
          <p:cNvPr id="41" name="object 41"/>
          <p:cNvSpPr/>
          <p:nvPr/>
        </p:nvSpPr>
        <p:spPr>
          <a:xfrm>
            <a:off x="9245641" y="1202190"/>
            <a:ext cx="347296" cy="101069"/>
          </a:xfrm>
          <a:custGeom>
            <a:avLst/>
            <a:gdLst/>
            <a:ahLst/>
            <a:cxnLst/>
            <a:rect l="l" t="t" r="r" b="b"/>
            <a:pathLst>
              <a:path w="347296" h="101069">
                <a:moveTo>
                  <a:pt x="186875" y="33394"/>
                </a:moveTo>
                <a:lnTo>
                  <a:pt x="183458" y="32518"/>
                </a:lnTo>
                <a:lnTo>
                  <a:pt x="185161" y="28118"/>
                </a:lnTo>
                <a:lnTo>
                  <a:pt x="187727" y="25492"/>
                </a:lnTo>
                <a:lnTo>
                  <a:pt x="191996" y="24604"/>
                </a:lnTo>
                <a:lnTo>
                  <a:pt x="200523" y="24604"/>
                </a:lnTo>
                <a:lnTo>
                  <a:pt x="203089" y="23729"/>
                </a:lnTo>
                <a:lnTo>
                  <a:pt x="204792" y="21091"/>
                </a:lnTo>
                <a:lnTo>
                  <a:pt x="203940" y="16703"/>
                </a:lnTo>
                <a:lnTo>
                  <a:pt x="191133" y="14940"/>
                </a:lnTo>
                <a:lnTo>
                  <a:pt x="178337" y="14065"/>
                </a:lnTo>
                <a:lnTo>
                  <a:pt x="164690" y="12302"/>
                </a:lnTo>
                <a:lnTo>
                  <a:pt x="151882" y="11427"/>
                </a:lnTo>
                <a:lnTo>
                  <a:pt x="139086" y="10539"/>
                </a:lnTo>
                <a:lnTo>
                  <a:pt x="126290" y="9664"/>
                </a:lnTo>
                <a:lnTo>
                  <a:pt x="113483" y="8789"/>
                </a:lnTo>
                <a:lnTo>
                  <a:pt x="100687" y="7913"/>
                </a:lnTo>
                <a:lnTo>
                  <a:pt x="87891" y="7913"/>
                </a:lnTo>
                <a:lnTo>
                  <a:pt x="75083" y="7026"/>
                </a:lnTo>
                <a:lnTo>
                  <a:pt x="62288" y="6151"/>
                </a:lnTo>
                <a:lnTo>
                  <a:pt x="49492" y="5275"/>
                </a:lnTo>
                <a:lnTo>
                  <a:pt x="37547" y="4388"/>
                </a:lnTo>
                <a:lnTo>
                  <a:pt x="24740" y="2637"/>
                </a:lnTo>
                <a:lnTo>
                  <a:pt x="11944" y="1762"/>
                </a:lnTo>
                <a:lnTo>
                  <a:pt x="0" y="0"/>
                </a:lnTo>
                <a:lnTo>
                  <a:pt x="47777" y="74701"/>
                </a:lnTo>
                <a:lnTo>
                  <a:pt x="347296" y="101069"/>
                </a:lnTo>
                <a:lnTo>
                  <a:pt x="346433" y="94042"/>
                </a:lnTo>
                <a:lnTo>
                  <a:pt x="343879" y="89642"/>
                </a:lnTo>
                <a:lnTo>
                  <a:pt x="340461" y="85253"/>
                </a:lnTo>
                <a:lnTo>
                  <a:pt x="335340" y="81740"/>
                </a:lnTo>
                <a:lnTo>
                  <a:pt x="331083" y="78215"/>
                </a:lnTo>
                <a:lnTo>
                  <a:pt x="326813" y="73826"/>
                </a:lnTo>
                <a:lnTo>
                  <a:pt x="323396" y="68550"/>
                </a:lnTo>
                <a:lnTo>
                  <a:pt x="320841" y="62399"/>
                </a:lnTo>
                <a:lnTo>
                  <a:pt x="314869" y="60636"/>
                </a:lnTo>
                <a:lnTo>
                  <a:pt x="308897" y="58010"/>
                </a:lnTo>
                <a:lnTo>
                  <a:pt x="303776" y="54485"/>
                </a:lnTo>
                <a:lnTo>
                  <a:pt x="298656" y="50972"/>
                </a:lnTo>
                <a:lnTo>
                  <a:pt x="293535" y="46583"/>
                </a:lnTo>
                <a:lnTo>
                  <a:pt x="290117" y="41307"/>
                </a:lnTo>
                <a:lnTo>
                  <a:pt x="285860" y="36031"/>
                </a:lnTo>
                <a:lnTo>
                  <a:pt x="283293" y="29880"/>
                </a:lnTo>
                <a:lnTo>
                  <a:pt x="274755" y="35156"/>
                </a:lnTo>
                <a:lnTo>
                  <a:pt x="266228" y="39545"/>
                </a:lnTo>
                <a:lnTo>
                  <a:pt x="256838" y="42183"/>
                </a:lnTo>
                <a:lnTo>
                  <a:pt x="247460" y="43070"/>
                </a:lnTo>
                <a:lnTo>
                  <a:pt x="237219" y="43945"/>
                </a:lnTo>
                <a:lnTo>
                  <a:pt x="227829" y="43070"/>
                </a:lnTo>
                <a:lnTo>
                  <a:pt x="218439" y="42183"/>
                </a:lnTo>
                <a:lnTo>
                  <a:pt x="209913" y="40432"/>
                </a:lnTo>
                <a:lnTo>
                  <a:pt x="205643" y="44821"/>
                </a:lnTo>
                <a:lnTo>
                  <a:pt x="202226" y="45696"/>
                </a:lnTo>
                <a:lnTo>
                  <a:pt x="198820" y="44821"/>
                </a:lnTo>
                <a:lnTo>
                  <a:pt x="196253" y="42183"/>
                </a:lnTo>
                <a:lnTo>
                  <a:pt x="192848" y="39545"/>
                </a:lnTo>
                <a:lnTo>
                  <a:pt x="190281" y="36031"/>
                </a:lnTo>
                <a:lnTo>
                  <a:pt x="186875" y="33394"/>
                </a:lnTo>
                <a:close/>
              </a:path>
            </a:pathLst>
          </a:custGeom>
          <a:solidFill>
            <a:srgbClr val="D7D7D7"/>
          </a:solidFill>
        </p:spPr>
        <p:txBody>
          <a:bodyPr wrap="square" lIns="0" tIns="0" rIns="0" bIns="0" rtlCol="0">
            <a:noAutofit/>
          </a:bodyPr>
          <a:lstStyle/>
          <a:p>
            <a:endParaRPr/>
          </a:p>
        </p:txBody>
      </p:sp>
      <p:sp>
        <p:nvSpPr>
          <p:cNvPr id="42" name="object 42"/>
          <p:cNvSpPr/>
          <p:nvPr/>
        </p:nvSpPr>
        <p:spPr>
          <a:xfrm>
            <a:off x="9682532" y="1281291"/>
            <a:ext cx="499202" cy="105462"/>
          </a:xfrm>
          <a:custGeom>
            <a:avLst/>
            <a:gdLst/>
            <a:ahLst/>
            <a:cxnLst/>
            <a:rect l="l" t="t" r="r" b="b"/>
            <a:pathLst>
              <a:path w="499202" h="105462">
                <a:moveTo>
                  <a:pt x="6823" y="2637"/>
                </a:moveTo>
                <a:lnTo>
                  <a:pt x="0" y="2637"/>
                </a:lnTo>
                <a:lnTo>
                  <a:pt x="6823" y="15815"/>
                </a:lnTo>
                <a:lnTo>
                  <a:pt x="14498" y="28118"/>
                </a:lnTo>
                <a:lnTo>
                  <a:pt x="22185" y="41307"/>
                </a:lnTo>
                <a:lnTo>
                  <a:pt x="29009" y="53607"/>
                </a:lnTo>
                <a:lnTo>
                  <a:pt x="36684" y="66791"/>
                </a:lnTo>
                <a:lnTo>
                  <a:pt x="43520" y="79095"/>
                </a:lnTo>
                <a:lnTo>
                  <a:pt x="50343" y="92279"/>
                </a:lnTo>
                <a:lnTo>
                  <a:pt x="57167" y="105462"/>
                </a:lnTo>
                <a:lnTo>
                  <a:pt x="474486" y="105462"/>
                </a:lnTo>
                <a:lnTo>
                  <a:pt x="482173" y="83489"/>
                </a:lnTo>
                <a:lnTo>
                  <a:pt x="489741" y="59760"/>
                </a:lnTo>
                <a:lnTo>
                  <a:pt x="494945" y="35156"/>
                </a:lnTo>
                <a:lnTo>
                  <a:pt x="499202" y="10539"/>
                </a:lnTo>
                <a:lnTo>
                  <a:pt x="68260" y="13177"/>
                </a:lnTo>
                <a:lnTo>
                  <a:pt x="58018" y="0"/>
                </a:lnTo>
                <a:lnTo>
                  <a:pt x="51195" y="1750"/>
                </a:lnTo>
                <a:lnTo>
                  <a:pt x="43520" y="1750"/>
                </a:lnTo>
                <a:lnTo>
                  <a:pt x="35833" y="2637"/>
                </a:lnTo>
                <a:lnTo>
                  <a:pt x="6823" y="2637"/>
                </a:lnTo>
                <a:close/>
              </a:path>
            </a:pathLst>
          </a:custGeom>
          <a:solidFill>
            <a:srgbClr val="6FD1FF"/>
          </a:solidFill>
        </p:spPr>
        <p:txBody>
          <a:bodyPr wrap="square" lIns="0" tIns="0" rIns="0" bIns="0" rtlCol="0">
            <a:noAutofit/>
          </a:bodyPr>
          <a:lstStyle/>
          <a:p>
            <a:endParaRPr/>
          </a:p>
        </p:txBody>
      </p:sp>
      <p:sp>
        <p:nvSpPr>
          <p:cNvPr id="43" name="object 43"/>
          <p:cNvSpPr/>
          <p:nvPr/>
        </p:nvSpPr>
        <p:spPr>
          <a:xfrm>
            <a:off x="9278069" y="1216255"/>
            <a:ext cx="63139" cy="54485"/>
          </a:xfrm>
          <a:custGeom>
            <a:avLst/>
            <a:gdLst/>
            <a:ahLst/>
            <a:cxnLst/>
            <a:rect l="l" t="t" r="r" b="b"/>
            <a:pathLst>
              <a:path w="63139" h="54485">
                <a:moveTo>
                  <a:pt x="9378" y="0"/>
                </a:moveTo>
                <a:lnTo>
                  <a:pt x="4257" y="875"/>
                </a:lnTo>
                <a:lnTo>
                  <a:pt x="0" y="2637"/>
                </a:lnTo>
                <a:lnTo>
                  <a:pt x="2554" y="9664"/>
                </a:lnTo>
                <a:lnTo>
                  <a:pt x="5120" y="15815"/>
                </a:lnTo>
                <a:lnTo>
                  <a:pt x="7675" y="22842"/>
                </a:lnTo>
                <a:lnTo>
                  <a:pt x="11944" y="29005"/>
                </a:lnTo>
                <a:lnTo>
                  <a:pt x="15350" y="35156"/>
                </a:lnTo>
                <a:lnTo>
                  <a:pt x="20470" y="41307"/>
                </a:lnTo>
                <a:lnTo>
                  <a:pt x="24740" y="46571"/>
                </a:lnTo>
                <a:lnTo>
                  <a:pt x="29860" y="51847"/>
                </a:lnTo>
                <a:lnTo>
                  <a:pt x="33278" y="51847"/>
                </a:lnTo>
                <a:lnTo>
                  <a:pt x="37536" y="52735"/>
                </a:lnTo>
                <a:lnTo>
                  <a:pt x="41805" y="53610"/>
                </a:lnTo>
                <a:lnTo>
                  <a:pt x="46925" y="54485"/>
                </a:lnTo>
                <a:lnTo>
                  <a:pt x="55464" y="54485"/>
                </a:lnTo>
                <a:lnTo>
                  <a:pt x="59721" y="53610"/>
                </a:lnTo>
                <a:lnTo>
                  <a:pt x="63139" y="51847"/>
                </a:lnTo>
                <a:lnTo>
                  <a:pt x="59721" y="39545"/>
                </a:lnTo>
                <a:lnTo>
                  <a:pt x="52898" y="28118"/>
                </a:lnTo>
                <a:lnTo>
                  <a:pt x="46925" y="16690"/>
                </a:lnTo>
                <a:lnTo>
                  <a:pt x="41805" y="4388"/>
                </a:lnTo>
                <a:lnTo>
                  <a:pt x="37536" y="3513"/>
                </a:lnTo>
                <a:lnTo>
                  <a:pt x="32415" y="1750"/>
                </a:lnTo>
                <a:lnTo>
                  <a:pt x="26443" y="875"/>
                </a:lnTo>
                <a:lnTo>
                  <a:pt x="21322" y="0"/>
                </a:lnTo>
                <a:lnTo>
                  <a:pt x="9378" y="0"/>
                </a:lnTo>
                <a:close/>
              </a:path>
            </a:pathLst>
          </a:custGeom>
          <a:solidFill>
            <a:srgbClr val="000000"/>
          </a:solidFill>
        </p:spPr>
        <p:txBody>
          <a:bodyPr wrap="square" lIns="0" tIns="0" rIns="0" bIns="0" rtlCol="0">
            <a:noAutofit/>
          </a:bodyPr>
          <a:lstStyle/>
          <a:p>
            <a:endParaRPr/>
          </a:p>
        </p:txBody>
      </p:sp>
      <p:sp>
        <p:nvSpPr>
          <p:cNvPr id="44" name="object 44"/>
          <p:cNvSpPr/>
          <p:nvPr/>
        </p:nvSpPr>
        <p:spPr>
          <a:xfrm>
            <a:off x="9384729" y="1223281"/>
            <a:ext cx="31575" cy="18453"/>
          </a:xfrm>
          <a:custGeom>
            <a:avLst/>
            <a:gdLst/>
            <a:ahLst/>
            <a:cxnLst/>
            <a:rect l="l" t="t" r="r" b="b"/>
            <a:pathLst>
              <a:path w="31575" h="18453">
                <a:moveTo>
                  <a:pt x="4269" y="8789"/>
                </a:moveTo>
                <a:lnTo>
                  <a:pt x="7675" y="13189"/>
                </a:lnTo>
                <a:lnTo>
                  <a:pt x="11092" y="16703"/>
                </a:lnTo>
                <a:lnTo>
                  <a:pt x="15362" y="18453"/>
                </a:lnTo>
                <a:lnTo>
                  <a:pt x="17065" y="13189"/>
                </a:lnTo>
                <a:lnTo>
                  <a:pt x="27306" y="13189"/>
                </a:lnTo>
                <a:lnTo>
                  <a:pt x="31575" y="9664"/>
                </a:lnTo>
                <a:lnTo>
                  <a:pt x="29009" y="5275"/>
                </a:lnTo>
                <a:lnTo>
                  <a:pt x="26454" y="2637"/>
                </a:lnTo>
                <a:lnTo>
                  <a:pt x="22185" y="875"/>
                </a:lnTo>
                <a:lnTo>
                  <a:pt x="17065" y="0"/>
                </a:lnTo>
                <a:lnTo>
                  <a:pt x="12795" y="875"/>
                </a:lnTo>
                <a:lnTo>
                  <a:pt x="7675" y="1762"/>
                </a:lnTo>
                <a:lnTo>
                  <a:pt x="3417" y="3513"/>
                </a:lnTo>
                <a:lnTo>
                  <a:pt x="0" y="5275"/>
                </a:lnTo>
                <a:lnTo>
                  <a:pt x="4269" y="8789"/>
                </a:lnTo>
                <a:close/>
              </a:path>
            </a:pathLst>
          </a:custGeom>
          <a:solidFill>
            <a:srgbClr val="000000"/>
          </a:solidFill>
        </p:spPr>
        <p:txBody>
          <a:bodyPr wrap="square" lIns="0" tIns="0" rIns="0" bIns="0" rtlCol="0">
            <a:noAutofit/>
          </a:bodyPr>
          <a:lstStyle/>
          <a:p>
            <a:endParaRPr/>
          </a:p>
        </p:txBody>
      </p:sp>
      <p:sp>
        <p:nvSpPr>
          <p:cNvPr id="45" name="object 45"/>
          <p:cNvSpPr/>
          <p:nvPr/>
        </p:nvSpPr>
        <p:spPr>
          <a:xfrm>
            <a:off x="9334385" y="1221519"/>
            <a:ext cx="34981" cy="19341"/>
          </a:xfrm>
          <a:custGeom>
            <a:avLst/>
            <a:gdLst/>
            <a:ahLst/>
            <a:cxnLst/>
            <a:rect l="l" t="t" r="r" b="b"/>
            <a:pathLst>
              <a:path w="34981" h="19341">
                <a:moveTo>
                  <a:pt x="15362" y="8789"/>
                </a:moveTo>
                <a:lnTo>
                  <a:pt x="19619" y="8789"/>
                </a:lnTo>
                <a:lnTo>
                  <a:pt x="23037" y="9676"/>
                </a:lnTo>
                <a:lnTo>
                  <a:pt x="31575" y="9676"/>
                </a:lnTo>
                <a:lnTo>
                  <a:pt x="34981" y="7038"/>
                </a:lnTo>
                <a:lnTo>
                  <a:pt x="32427" y="4400"/>
                </a:lnTo>
                <a:lnTo>
                  <a:pt x="29009" y="1762"/>
                </a:lnTo>
                <a:lnTo>
                  <a:pt x="24740" y="887"/>
                </a:lnTo>
                <a:lnTo>
                  <a:pt x="20482" y="0"/>
                </a:lnTo>
                <a:lnTo>
                  <a:pt x="0" y="0"/>
                </a:lnTo>
                <a:lnTo>
                  <a:pt x="2554" y="5275"/>
                </a:lnTo>
                <a:lnTo>
                  <a:pt x="5972" y="10551"/>
                </a:lnTo>
                <a:lnTo>
                  <a:pt x="9389" y="15827"/>
                </a:lnTo>
                <a:lnTo>
                  <a:pt x="13647" y="19341"/>
                </a:lnTo>
                <a:lnTo>
                  <a:pt x="11944" y="13189"/>
                </a:lnTo>
                <a:lnTo>
                  <a:pt x="12795" y="9676"/>
                </a:lnTo>
                <a:lnTo>
                  <a:pt x="15362" y="8789"/>
                </a:lnTo>
                <a:close/>
              </a:path>
            </a:pathLst>
          </a:custGeom>
          <a:solidFill>
            <a:srgbClr val="000000"/>
          </a:solidFill>
        </p:spPr>
        <p:txBody>
          <a:bodyPr wrap="square" lIns="0" tIns="0" rIns="0" bIns="0" rtlCol="0">
            <a:noAutofit/>
          </a:bodyPr>
          <a:lstStyle/>
          <a:p>
            <a:endParaRPr/>
          </a:p>
        </p:txBody>
      </p:sp>
      <p:sp>
        <p:nvSpPr>
          <p:cNvPr id="46" name="object 46"/>
          <p:cNvSpPr/>
          <p:nvPr/>
        </p:nvSpPr>
        <p:spPr>
          <a:xfrm>
            <a:off x="8832640" y="1210978"/>
            <a:ext cx="271349" cy="160834"/>
          </a:xfrm>
          <a:custGeom>
            <a:avLst/>
            <a:gdLst/>
            <a:ahLst/>
            <a:cxnLst/>
            <a:rect l="l" t="t" r="r" b="b"/>
            <a:pathLst>
              <a:path w="271349" h="160834">
                <a:moveTo>
                  <a:pt x="21334" y="160834"/>
                </a:moveTo>
                <a:lnTo>
                  <a:pt x="171513" y="127436"/>
                </a:lnTo>
                <a:lnTo>
                  <a:pt x="262822" y="108983"/>
                </a:lnTo>
                <a:lnTo>
                  <a:pt x="271349" y="103707"/>
                </a:lnTo>
                <a:lnTo>
                  <a:pt x="221005" y="0"/>
                </a:lnTo>
                <a:lnTo>
                  <a:pt x="220154" y="3513"/>
                </a:lnTo>
                <a:lnTo>
                  <a:pt x="216736" y="14065"/>
                </a:lnTo>
                <a:lnTo>
                  <a:pt x="211616" y="29005"/>
                </a:lnTo>
                <a:lnTo>
                  <a:pt x="204792" y="46583"/>
                </a:lnTo>
                <a:lnTo>
                  <a:pt x="197968" y="65037"/>
                </a:lnTo>
                <a:lnTo>
                  <a:pt x="191145" y="82615"/>
                </a:lnTo>
                <a:lnTo>
                  <a:pt x="183458" y="95793"/>
                </a:lnTo>
                <a:lnTo>
                  <a:pt x="177485" y="104582"/>
                </a:lnTo>
                <a:lnTo>
                  <a:pt x="174931" y="105470"/>
                </a:lnTo>
                <a:lnTo>
                  <a:pt x="168096" y="106345"/>
                </a:lnTo>
                <a:lnTo>
                  <a:pt x="158717" y="107220"/>
                </a:lnTo>
                <a:lnTo>
                  <a:pt x="147625" y="108095"/>
                </a:lnTo>
                <a:lnTo>
                  <a:pt x="133965" y="108095"/>
                </a:lnTo>
                <a:lnTo>
                  <a:pt x="118603" y="108983"/>
                </a:lnTo>
                <a:lnTo>
                  <a:pt x="102402" y="108983"/>
                </a:lnTo>
                <a:lnTo>
                  <a:pt x="86188" y="109858"/>
                </a:lnTo>
                <a:lnTo>
                  <a:pt x="54612" y="109858"/>
                </a:lnTo>
                <a:lnTo>
                  <a:pt x="40102" y="110733"/>
                </a:lnTo>
                <a:lnTo>
                  <a:pt x="0" y="110733"/>
                </a:lnTo>
                <a:lnTo>
                  <a:pt x="21334" y="160834"/>
                </a:lnTo>
                <a:close/>
              </a:path>
            </a:pathLst>
          </a:custGeom>
          <a:solidFill>
            <a:srgbClr val="FFFFFF"/>
          </a:solidFill>
        </p:spPr>
        <p:txBody>
          <a:bodyPr wrap="square" lIns="0" tIns="0" rIns="0" bIns="0" rtlCol="0">
            <a:noAutofit/>
          </a:bodyPr>
          <a:lstStyle/>
          <a:p>
            <a:endParaRPr/>
          </a:p>
        </p:txBody>
      </p:sp>
      <p:sp>
        <p:nvSpPr>
          <p:cNvPr id="47" name="object 47"/>
          <p:cNvSpPr/>
          <p:nvPr/>
        </p:nvSpPr>
        <p:spPr>
          <a:xfrm>
            <a:off x="9506750" y="1256675"/>
            <a:ext cx="33278" cy="26367"/>
          </a:xfrm>
          <a:custGeom>
            <a:avLst/>
            <a:gdLst/>
            <a:ahLst/>
            <a:cxnLst/>
            <a:rect l="l" t="t" r="r" b="b"/>
            <a:pathLst>
              <a:path w="33278" h="26367">
                <a:moveTo>
                  <a:pt x="33278" y="7038"/>
                </a:moveTo>
                <a:lnTo>
                  <a:pt x="0" y="0"/>
                </a:lnTo>
                <a:lnTo>
                  <a:pt x="0" y="7038"/>
                </a:lnTo>
                <a:lnTo>
                  <a:pt x="2554" y="14065"/>
                </a:lnTo>
                <a:lnTo>
                  <a:pt x="5120" y="20216"/>
                </a:lnTo>
                <a:lnTo>
                  <a:pt x="8538" y="26367"/>
                </a:lnTo>
                <a:lnTo>
                  <a:pt x="11944" y="26367"/>
                </a:lnTo>
                <a:lnTo>
                  <a:pt x="15362" y="24616"/>
                </a:lnTo>
                <a:lnTo>
                  <a:pt x="14510" y="21091"/>
                </a:lnTo>
                <a:lnTo>
                  <a:pt x="11944" y="17578"/>
                </a:lnTo>
                <a:lnTo>
                  <a:pt x="17916" y="14940"/>
                </a:lnTo>
                <a:lnTo>
                  <a:pt x="25603" y="14940"/>
                </a:lnTo>
                <a:lnTo>
                  <a:pt x="31575" y="14065"/>
                </a:lnTo>
                <a:lnTo>
                  <a:pt x="33278" y="7038"/>
                </a:lnTo>
                <a:close/>
              </a:path>
            </a:pathLst>
          </a:custGeom>
          <a:solidFill>
            <a:srgbClr val="000000"/>
          </a:solidFill>
        </p:spPr>
        <p:txBody>
          <a:bodyPr wrap="square" lIns="0" tIns="0" rIns="0" bIns="0" rtlCol="0">
            <a:noAutofit/>
          </a:bodyPr>
          <a:lstStyle/>
          <a:p>
            <a:endParaRPr/>
          </a:p>
        </p:txBody>
      </p:sp>
      <p:sp>
        <p:nvSpPr>
          <p:cNvPr id="48" name="object 48"/>
          <p:cNvSpPr/>
          <p:nvPr/>
        </p:nvSpPr>
        <p:spPr>
          <a:xfrm>
            <a:off x="9345477" y="1246135"/>
            <a:ext cx="42668" cy="29880"/>
          </a:xfrm>
          <a:custGeom>
            <a:avLst/>
            <a:gdLst/>
            <a:ahLst/>
            <a:cxnLst/>
            <a:rect l="l" t="t" r="r" b="b"/>
            <a:pathLst>
              <a:path w="42668" h="29880">
                <a:moveTo>
                  <a:pt x="17916" y="14940"/>
                </a:moveTo>
                <a:lnTo>
                  <a:pt x="19619" y="9664"/>
                </a:lnTo>
                <a:lnTo>
                  <a:pt x="25591" y="9664"/>
                </a:lnTo>
                <a:lnTo>
                  <a:pt x="32427" y="11427"/>
                </a:lnTo>
                <a:lnTo>
                  <a:pt x="37547" y="11427"/>
                </a:lnTo>
                <a:lnTo>
                  <a:pt x="42668" y="7901"/>
                </a:lnTo>
                <a:lnTo>
                  <a:pt x="38399" y="4388"/>
                </a:lnTo>
                <a:lnTo>
                  <a:pt x="33278" y="2637"/>
                </a:lnTo>
                <a:lnTo>
                  <a:pt x="28157" y="875"/>
                </a:lnTo>
                <a:lnTo>
                  <a:pt x="22185" y="0"/>
                </a:lnTo>
                <a:lnTo>
                  <a:pt x="16213" y="0"/>
                </a:lnTo>
                <a:lnTo>
                  <a:pt x="11092" y="875"/>
                </a:lnTo>
                <a:lnTo>
                  <a:pt x="5120" y="1750"/>
                </a:lnTo>
                <a:lnTo>
                  <a:pt x="0" y="4388"/>
                </a:lnTo>
                <a:lnTo>
                  <a:pt x="5120" y="10539"/>
                </a:lnTo>
                <a:lnTo>
                  <a:pt x="9389" y="18453"/>
                </a:lnTo>
                <a:lnTo>
                  <a:pt x="12795" y="25480"/>
                </a:lnTo>
                <a:lnTo>
                  <a:pt x="19619" y="29880"/>
                </a:lnTo>
                <a:lnTo>
                  <a:pt x="21334" y="23729"/>
                </a:lnTo>
                <a:lnTo>
                  <a:pt x="19619" y="19328"/>
                </a:lnTo>
                <a:lnTo>
                  <a:pt x="17916" y="14940"/>
                </a:lnTo>
                <a:close/>
              </a:path>
            </a:pathLst>
          </a:custGeom>
          <a:solidFill>
            <a:srgbClr val="000000"/>
          </a:solidFill>
        </p:spPr>
        <p:txBody>
          <a:bodyPr wrap="square" lIns="0" tIns="0" rIns="0" bIns="0" rtlCol="0">
            <a:noAutofit/>
          </a:bodyPr>
          <a:lstStyle/>
          <a:p>
            <a:endParaRPr/>
          </a:p>
        </p:txBody>
      </p:sp>
      <p:sp>
        <p:nvSpPr>
          <p:cNvPr id="49" name="object 49"/>
          <p:cNvSpPr/>
          <p:nvPr/>
        </p:nvSpPr>
        <p:spPr>
          <a:xfrm>
            <a:off x="9406062" y="1250524"/>
            <a:ext cx="30712" cy="23729"/>
          </a:xfrm>
          <a:custGeom>
            <a:avLst/>
            <a:gdLst/>
            <a:ahLst/>
            <a:cxnLst/>
            <a:rect l="l" t="t" r="r" b="b"/>
            <a:pathLst>
              <a:path w="30712" h="23729">
                <a:moveTo>
                  <a:pt x="3405" y="17578"/>
                </a:moveTo>
                <a:lnTo>
                  <a:pt x="6823" y="23729"/>
                </a:lnTo>
                <a:lnTo>
                  <a:pt x="10241" y="10551"/>
                </a:lnTo>
                <a:lnTo>
                  <a:pt x="16213" y="10551"/>
                </a:lnTo>
                <a:lnTo>
                  <a:pt x="23037" y="11427"/>
                </a:lnTo>
                <a:lnTo>
                  <a:pt x="28157" y="11427"/>
                </a:lnTo>
                <a:lnTo>
                  <a:pt x="30712" y="6151"/>
                </a:lnTo>
                <a:lnTo>
                  <a:pt x="25591" y="2637"/>
                </a:lnTo>
                <a:lnTo>
                  <a:pt x="19619" y="887"/>
                </a:lnTo>
                <a:lnTo>
                  <a:pt x="12795" y="887"/>
                </a:lnTo>
                <a:lnTo>
                  <a:pt x="6823" y="0"/>
                </a:lnTo>
                <a:lnTo>
                  <a:pt x="851" y="4400"/>
                </a:lnTo>
                <a:lnTo>
                  <a:pt x="0" y="10551"/>
                </a:lnTo>
                <a:lnTo>
                  <a:pt x="3405" y="17578"/>
                </a:lnTo>
                <a:close/>
              </a:path>
            </a:pathLst>
          </a:custGeom>
          <a:solidFill>
            <a:srgbClr val="000000"/>
          </a:solidFill>
        </p:spPr>
        <p:txBody>
          <a:bodyPr wrap="square" lIns="0" tIns="0" rIns="0" bIns="0" rtlCol="0">
            <a:noAutofit/>
          </a:bodyPr>
          <a:lstStyle/>
          <a:p>
            <a:endParaRPr/>
          </a:p>
        </p:txBody>
      </p:sp>
      <p:sp>
        <p:nvSpPr>
          <p:cNvPr id="50" name="object 50"/>
          <p:cNvSpPr/>
          <p:nvPr/>
        </p:nvSpPr>
        <p:spPr>
          <a:xfrm>
            <a:off x="9453841" y="1254924"/>
            <a:ext cx="31575" cy="25480"/>
          </a:xfrm>
          <a:custGeom>
            <a:avLst/>
            <a:gdLst/>
            <a:ahLst/>
            <a:cxnLst/>
            <a:rect l="l" t="t" r="r" b="b"/>
            <a:pathLst>
              <a:path w="31575" h="25480">
                <a:moveTo>
                  <a:pt x="16213" y="12302"/>
                </a:moveTo>
                <a:lnTo>
                  <a:pt x="19631" y="11427"/>
                </a:lnTo>
                <a:lnTo>
                  <a:pt x="23900" y="10539"/>
                </a:lnTo>
                <a:lnTo>
                  <a:pt x="28169" y="10539"/>
                </a:lnTo>
                <a:lnTo>
                  <a:pt x="31575" y="9664"/>
                </a:lnTo>
                <a:lnTo>
                  <a:pt x="30724" y="5275"/>
                </a:lnTo>
                <a:lnTo>
                  <a:pt x="28169" y="2637"/>
                </a:lnTo>
                <a:lnTo>
                  <a:pt x="24752" y="875"/>
                </a:lnTo>
                <a:lnTo>
                  <a:pt x="5984" y="875"/>
                </a:lnTo>
                <a:lnTo>
                  <a:pt x="1714" y="0"/>
                </a:lnTo>
                <a:lnTo>
                  <a:pt x="0" y="6151"/>
                </a:lnTo>
                <a:lnTo>
                  <a:pt x="1714" y="12302"/>
                </a:lnTo>
                <a:lnTo>
                  <a:pt x="5984" y="19328"/>
                </a:lnTo>
                <a:lnTo>
                  <a:pt x="9389" y="25480"/>
                </a:lnTo>
                <a:lnTo>
                  <a:pt x="11956" y="23729"/>
                </a:lnTo>
                <a:lnTo>
                  <a:pt x="11092" y="19328"/>
                </a:lnTo>
                <a:lnTo>
                  <a:pt x="11092" y="15815"/>
                </a:lnTo>
                <a:lnTo>
                  <a:pt x="13659" y="13177"/>
                </a:lnTo>
                <a:lnTo>
                  <a:pt x="16213" y="12302"/>
                </a:lnTo>
                <a:close/>
              </a:path>
            </a:pathLst>
          </a:custGeom>
          <a:solidFill>
            <a:srgbClr val="000000"/>
          </a:solidFill>
        </p:spPr>
        <p:txBody>
          <a:bodyPr wrap="square" lIns="0" tIns="0" rIns="0" bIns="0" rtlCol="0">
            <a:noAutofit/>
          </a:bodyPr>
          <a:lstStyle/>
          <a:p>
            <a:endParaRPr/>
          </a:p>
        </p:txBody>
      </p:sp>
      <p:sp>
        <p:nvSpPr>
          <p:cNvPr id="51" name="object 51"/>
          <p:cNvSpPr/>
          <p:nvPr/>
        </p:nvSpPr>
        <p:spPr>
          <a:xfrm>
            <a:off x="9305376" y="1303258"/>
            <a:ext cx="302061" cy="46582"/>
          </a:xfrm>
          <a:custGeom>
            <a:avLst/>
            <a:gdLst/>
            <a:ahLst/>
            <a:cxnLst/>
            <a:rect l="l" t="t" r="r" b="b"/>
            <a:pathLst>
              <a:path w="302061" h="46582">
                <a:moveTo>
                  <a:pt x="296941" y="21091"/>
                </a:moveTo>
                <a:lnTo>
                  <a:pt x="851" y="0"/>
                </a:lnTo>
                <a:lnTo>
                  <a:pt x="0" y="12302"/>
                </a:lnTo>
                <a:lnTo>
                  <a:pt x="851" y="24609"/>
                </a:lnTo>
                <a:lnTo>
                  <a:pt x="3405" y="36035"/>
                </a:lnTo>
                <a:lnTo>
                  <a:pt x="6823" y="46582"/>
                </a:lnTo>
                <a:lnTo>
                  <a:pt x="302061" y="41309"/>
                </a:lnTo>
                <a:lnTo>
                  <a:pt x="302061" y="36914"/>
                </a:lnTo>
                <a:lnTo>
                  <a:pt x="301210" y="30762"/>
                </a:lnTo>
                <a:lnTo>
                  <a:pt x="299507" y="24609"/>
                </a:lnTo>
                <a:lnTo>
                  <a:pt x="296941" y="21091"/>
                </a:lnTo>
                <a:close/>
              </a:path>
            </a:pathLst>
          </a:custGeom>
          <a:solidFill>
            <a:srgbClr val="8B8B8B"/>
          </a:solidFill>
        </p:spPr>
        <p:txBody>
          <a:bodyPr wrap="square" lIns="0" tIns="0" rIns="0" bIns="0" rtlCol="0">
            <a:noAutofit/>
          </a:bodyPr>
          <a:lstStyle/>
          <a:p>
            <a:endParaRPr/>
          </a:p>
        </p:txBody>
      </p:sp>
      <p:sp>
        <p:nvSpPr>
          <p:cNvPr id="52" name="object 52"/>
          <p:cNvSpPr/>
          <p:nvPr/>
        </p:nvSpPr>
        <p:spPr>
          <a:xfrm>
            <a:off x="8749869" y="1323476"/>
            <a:ext cx="85325" cy="68551"/>
          </a:xfrm>
          <a:custGeom>
            <a:avLst/>
            <a:gdLst/>
            <a:ahLst/>
            <a:cxnLst/>
            <a:rect l="l" t="t" r="r" b="b"/>
            <a:pathLst>
              <a:path w="85325" h="68551">
                <a:moveTo>
                  <a:pt x="853" y="0"/>
                </a:moveTo>
                <a:lnTo>
                  <a:pt x="0" y="68551"/>
                </a:lnTo>
                <a:lnTo>
                  <a:pt x="85325" y="67674"/>
                </a:lnTo>
                <a:lnTo>
                  <a:pt x="57167" y="0"/>
                </a:lnTo>
                <a:lnTo>
                  <a:pt x="853" y="0"/>
                </a:lnTo>
                <a:close/>
              </a:path>
            </a:pathLst>
          </a:custGeom>
          <a:solidFill>
            <a:srgbClr val="A8B97B"/>
          </a:solidFill>
        </p:spPr>
        <p:txBody>
          <a:bodyPr wrap="square" lIns="0" tIns="0" rIns="0" bIns="0" rtlCol="0">
            <a:noAutofit/>
          </a:bodyPr>
          <a:lstStyle/>
          <a:p>
            <a:endParaRPr/>
          </a:p>
        </p:txBody>
      </p:sp>
      <p:sp>
        <p:nvSpPr>
          <p:cNvPr id="53" name="object 53"/>
          <p:cNvSpPr/>
          <p:nvPr/>
        </p:nvSpPr>
        <p:spPr>
          <a:xfrm>
            <a:off x="8877010" y="1348084"/>
            <a:ext cx="223560" cy="71189"/>
          </a:xfrm>
          <a:custGeom>
            <a:avLst/>
            <a:gdLst/>
            <a:ahLst/>
            <a:cxnLst/>
            <a:rect l="l" t="t" r="r" b="b"/>
            <a:pathLst>
              <a:path w="223560" h="71189">
                <a:moveTo>
                  <a:pt x="193699" y="8789"/>
                </a:moveTo>
                <a:lnTo>
                  <a:pt x="189430" y="0"/>
                </a:lnTo>
                <a:lnTo>
                  <a:pt x="0" y="41307"/>
                </a:lnTo>
                <a:lnTo>
                  <a:pt x="223560" y="71189"/>
                </a:lnTo>
                <a:lnTo>
                  <a:pt x="219302" y="62400"/>
                </a:lnTo>
                <a:lnTo>
                  <a:pt x="214182" y="53611"/>
                </a:lnTo>
                <a:lnTo>
                  <a:pt x="209913" y="44822"/>
                </a:lnTo>
                <a:lnTo>
                  <a:pt x="206495" y="35155"/>
                </a:lnTo>
                <a:lnTo>
                  <a:pt x="202237" y="26366"/>
                </a:lnTo>
                <a:lnTo>
                  <a:pt x="197968" y="17577"/>
                </a:lnTo>
                <a:lnTo>
                  <a:pt x="193699" y="8789"/>
                </a:lnTo>
                <a:close/>
              </a:path>
            </a:pathLst>
          </a:custGeom>
          <a:solidFill>
            <a:srgbClr val="BEBEBE"/>
          </a:solidFill>
        </p:spPr>
        <p:txBody>
          <a:bodyPr wrap="square" lIns="0" tIns="0" rIns="0" bIns="0" rtlCol="0">
            <a:noAutofit/>
          </a:bodyPr>
          <a:lstStyle/>
          <a:p>
            <a:endParaRPr/>
          </a:p>
        </p:txBody>
      </p:sp>
      <p:sp>
        <p:nvSpPr>
          <p:cNvPr id="21" name="object 21"/>
          <p:cNvSpPr/>
          <p:nvPr/>
        </p:nvSpPr>
        <p:spPr>
          <a:xfrm>
            <a:off x="6477000" y="1828800"/>
            <a:ext cx="4038600" cy="1905000"/>
          </a:xfrm>
          <a:custGeom>
            <a:avLst/>
            <a:gdLst/>
            <a:ahLst/>
            <a:cxnLst/>
            <a:rect l="l" t="t" r="r" b="b"/>
            <a:pathLst>
              <a:path w="4038600" h="1905000">
                <a:moveTo>
                  <a:pt x="0" y="1905000"/>
                </a:moveTo>
                <a:lnTo>
                  <a:pt x="4038600" y="1905000"/>
                </a:lnTo>
                <a:lnTo>
                  <a:pt x="4038600" y="0"/>
                </a:lnTo>
                <a:lnTo>
                  <a:pt x="0" y="0"/>
                </a:lnTo>
                <a:lnTo>
                  <a:pt x="0" y="1905000"/>
                </a:lnTo>
                <a:close/>
              </a:path>
            </a:pathLst>
          </a:custGeom>
          <a:solidFill>
            <a:srgbClr val="FFCCFF"/>
          </a:solidFill>
        </p:spPr>
        <p:txBody>
          <a:bodyPr wrap="square" lIns="0" tIns="0" rIns="0" bIns="0" rtlCol="0">
            <a:noAutofit/>
          </a:bodyPr>
          <a:lstStyle/>
          <a:p>
            <a:endParaRPr/>
          </a:p>
        </p:txBody>
      </p:sp>
      <p:sp>
        <p:nvSpPr>
          <p:cNvPr id="22" name="object 22"/>
          <p:cNvSpPr/>
          <p:nvPr/>
        </p:nvSpPr>
        <p:spPr>
          <a:xfrm>
            <a:off x="6477000" y="1828800"/>
            <a:ext cx="4038600" cy="1905000"/>
          </a:xfrm>
          <a:custGeom>
            <a:avLst/>
            <a:gdLst/>
            <a:ahLst/>
            <a:cxnLst/>
            <a:rect l="l" t="t" r="r" b="b"/>
            <a:pathLst>
              <a:path w="4038600" h="1905000">
                <a:moveTo>
                  <a:pt x="0" y="1905000"/>
                </a:moveTo>
                <a:lnTo>
                  <a:pt x="4038600" y="1905000"/>
                </a:lnTo>
                <a:lnTo>
                  <a:pt x="4038600" y="0"/>
                </a:lnTo>
                <a:lnTo>
                  <a:pt x="0" y="0"/>
                </a:lnTo>
                <a:lnTo>
                  <a:pt x="0" y="1905000"/>
                </a:lnTo>
                <a:close/>
              </a:path>
            </a:pathLst>
          </a:custGeom>
          <a:ln w="28575">
            <a:solidFill>
              <a:srgbClr val="3333CC"/>
            </a:solidFill>
          </a:ln>
        </p:spPr>
        <p:txBody>
          <a:bodyPr wrap="square" lIns="0" tIns="0" rIns="0" bIns="0" rtlCol="0">
            <a:noAutofit/>
          </a:bodyPr>
          <a:lstStyle/>
          <a:p>
            <a:endParaRPr/>
          </a:p>
        </p:txBody>
      </p:sp>
      <p:sp>
        <p:nvSpPr>
          <p:cNvPr id="19" name="object 19"/>
          <p:cNvSpPr/>
          <p:nvPr/>
        </p:nvSpPr>
        <p:spPr>
          <a:xfrm>
            <a:off x="1676400" y="1143000"/>
            <a:ext cx="4648200" cy="2819400"/>
          </a:xfrm>
          <a:custGeom>
            <a:avLst/>
            <a:gdLst/>
            <a:ahLst/>
            <a:cxnLst/>
            <a:rect l="l" t="t" r="r" b="b"/>
            <a:pathLst>
              <a:path w="4648200" h="2819400">
                <a:moveTo>
                  <a:pt x="0" y="2819400"/>
                </a:moveTo>
                <a:lnTo>
                  <a:pt x="4648200" y="2819400"/>
                </a:lnTo>
                <a:lnTo>
                  <a:pt x="4648200" y="0"/>
                </a:lnTo>
                <a:lnTo>
                  <a:pt x="0" y="0"/>
                </a:lnTo>
                <a:lnTo>
                  <a:pt x="0" y="2819400"/>
                </a:lnTo>
                <a:close/>
              </a:path>
            </a:pathLst>
          </a:custGeom>
          <a:solidFill>
            <a:srgbClr val="F1FFEB"/>
          </a:solidFill>
        </p:spPr>
        <p:txBody>
          <a:bodyPr wrap="square" lIns="0" tIns="0" rIns="0" bIns="0" rtlCol="0">
            <a:noAutofit/>
          </a:bodyPr>
          <a:lstStyle/>
          <a:p>
            <a:endParaRPr/>
          </a:p>
        </p:txBody>
      </p:sp>
      <p:sp>
        <p:nvSpPr>
          <p:cNvPr id="20" name="object 20"/>
          <p:cNvSpPr/>
          <p:nvPr/>
        </p:nvSpPr>
        <p:spPr>
          <a:xfrm>
            <a:off x="1676400" y="1143000"/>
            <a:ext cx="4648200" cy="2819400"/>
          </a:xfrm>
          <a:custGeom>
            <a:avLst/>
            <a:gdLst/>
            <a:ahLst/>
            <a:cxnLst/>
            <a:rect l="l" t="t" r="r" b="b"/>
            <a:pathLst>
              <a:path w="4648200" h="2819400">
                <a:moveTo>
                  <a:pt x="0" y="2819400"/>
                </a:moveTo>
                <a:lnTo>
                  <a:pt x="4648200" y="2819400"/>
                </a:lnTo>
                <a:lnTo>
                  <a:pt x="4648200" y="0"/>
                </a:lnTo>
                <a:lnTo>
                  <a:pt x="0" y="0"/>
                </a:lnTo>
                <a:lnTo>
                  <a:pt x="0" y="2819400"/>
                </a:lnTo>
                <a:close/>
              </a:path>
            </a:pathLst>
          </a:custGeom>
          <a:ln w="28575">
            <a:solidFill>
              <a:srgbClr val="3333CC"/>
            </a:solidFill>
          </a:ln>
        </p:spPr>
        <p:txBody>
          <a:bodyPr wrap="square" lIns="0" tIns="0" rIns="0" bIns="0" rtlCol="0">
            <a:noAutofit/>
          </a:bodyPr>
          <a:lstStyle/>
          <a:p>
            <a:endParaRPr/>
          </a:p>
        </p:txBody>
      </p:sp>
      <p:sp>
        <p:nvSpPr>
          <p:cNvPr id="17" name="object 17"/>
          <p:cNvSpPr/>
          <p:nvPr/>
        </p:nvSpPr>
        <p:spPr>
          <a:xfrm>
            <a:off x="6553200" y="4038600"/>
            <a:ext cx="3886200" cy="2057400"/>
          </a:xfrm>
          <a:custGeom>
            <a:avLst/>
            <a:gdLst/>
            <a:ahLst/>
            <a:cxnLst/>
            <a:rect l="l" t="t" r="r" b="b"/>
            <a:pathLst>
              <a:path w="3886200" h="2057400">
                <a:moveTo>
                  <a:pt x="0" y="2057400"/>
                </a:moveTo>
                <a:lnTo>
                  <a:pt x="3886200" y="2057400"/>
                </a:lnTo>
                <a:lnTo>
                  <a:pt x="3886200" y="0"/>
                </a:lnTo>
                <a:lnTo>
                  <a:pt x="0" y="0"/>
                </a:lnTo>
                <a:lnTo>
                  <a:pt x="0" y="2057400"/>
                </a:lnTo>
                <a:close/>
              </a:path>
            </a:pathLst>
          </a:custGeom>
          <a:solidFill>
            <a:srgbClr val="F1FFEB"/>
          </a:solidFill>
        </p:spPr>
        <p:txBody>
          <a:bodyPr wrap="square" lIns="0" tIns="0" rIns="0" bIns="0" rtlCol="0">
            <a:noAutofit/>
          </a:bodyPr>
          <a:lstStyle/>
          <a:p>
            <a:endParaRPr/>
          </a:p>
        </p:txBody>
      </p:sp>
      <p:sp>
        <p:nvSpPr>
          <p:cNvPr id="18" name="object 18"/>
          <p:cNvSpPr/>
          <p:nvPr/>
        </p:nvSpPr>
        <p:spPr>
          <a:xfrm>
            <a:off x="6553200" y="4038600"/>
            <a:ext cx="3886200" cy="2057400"/>
          </a:xfrm>
          <a:custGeom>
            <a:avLst/>
            <a:gdLst/>
            <a:ahLst/>
            <a:cxnLst/>
            <a:rect l="l" t="t" r="r" b="b"/>
            <a:pathLst>
              <a:path w="3886200" h="2057400">
                <a:moveTo>
                  <a:pt x="0" y="2057400"/>
                </a:moveTo>
                <a:lnTo>
                  <a:pt x="3886200" y="2057400"/>
                </a:lnTo>
                <a:lnTo>
                  <a:pt x="3886200" y="0"/>
                </a:lnTo>
                <a:lnTo>
                  <a:pt x="0" y="0"/>
                </a:lnTo>
                <a:lnTo>
                  <a:pt x="0" y="2057400"/>
                </a:lnTo>
                <a:close/>
              </a:path>
            </a:pathLst>
          </a:custGeom>
          <a:ln w="28575">
            <a:solidFill>
              <a:srgbClr val="3333CC"/>
            </a:solidFill>
          </a:ln>
        </p:spPr>
        <p:txBody>
          <a:bodyPr wrap="square" lIns="0" tIns="0" rIns="0" bIns="0" rtlCol="0">
            <a:noAutofit/>
          </a:bodyPr>
          <a:lstStyle/>
          <a:p>
            <a:endParaRPr/>
          </a:p>
        </p:txBody>
      </p:sp>
      <p:sp>
        <p:nvSpPr>
          <p:cNvPr id="15" name="object 15"/>
          <p:cNvSpPr/>
          <p:nvPr/>
        </p:nvSpPr>
        <p:spPr>
          <a:xfrm>
            <a:off x="1752600" y="4114800"/>
            <a:ext cx="4572000" cy="2286000"/>
          </a:xfrm>
          <a:custGeom>
            <a:avLst/>
            <a:gdLst/>
            <a:ahLst/>
            <a:cxnLst/>
            <a:rect l="l" t="t" r="r" b="b"/>
            <a:pathLst>
              <a:path w="4572000" h="2286000">
                <a:moveTo>
                  <a:pt x="0" y="2286000"/>
                </a:moveTo>
                <a:lnTo>
                  <a:pt x="4572000" y="2286000"/>
                </a:lnTo>
                <a:lnTo>
                  <a:pt x="4572000" y="0"/>
                </a:lnTo>
                <a:lnTo>
                  <a:pt x="0" y="0"/>
                </a:lnTo>
                <a:lnTo>
                  <a:pt x="0" y="2286000"/>
                </a:lnTo>
                <a:close/>
              </a:path>
            </a:pathLst>
          </a:custGeom>
          <a:solidFill>
            <a:srgbClr val="FFCCFF"/>
          </a:solidFill>
        </p:spPr>
        <p:txBody>
          <a:bodyPr wrap="square" lIns="0" tIns="0" rIns="0" bIns="0" rtlCol="0">
            <a:noAutofit/>
          </a:bodyPr>
          <a:lstStyle/>
          <a:p>
            <a:endParaRPr/>
          </a:p>
        </p:txBody>
      </p:sp>
      <p:sp>
        <p:nvSpPr>
          <p:cNvPr id="16" name="object 16"/>
          <p:cNvSpPr/>
          <p:nvPr/>
        </p:nvSpPr>
        <p:spPr>
          <a:xfrm>
            <a:off x="1752600" y="4114800"/>
            <a:ext cx="4572000" cy="2286000"/>
          </a:xfrm>
          <a:custGeom>
            <a:avLst/>
            <a:gdLst/>
            <a:ahLst/>
            <a:cxnLst/>
            <a:rect l="l" t="t" r="r" b="b"/>
            <a:pathLst>
              <a:path w="4572000" h="2286000">
                <a:moveTo>
                  <a:pt x="0" y="2286000"/>
                </a:moveTo>
                <a:lnTo>
                  <a:pt x="4572000" y="2286000"/>
                </a:lnTo>
                <a:lnTo>
                  <a:pt x="4572000" y="0"/>
                </a:lnTo>
                <a:lnTo>
                  <a:pt x="0" y="0"/>
                </a:lnTo>
                <a:lnTo>
                  <a:pt x="0" y="2286000"/>
                </a:lnTo>
                <a:close/>
              </a:path>
            </a:pathLst>
          </a:custGeom>
          <a:ln w="28575">
            <a:solidFill>
              <a:srgbClr val="3333CC"/>
            </a:solidFill>
          </a:ln>
        </p:spPr>
        <p:txBody>
          <a:bodyPr wrap="square" lIns="0" tIns="0" rIns="0" bIns="0" rtlCol="0">
            <a:noAutofit/>
          </a:bodyPr>
          <a:lstStyle/>
          <a:p>
            <a:endParaRPr/>
          </a:p>
        </p:txBody>
      </p:sp>
      <p:sp>
        <p:nvSpPr>
          <p:cNvPr id="12" name="object 12"/>
          <p:cNvSpPr txBox="1"/>
          <p:nvPr/>
        </p:nvSpPr>
        <p:spPr>
          <a:xfrm>
            <a:off x="6898006" y="2427811"/>
            <a:ext cx="3529685"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1</a:t>
            </a:r>
            <a:r>
              <a:rPr sz="1200" dirty="0">
                <a:latin typeface="Arial"/>
                <a:cs typeface="Arial"/>
              </a:rPr>
              <a:t>.</a:t>
            </a:r>
            <a:r>
              <a:rPr sz="1200" spc="4"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 c</a:t>
            </a:r>
            <a:r>
              <a:rPr sz="1200" spc="4" dirty="0">
                <a:latin typeface="Arial"/>
                <a:cs typeface="Arial"/>
              </a:rPr>
              <a:t>op</a:t>
            </a:r>
            <a:r>
              <a:rPr sz="1200" dirty="0">
                <a:latin typeface="Arial"/>
                <a:cs typeface="Arial"/>
              </a:rPr>
              <a:t>ies</a:t>
            </a:r>
            <a:r>
              <a:rPr sz="1200" spc="-29" dirty="0">
                <a:latin typeface="Arial"/>
                <a:cs typeface="Arial"/>
              </a:rPr>
              <a:t> </a:t>
            </a:r>
            <a:r>
              <a:rPr sz="1200" spc="4" dirty="0">
                <a:latin typeface="Arial"/>
                <a:cs typeface="Arial"/>
              </a:rPr>
              <a:t>da</a:t>
            </a:r>
            <a:r>
              <a:rPr sz="1200" dirty="0">
                <a:latin typeface="Arial"/>
                <a:cs typeface="Arial"/>
              </a:rPr>
              <a:t>ta</a:t>
            </a:r>
            <a:r>
              <a:rPr sz="1200" spc="-14" dirty="0">
                <a:latin typeface="Arial"/>
                <a:cs typeface="Arial"/>
              </a:rPr>
              <a:t> </a:t>
            </a:r>
            <a:r>
              <a:rPr sz="1200" spc="14" dirty="0">
                <a:latin typeface="Arial"/>
                <a:cs typeface="Arial"/>
              </a:rPr>
              <a:t>f</a:t>
            </a:r>
            <a:r>
              <a:rPr sz="1200" dirty="0">
                <a:latin typeface="Arial"/>
                <a:cs typeface="Arial"/>
              </a:rPr>
              <a:t>rom</a:t>
            </a:r>
            <a:r>
              <a:rPr sz="1200" spc="-9" dirty="0">
                <a:latin typeface="Arial"/>
                <a:cs typeface="Arial"/>
              </a:rPr>
              <a:t> </a:t>
            </a:r>
            <a:r>
              <a:rPr sz="1200" dirty="0">
                <a:latin typeface="Arial"/>
                <a:cs typeface="Arial"/>
              </a:rPr>
              <a:t>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a:t>
            </a:r>
            <a:r>
              <a:rPr sz="1200" spc="-3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r>
              <a:rPr sz="1200" spc="-39" dirty="0">
                <a:latin typeface="Arial"/>
                <a:cs typeface="Arial"/>
              </a:rPr>
              <a:t> </a:t>
            </a:r>
            <a:r>
              <a:rPr sz="1200" dirty="0">
                <a:latin typeface="Arial"/>
                <a:cs typeface="Arial"/>
              </a:rPr>
              <a:t>in</a:t>
            </a:r>
            <a:r>
              <a:rPr sz="1200" spc="4" dirty="0">
                <a:latin typeface="Arial"/>
                <a:cs typeface="Arial"/>
              </a:rPr>
              <a:t>t</a:t>
            </a:r>
            <a:r>
              <a:rPr sz="1200" dirty="0">
                <a:latin typeface="Arial"/>
                <a:cs typeface="Arial"/>
              </a:rPr>
              <a:t>o</a:t>
            </a:r>
            <a:endParaRPr sz="1200">
              <a:latin typeface="Arial"/>
              <a:cs typeface="Arial"/>
            </a:endParaRPr>
          </a:p>
        </p:txBody>
      </p:sp>
      <p:sp>
        <p:nvSpPr>
          <p:cNvPr id="11" name="object 11"/>
          <p:cNvSpPr txBox="1"/>
          <p:nvPr/>
        </p:nvSpPr>
        <p:spPr>
          <a:xfrm>
            <a:off x="6898006" y="2793571"/>
            <a:ext cx="3375761"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2</a:t>
            </a:r>
            <a:r>
              <a:rPr sz="1200" dirty="0">
                <a:latin typeface="Arial"/>
                <a:cs typeface="Arial"/>
              </a:rPr>
              <a:t>.</a:t>
            </a: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spc="4" dirty="0">
                <a:latin typeface="Arial"/>
                <a:cs typeface="Arial"/>
              </a:rPr>
              <a:t>ma</a:t>
            </a:r>
            <a:r>
              <a:rPr sz="1200" dirty="0">
                <a:latin typeface="Arial"/>
                <a:cs typeface="Arial"/>
              </a:rPr>
              <a:t>in</a:t>
            </a:r>
            <a:r>
              <a:rPr sz="1200" spc="4" dirty="0">
                <a:latin typeface="Arial"/>
                <a:cs typeface="Arial"/>
              </a:rPr>
              <a:t>ta</a:t>
            </a:r>
            <a:r>
              <a:rPr sz="1200" dirty="0">
                <a:latin typeface="Arial"/>
                <a:cs typeface="Arial"/>
              </a:rPr>
              <a:t>in</a:t>
            </a:r>
            <a:r>
              <a:rPr sz="1200" spc="-39" dirty="0">
                <a:latin typeface="Arial"/>
                <a:cs typeface="Arial"/>
              </a:rPr>
              <a:t> </a:t>
            </a:r>
            <a:r>
              <a:rPr sz="1200" dirty="0">
                <a:latin typeface="Arial"/>
                <a:cs typeface="Arial"/>
              </a:rPr>
              <a:t>c</a:t>
            </a:r>
            <a:r>
              <a:rPr sz="1200" spc="4" dirty="0">
                <a:latin typeface="Arial"/>
                <a:cs typeface="Arial"/>
              </a:rPr>
              <a:t>an</a:t>
            </a:r>
            <a:r>
              <a:rPr sz="1200" dirty="0">
                <a:latin typeface="Arial"/>
                <a:cs typeface="Arial"/>
              </a:rPr>
              <a:t>c</a:t>
            </a:r>
            <a:r>
              <a:rPr sz="1200" spc="4" dirty="0">
                <a:latin typeface="Arial"/>
                <a:cs typeface="Arial"/>
              </a:rPr>
              <a:t>e</a:t>
            </a:r>
            <a:r>
              <a:rPr sz="1200" dirty="0">
                <a:latin typeface="Arial"/>
                <a:cs typeface="Arial"/>
              </a:rPr>
              <a:t>l</a:t>
            </a:r>
            <a:r>
              <a:rPr sz="1200" spc="-4" dirty="0">
                <a:latin typeface="Arial"/>
                <a:cs typeface="Arial"/>
              </a:rPr>
              <a:t>l</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4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r>
              <a:rPr sz="1200" spc="-3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a:t>
            </a:r>
            <a:r>
              <a:rPr sz="1200" dirty="0">
                <a:latin typeface="Arial"/>
                <a:cs typeface="Arial"/>
              </a:rPr>
              <a:t>in</a:t>
            </a:r>
            <a:endParaRPr sz="1200">
              <a:latin typeface="Arial"/>
              <a:cs typeface="Arial"/>
            </a:endParaRPr>
          </a:p>
        </p:txBody>
      </p:sp>
      <p:sp>
        <p:nvSpPr>
          <p:cNvPr id="10" name="object 10"/>
          <p:cNvSpPr txBox="1"/>
          <p:nvPr/>
        </p:nvSpPr>
        <p:spPr>
          <a:xfrm>
            <a:off x="6898006" y="3159331"/>
            <a:ext cx="3622801"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3</a:t>
            </a:r>
            <a:r>
              <a:rPr sz="1200" dirty="0">
                <a:latin typeface="Arial"/>
                <a:cs typeface="Arial"/>
              </a:rPr>
              <a:t>.</a:t>
            </a: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dirty="0">
                <a:latin typeface="Arial"/>
                <a:cs typeface="Arial"/>
              </a:rPr>
              <a:t>c</a:t>
            </a:r>
            <a:r>
              <a:rPr sz="1200" spc="4" dirty="0">
                <a:latin typeface="Arial"/>
                <a:cs typeface="Arial"/>
              </a:rPr>
              <a:t>an</a:t>
            </a:r>
            <a:r>
              <a:rPr sz="1200" dirty="0">
                <a:latin typeface="Arial"/>
                <a:cs typeface="Arial"/>
              </a:rPr>
              <a:t>c</a:t>
            </a:r>
            <a:r>
              <a:rPr sz="1200" spc="4" dirty="0">
                <a:latin typeface="Arial"/>
                <a:cs typeface="Arial"/>
              </a:rPr>
              <a:t>e</a:t>
            </a:r>
            <a:r>
              <a:rPr sz="1200" dirty="0">
                <a:latin typeface="Arial"/>
                <a:cs typeface="Arial"/>
              </a:rPr>
              <a:t>l</a:t>
            </a:r>
            <a:r>
              <a:rPr sz="1200" spc="-25" dirty="0">
                <a:latin typeface="Arial"/>
                <a:cs typeface="Arial"/>
              </a:rPr>
              <a:t> </a:t>
            </a:r>
            <a:r>
              <a:rPr sz="1200" dirty="0">
                <a:latin typeface="Arial"/>
                <a:cs typeface="Arial"/>
              </a:rPr>
              <a:t>in</a:t>
            </a:r>
            <a:r>
              <a:rPr sz="1200" spc="4" dirty="0">
                <a:latin typeface="Arial"/>
                <a:cs typeface="Arial"/>
              </a:rPr>
              <a:t>d</a:t>
            </a:r>
            <a:r>
              <a:rPr sz="1200" dirty="0">
                <a:latin typeface="Arial"/>
                <a:cs typeface="Arial"/>
              </a:rPr>
              <a:t>i</a:t>
            </a:r>
            <a:r>
              <a:rPr sz="1200" spc="-14" dirty="0">
                <a:latin typeface="Arial"/>
                <a:cs typeface="Arial"/>
              </a:rPr>
              <a:t>v</a:t>
            </a:r>
            <a:r>
              <a:rPr sz="1200" dirty="0">
                <a:latin typeface="Arial"/>
                <a:cs typeface="Arial"/>
              </a:rPr>
              <a:t>id</a:t>
            </a:r>
            <a:r>
              <a:rPr sz="1200" spc="4" dirty="0">
                <a:latin typeface="Arial"/>
                <a:cs typeface="Arial"/>
              </a:rPr>
              <a:t>ua</a:t>
            </a:r>
            <a:r>
              <a:rPr sz="1200" dirty="0">
                <a:latin typeface="Arial"/>
                <a:cs typeface="Arial"/>
              </a:rPr>
              <a:t>l</a:t>
            </a:r>
            <a:r>
              <a:rPr sz="1200" spc="-44" dirty="0">
                <a:latin typeface="Arial"/>
                <a:cs typeface="Arial"/>
              </a:rPr>
              <a:t> </a:t>
            </a:r>
            <a:r>
              <a:rPr sz="1200" dirty="0">
                <a:latin typeface="Arial"/>
                <a:cs typeface="Arial"/>
              </a:rPr>
              <a:t>it</a:t>
            </a:r>
            <a:r>
              <a:rPr sz="1200" spc="4" dirty="0">
                <a:latin typeface="Arial"/>
                <a:cs typeface="Arial"/>
              </a:rPr>
              <a:t>em</a:t>
            </a:r>
            <a:r>
              <a:rPr sz="1200" dirty="0">
                <a:latin typeface="Arial"/>
                <a:cs typeface="Arial"/>
              </a:rPr>
              <a:t>s</a:t>
            </a:r>
            <a:r>
              <a:rPr sz="1200" spc="-9" dirty="0">
                <a:latin typeface="Arial"/>
                <a:cs typeface="Arial"/>
              </a:rPr>
              <a:t> </a:t>
            </a:r>
            <a:r>
              <a:rPr sz="1200" dirty="0">
                <a:latin typeface="Arial"/>
                <a:cs typeface="Arial"/>
              </a:rPr>
              <a:t>in</a:t>
            </a:r>
            <a:r>
              <a:rPr sz="1200" spc="-4"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endParaRPr sz="1200">
              <a:latin typeface="Arial"/>
              <a:cs typeface="Arial"/>
            </a:endParaRPr>
          </a:p>
        </p:txBody>
      </p:sp>
      <p:sp>
        <p:nvSpPr>
          <p:cNvPr id="9" name="object 9"/>
          <p:cNvSpPr txBox="1"/>
          <p:nvPr/>
        </p:nvSpPr>
        <p:spPr>
          <a:xfrm>
            <a:off x="2215389" y="4386405"/>
            <a:ext cx="2871165"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1</a:t>
            </a:r>
            <a:r>
              <a:rPr sz="1200" dirty="0">
                <a:latin typeface="Arial"/>
                <a:cs typeface="Arial"/>
              </a:rPr>
              <a:t>.</a:t>
            </a:r>
            <a:r>
              <a:rPr sz="1200" spc="4" dirty="0">
                <a:latin typeface="Arial"/>
                <a:cs typeface="Arial"/>
              </a:rPr>
              <a:t> </a:t>
            </a:r>
            <a:r>
              <a:rPr sz="1200" dirty="0">
                <a:latin typeface="Arial"/>
                <a:cs typeface="Arial"/>
              </a:rPr>
              <a:t>Ord</a:t>
            </a:r>
            <a:r>
              <a:rPr sz="1200" spc="4" dirty="0">
                <a:latin typeface="Arial"/>
                <a:cs typeface="Arial"/>
              </a:rPr>
              <a:t>e</a:t>
            </a:r>
            <a:r>
              <a:rPr sz="1200" dirty="0">
                <a:latin typeface="Arial"/>
                <a:cs typeface="Arial"/>
              </a:rPr>
              <a:t>r</a:t>
            </a:r>
            <a:r>
              <a:rPr sz="1200" spc="-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dirty="0">
                <a:latin typeface="Arial"/>
                <a:cs typeface="Arial"/>
              </a:rPr>
              <a:t>Deli</a:t>
            </a:r>
            <a:r>
              <a:rPr sz="1200" spc="-14" dirty="0">
                <a:latin typeface="Arial"/>
                <a:cs typeface="Arial"/>
              </a:rPr>
              <a:t>v</a:t>
            </a:r>
            <a:r>
              <a:rPr sz="1200" spc="4" dirty="0">
                <a:latin typeface="Arial"/>
                <a:cs typeface="Arial"/>
              </a:rPr>
              <a:t>e</a:t>
            </a:r>
            <a:r>
              <a:rPr sz="1200" dirty="0">
                <a:latin typeface="Arial"/>
                <a:cs typeface="Arial"/>
              </a:rPr>
              <a:t>ry</a:t>
            </a:r>
            <a:r>
              <a:rPr sz="1200" spc="-14" dirty="0">
                <a:latin typeface="Arial"/>
                <a:cs typeface="Arial"/>
              </a:rPr>
              <a:t> </a:t>
            </a:r>
            <a:r>
              <a:rPr sz="1200" dirty="0">
                <a:latin typeface="Arial"/>
                <a:cs typeface="Arial"/>
              </a:rPr>
              <a:t>cre</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d</a:t>
            </a:r>
            <a:r>
              <a:rPr sz="1200" spc="-14" dirty="0">
                <a:latin typeface="Arial"/>
                <a:cs typeface="Arial"/>
              </a:rPr>
              <a:t> </a:t>
            </a:r>
            <a:r>
              <a:rPr sz="1200" dirty="0">
                <a:latin typeface="Arial"/>
                <a:cs typeface="Arial"/>
              </a:rPr>
              <a:t>in</a:t>
            </a:r>
            <a:r>
              <a:rPr sz="1200" spc="-4" dirty="0">
                <a:latin typeface="Arial"/>
                <a:cs typeface="Arial"/>
              </a:rPr>
              <a:t> </a:t>
            </a:r>
            <a:r>
              <a:rPr sz="1200" spc="4" dirty="0">
                <a:latin typeface="Arial"/>
                <a:cs typeface="Arial"/>
              </a:rPr>
              <a:t>on</a:t>
            </a:r>
            <a:r>
              <a:rPr sz="1200" dirty="0">
                <a:latin typeface="Arial"/>
                <a:cs typeface="Arial"/>
              </a:rPr>
              <a:t>e</a:t>
            </a:r>
            <a:r>
              <a:rPr sz="1200" spc="-14" dirty="0">
                <a:latin typeface="Arial"/>
                <a:cs typeface="Arial"/>
              </a:rPr>
              <a:t> </a:t>
            </a:r>
            <a:r>
              <a:rPr sz="1200" dirty="0">
                <a:latin typeface="Arial"/>
                <a:cs typeface="Arial"/>
              </a:rPr>
              <a:t>st</a:t>
            </a:r>
            <a:r>
              <a:rPr sz="1200" spc="4" dirty="0">
                <a:latin typeface="Arial"/>
                <a:cs typeface="Arial"/>
              </a:rPr>
              <a:t>ep</a:t>
            </a:r>
            <a:r>
              <a:rPr sz="1200" dirty="0">
                <a:latin typeface="Arial"/>
                <a:cs typeface="Arial"/>
              </a:rPr>
              <a:t>.</a:t>
            </a:r>
            <a:endParaRPr sz="1200">
              <a:latin typeface="Arial"/>
              <a:cs typeface="Arial"/>
            </a:endParaRPr>
          </a:p>
        </p:txBody>
      </p:sp>
      <p:sp>
        <p:nvSpPr>
          <p:cNvPr id="8" name="object 8"/>
          <p:cNvSpPr txBox="1"/>
          <p:nvPr/>
        </p:nvSpPr>
        <p:spPr>
          <a:xfrm>
            <a:off x="2387601" y="4752165"/>
            <a:ext cx="806297"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e</a:t>
            </a:r>
            <a:r>
              <a:rPr sz="1200" dirty="0">
                <a:latin typeface="Arial"/>
                <a:cs typeface="Arial"/>
              </a:rPr>
              <a:t>.</a:t>
            </a:r>
            <a:endParaRPr sz="1200">
              <a:latin typeface="Arial"/>
              <a:cs typeface="Arial"/>
            </a:endParaRPr>
          </a:p>
        </p:txBody>
      </p:sp>
      <p:sp>
        <p:nvSpPr>
          <p:cNvPr id="7" name="object 7"/>
          <p:cNvSpPr txBox="1"/>
          <p:nvPr/>
        </p:nvSpPr>
        <p:spPr>
          <a:xfrm>
            <a:off x="2300732" y="5117925"/>
            <a:ext cx="2697050"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b</a:t>
            </a:r>
            <a:r>
              <a:rPr sz="1200" dirty="0">
                <a:latin typeface="Arial"/>
                <a:cs typeface="Arial"/>
              </a:rPr>
              <a:t>. </a:t>
            </a:r>
            <a:r>
              <a:rPr sz="1200" spc="4" dirty="0">
                <a:latin typeface="Arial"/>
                <a:cs typeface="Arial"/>
              </a:rPr>
              <a:t> </a:t>
            </a:r>
            <a:r>
              <a:rPr sz="1200" dirty="0">
                <a:latin typeface="Arial"/>
                <a:cs typeface="Arial"/>
              </a:rPr>
              <a:t>No</a:t>
            </a:r>
            <a:r>
              <a:rPr sz="1200" spc="-4" dirty="0">
                <a:latin typeface="Arial"/>
                <a:cs typeface="Arial"/>
              </a:rPr>
              <a:t> </a:t>
            </a:r>
            <a:r>
              <a:rPr sz="1200" spc="4" dirty="0">
                <a:latin typeface="Arial"/>
                <a:cs typeface="Arial"/>
              </a:rPr>
              <a:t>ou</a:t>
            </a:r>
            <a:r>
              <a:rPr sz="1200" dirty="0">
                <a:latin typeface="Arial"/>
                <a:cs typeface="Arial"/>
              </a:rPr>
              <a:t>t</a:t>
            </a:r>
            <a:r>
              <a:rPr sz="1200" spc="4" dirty="0">
                <a:latin typeface="Arial"/>
                <a:cs typeface="Arial"/>
              </a:rPr>
              <a:t>pu</a:t>
            </a:r>
            <a:r>
              <a:rPr sz="1200" dirty="0">
                <a:latin typeface="Arial"/>
                <a:cs typeface="Arial"/>
              </a:rPr>
              <a:t>t</a:t>
            </a:r>
            <a:r>
              <a:rPr sz="1200" spc="-29"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m</a:t>
            </a:r>
            <a:r>
              <a:rPr sz="1200" dirty="0">
                <a:latin typeface="Arial"/>
                <a:cs typeface="Arial"/>
              </a:rPr>
              <a:t>in</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24" dirty="0">
                <a:latin typeface="Arial"/>
                <a:cs typeface="Arial"/>
              </a:rPr>
              <a:t> </a:t>
            </a:r>
            <a:r>
              <a:rPr sz="1000" spc="4" dirty="0">
                <a:latin typeface="Arial"/>
                <a:cs typeface="Arial"/>
              </a:rPr>
              <a:t>(c</a:t>
            </a:r>
            <a:r>
              <a:rPr sz="1000" dirty="0">
                <a:latin typeface="Arial"/>
                <a:cs typeface="Arial"/>
              </a:rPr>
              <a:t>ar</a:t>
            </a:r>
            <a:r>
              <a:rPr sz="1000" spc="4" dirty="0">
                <a:latin typeface="Arial"/>
                <a:cs typeface="Arial"/>
              </a:rPr>
              <a:t>r</a:t>
            </a:r>
            <a:r>
              <a:rPr sz="1000" spc="-4" dirty="0">
                <a:latin typeface="Arial"/>
                <a:cs typeface="Arial"/>
              </a:rPr>
              <a:t>i</a:t>
            </a:r>
            <a:r>
              <a:rPr sz="1000" dirty="0">
                <a:latin typeface="Arial"/>
                <a:cs typeface="Arial"/>
              </a:rPr>
              <a:t>ed</a:t>
            </a:r>
            <a:r>
              <a:rPr sz="1000" spc="-38" dirty="0">
                <a:latin typeface="Arial"/>
                <a:cs typeface="Arial"/>
              </a:rPr>
              <a:t> </a:t>
            </a:r>
            <a:r>
              <a:rPr sz="1000" dirty="0">
                <a:latin typeface="Arial"/>
                <a:cs typeface="Arial"/>
              </a:rPr>
              <a:t>o</a:t>
            </a:r>
            <a:r>
              <a:rPr sz="1000" spc="-4" dirty="0">
                <a:latin typeface="Arial"/>
                <a:cs typeface="Arial"/>
              </a:rPr>
              <a:t>u</a:t>
            </a:r>
            <a:r>
              <a:rPr sz="1000" dirty="0">
                <a:latin typeface="Arial"/>
                <a:cs typeface="Arial"/>
              </a:rPr>
              <a:t>t</a:t>
            </a:r>
            <a:r>
              <a:rPr sz="1000" spc="-28" dirty="0">
                <a:latin typeface="Arial"/>
                <a:cs typeface="Arial"/>
              </a:rPr>
              <a:t> </a:t>
            </a:r>
            <a:r>
              <a:rPr sz="1000" spc="-4" dirty="0">
                <a:latin typeface="Arial"/>
                <a:cs typeface="Arial"/>
              </a:rPr>
              <a:t>i</a:t>
            </a:r>
            <a:r>
              <a:rPr sz="1000" dirty="0">
                <a:latin typeface="Arial"/>
                <a:cs typeface="Arial"/>
              </a:rPr>
              <a:t>n</a:t>
            </a:r>
            <a:endParaRPr sz="1000">
              <a:latin typeface="Arial"/>
              <a:cs typeface="Arial"/>
            </a:endParaRPr>
          </a:p>
        </p:txBody>
      </p:sp>
      <p:sp>
        <p:nvSpPr>
          <p:cNvPr id="5" name="object 5"/>
          <p:cNvSpPr txBox="1"/>
          <p:nvPr/>
        </p:nvSpPr>
        <p:spPr>
          <a:xfrm>
            <a:off x="1752600" y="4114800"/>
            <a:ext cx="4572000" cy="2286000"/>
          </a:xfrm>
          <a:prstGeom prst="rect">
            <a:avLst/>
          </a:prstGeom>
        </p:spPr>
        <p:txBody>
          <a:bodyPr wrap="square" lIns="0" tIns="0" rIns="0" bIns="0" rtlCol="0">
            <a:noAutofit/>
          </a:bodyPr>
          <a:lstStyle/>
          <a:p>
            <a:pPr>
              <a:lnSpc>
                <a:spcPts val="600"/>
              </a:lnSpc>
              <a:spcBef>
                <a:spcPts val="45"/>
              </a:spcBef>
            </a:pPr>
            <a:endParaRPr sz="600"/>
          </a:p>
          <a:p>
            <a:pPr marL="91439">
              <a:lnSpc>
                <a:spcPct val="95825"/>
              </a:lnSpc>
            </a:pPr>
            <a:r>
              <a:rPr sz="1200" b="1" dirty="0">
                <a:latin typeface="Arial"/>
                <a:cs typeface="Arial"/>
              </a:rPr>
              <a:t>BV</a:t>
            </a:r>
            <a:r>
              <a:rPr sz="1200" b="1" spc="-4" dirty="0">
                <a:latin typeface="Arial"/>
                <a:cs typeface="Arial"/>
              </a:rPr>
              <a:t> </a:t>
            </a:r>
            <a:r>
              <a:rPr sz="1200" b="1" spc="4" dirty="0">
                <a:latin typeface="Arial"/>
                <a:cs typeface="Arial"/>
              </a:rPr>
              <a:t>–</a:t>
            </a:r>
            <a:r>
              <a:rPr sz="1200" b="1" dirty="0">
                <a:latin typeface="Arial"/>
                <a:cs typeface="Arial"/>
              </a:rPr>
              <a:t>Ca</a:t>
            </a:r>
            <a:r>
              <a:rPr sz="1200" b="1" spc="4" dirty="0">
                <a:latin typeface="Arial"/>
                <a:cs typeface="Arial"/>
              </a:rPr>
              <a:t>s</a:t>
            </a:r>
            <a:r>
              <a:rPr sz="1200" b="1" dirty="0">
                <a:latin typeface="Arial"/>
                <a:cs typeface="Arial"/>
              </a:rPr>
              <a:t>h</a:t>
            </a:r>
            <a:r>
              <a:rPr sz="1200" b="1" spc="-19" dirty="0">
                <a:latin typeface="Arial"/>
                <a:cs typeface="Arial"/>
              </a:rPr>
              <a:t> </a:t>
            </a:r>
            <a:r>
              <a:rPr sz="1200" b="1" dirty="0">
                <a:latin typeface="Arial"/>
                <a:cs typeface="Arial"/>
              </a:rPr>
              <a:t>S</a:t>
            </a:r>
            <a:r>
              <a:rPr sz="1200" b="1" spc="4" dirty="0">
                <a:latin typeface="Arial"/>
                <a:cs typeface="Arial"/>
              </a:rPr>
              <a:t>a</a:t>
            </a:r>
            <a:r>
              <a:rPr sz="1200" b="1" dirty="0">
                <a:latin typeface="Arial"/>
                <a:cs typeface="Arial"/>
              </a:rPr>
              <a:t>le</a:t>
            </a:r>
            <a:r>
              <a:rPr sz="1200" b="1" spc="-9" dirty="0">
                <a:latin typeface="Arial"/>
                <a:cs typeface="Arial"/>
              </a:rPr>
              <a:t> </a:t>
            </a:r>
            <a:r>
              <a:rPr sz="1200" dirty="0">
                <a:latin typeface="Arial"/>
                <a:cs typeface="Arial"/>
              </a:rPr>
              <a:t>:</a:t>
            </a:r>
            <a:endParaRPr sz="1200">
              <a:latin typeface="Arial"/>
              <a:cs typeface="Arial"/>
            </a:endParaRPr>
          </a:p>
          <a:p>
            <a:pPr marL="560832" marR="1162735" indent="-85343">
              <a:lnSpc>
                <a:spcPts val="1379"/>
              </a:lnSpc>
              <a:spcBef>
                <a:spcPts val="1500"/>
              </a:spcBef>
            </a:pPr>
            <a:r>
              <a:rPr sz="1200" spc="4" dirty="0">
                <a:latin typeface="Arial"/>
                <a:cs typeface="Arial"/>
              </a:rPr>
              <a:t>2</a:t>
            </a:r>
            <a:r>
              <a:rPr sz="1200" dirty="0">
                <a:latin typeface="Arial"/>
                <a:cs typeface="Arial"/>
              </a:rPr>
              <a:t>.</a:t>
            </a:r>
            <a:r>
              <a:rPr sz="1200" spc="4" dirty="0">
                <a:latin typeface="Arial"/>
                <a:cs typeface="Arial"/>
              </a:rPr>
              <a:t> </a:t>
            </a:r>
            <a:r>
              <a:rPr sz="1200" dirty="0">
                <a:latin typeface="Arial"/>
                <a:cs typeface="Arial"/>
              </a:rPr>
              <a:t>Follo</a:t>
            </a:r>
            <a:r>
              <a:rPr sz="1200" spc="-14" dirty="0">
                <a:latin typeface="Arial"/>
                <a:cs typeface="Arial"/>
              </a:rPr>
              <a:t>w</a:t>
            </a:r>
            <a:r>
              <a:rPr sz="1200" dirty="0">
                <a:latin typeface="Arial"/>
                <a:cs typeface="Arial"/>
              </a:rPr>
              <a:t>ing</a:t>
            </a:r>
            <a:r>
              <a:rPr sz="1200" spc="-25"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a</a:t>
            </a:r>
            <a:r>
              <a:rPr sz="1200" dirty="0">
                <a:latin typeface="Arial"/>
                <a:cs typeface="Arial"/>
              </a:rPr>
              <a:t>i</a:t>
            </a:r>
            <a:r>
              <a:rPr sz="1200" spc="-4" dirty="0">
                <a:latin typeface="Arial"/>
                <a:cs typeface="Arial"/>
              </a:rPr>
              <a:t>l</a:t>
            </a:r>
            <a:r>
              <a:rPr sz="1200" dirty="0">
                <a:latin typeface="Arial"/>
                <a:cs typeface="Arial"/>
              </a:rPr>
              <a:t>s</a:t>
            </a:r>
            <a:r>
              <a:rPr sz="1200" spc="-19" dirty="0">
                <a:latin typeface="Arial"/>
                <a:cs typeface="Arial"/>
              </a:rPr>
              <a:t> </a:t>
            </a:r>
            <a:r>
              <a:rPr sz="1200" spc="-14" dirty="0">
                <a:latin typeface="Arial"/>
                <a:cs typeface="Arial"/>
              </a:rPr>
              <a:t>w</a:t>
            </a:r>
            <a:r>
              <a:rPr sz="1200" dirty="0">
                <a:latin typeface="Arial"/>
                <a:cs typeface="Arial"/>
              </a:rPr>
              <a:t>i</a:t>
            </a:r>
            <a:r>
              <a:rPr sz="1200" spc="-4" dirty="0">
                <a:latin typeface="Arial"/>
                <a:cs typeface="Arial"/>
              </a:rPr>
              <a:t>l</a:t>
            </a:r>
            <a:r>
              <a:rPr sz="1200" dirty="0">
                <a:latin typeface="Arial"/>
                <a:cs typeface="Arial"/>
              </a:rPr>
              <a:t>l</a:t>
            </a:r>
            <a:r>
              <a:rPr sz="1200" spc="9" dirty="0">
                <a:latin typeface="Arial"/>
                <a:cs typeface="Arial"/>
              </a:rPr>
              <a:t> </a:t>
            </a:r>
            <a:r>
              <a:rPr sz="1200" spc="4" dirty="0">
                <a:latin typeface="Arial"/>
                <a:cs typeface="Arial"/>
              </a:rPr>
              <a:t>d</a:t>
            </a:r>
            <a:r>
              <a:rPr sz="1200" dirty="0">
                <a:latin typeface="Arial"/>
                <a:cs typeface="Arial"/>
              </a:rPr>
              <a:t>i</a:t>
            </a:r>
            <a:r>
              <a:rPr sz="1200" spc="-9" dirty="0">
                <a:latin typeface="Arial"/>
                <a:cs typeface="Arial"/>
              </a:rPr>
              <a:t>f</a:t>
            </a:r>
            <a:r>
              <a:rPr sz="1200" spc="14" dirty="0">
                <a:latin typeface="Arial"/>
                <a:cs typeface="Arial"/>
              </a:rPr>
              <a:t>f</a:t>
            </a:r>
            <a:r>
              <a:rPr sz="1200" spc="4" dirty="0">
                <a:latin typeface="Arial"/>
                <a:cs typeface="Arial"/>
              </a:rPr>
              <a:t>e</a:t>
            </a:r>
            <a:r>
              <a:rPr sz="1200" dirty="0">
                <a:latin typeface="Arial"/>
                <a:cs typeface="Arial"/>
              </a:rPr>
              <a:t>r</a:t>
            </a:r>
            <a:r>
              <a:rPr sz="1200" spc="-34" dirty="0">
                <a:latin typeface="Arial"/>
                <a:cs typeface="Arial"/>
              </a:rPr>
              <a:t> </a:t>
            </a:r>
            <a:r>
              <a:rPr sz="1200" spc="14" dirty="0">
                <a:latin typeface="Arial"/>
                <a:cs typeface="Arial"/>
              </a:rPr>
              <a:t>f</a:t>
            </a:r>
            <a:r>
              <a:rPr sz="1200" dirty="0">
                <a:latin typeface="Arial"/>
                <a:cs typeface="Arial"/>
              </a:rPr>
              <a:t>rom</a:t>
            </a:r>
            <a:r>
              <a:rPr sz="1200" spc="-9" dirty="0">
                <a:latin typeface="Arial"/>
                <a:cs typeface="Arial"/>
              </a:rPr>
              <a:t> </a:t>
            </a:r>
            <a:r>
              <a:rPr sz="1200" dirty="0">
                <a:latin typeface="Arial"/>
                <a:cs typeface="Arial"/>
              </a:rPr>
              <a:t>st</a:t>
            </a:r>
            <a:r>
              <a:rPr sz="1200" spc="4" dirty="0">
                <a:latin typeface="Arial"/>
                <a:cs typeface="Arial"/>
              </a:rPr>
              <a:t>anda</a:t>
            </a:r>
            <a:r>
              <a:rPr sz="1200" dirty="0">
                <a:latin typeface="Arial"/>
                <a:cs typeface="Arial"/>
              </a:rPr>
              <a:t>rd </a:t>
            </a:r>
            <a:endParaRPr sz="1200">
              <a:latin typeface="Arial"/>
              <a:cs typeface="Arial"/>
            </a:endParaRPr>
          </a:p>
          <a:p>
            <a:pPr marL="560832" marR="1162735">
              <a:lnSpc>
                <a:spcPts val="1379"/>
              </a:lnSpc>
              <a:spcBef>
                <a:spcPts val="1499"/>
              </a:spcBef>
            </a:pPr>
            <a:r>
              <a:rPr sz="1200" spc="4" dirty="0">
                <a:latin typeface="Arial"/>
                <a:cs typeface="Arial"/>
              </a:rPr>
              <a:t>a</a:t>
            </a:r>
            <a:r>
              <a:rPr sz="1200" dirty="0">
                <a:latin typeface="Arial"/>
                <a:cs typeface="Arial"/>
              </a:rPr>
              <a:t>.</a:t>
            </a:r>
            <a:r>
              <a:rPr sz="1200" spc="4" dirty="0">
                <a:latin typeface="Arial"/>
                <a:cs typeface="Arial"/>
              </a:rPr>
              <a:t> </a:t>
            </a:r>
            <a:r>
              <a:rPr sz="1200" dirty="0">
                <a:latin typeface="Arial"/>
                <a:cs typeface="Arial"/>
              </a:rPr>
              <a:t>Ord</a:t>
            </a:r>
            <a:r>
              <a:rPr sz="1200" spc="4" dirty="0">
                <a:latin typeface="Arial"/>
                <a:cs typeface="Arial"/>
              </a:rPr>
              <a:t>e</a:t>
            </a:r>
            <a:r>
              <a:rPr sz="1200" dirty="0">
                <a:latin typeface="Arial"/>
                <a:cs typeface="Arial"/>
              </a:rPr>
              <a:t>r</a:t>
            </a:r>
            <a:r>
              <a:rPr sz="1200" spc="-4" dirty="0">
                <a:latin typeface="Arial"/>
                <a:cs typeface="Arial"/>
              </a:rPr>
              <a:t>-</a:t>
            </a:r>
            <a:r>
              <a:rPr sz="1200" dirty="0">
                <a:latin typeface="Arial"/>
                <a:cs typeface="Arial"/>
              </a:rPr>
              <a:t>rela</a:t>
            </a:r>
            <a:r>
              <a:rPr sz="1200" spc="4" dirty="0">
                <a:latin typeface="Arial"/>
                <a:cs typeface="Arial"/>
              </a:rPr>
              <a:t>te</a:t>
            </a:r>
            <a:r>
              <a:rPr sz="1200" dirty="0">
                <a:latin typeface="Arial"/>
                <a:cs typeface="Arial"/>
              </a:rPr>
              <a:t>d</a:t>
            </a:r>
            <a:r>
              <a:rPr sz="1200" spc="-2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endParaRPr sz="1200">
              <a:latin typeface="Arial"/>
              <a:cs typeface="Arial"/>
            </a:endParaRPr>
          </a:p>
          <a:p>
            <a:pPr marL="717804">
              <a:lnSpc>
                <a:spcPct val="95825"/>
              </a:lnSpc>
              <a:spcBef>
                <a:spcPts val="1534"/>
              </a:spcBef>
            </a:pPr>
            <a:r>
              <a:rPr sz="1000" spc="4" dirty="0">
                <a:latin typeface="Arial"/>
                <a:cs typeface="Arial"/>
              </a:rPr>
              <a:t>s</a:t>
            </a:r>
            <a:r>
              <a:rPr sz="1000" dirty="0">
                <a:latin typeface="Arial"/>
                <a:cs typeface="Arial"/>
              </a:rPr>
              <a:t>a</a:t>
            </a:r>
            <a:r>
              <a:rPr sz="1000" spc="-4" dirty="0">
                <a:latin typeface="Arial"/>
                <a:cs typeface="Arial"/>
              </a:rPr>
              <a:t>l</a:t>
            </a:r>
            <a:r>
              <a:rPr sz="1000" dirty="0">
                <a:latin typeface="Arial"/>
                <a:cs typeface="Arial"/>
              </a:rPr>
              <a:t>es</a:t>
            </a:r>
            <a:r>
              <a:rPr sz="1000" spc="-18" dirty="0">
                <a:latin typeface="Arial"/>
                <a:cs typeface="Arial"/>
              </a:rPr>
              <a:t> </a:t>
            </a:r>
            <a:r>
              <a:rPr sz="1000" dirty="0">
                <a:latin typeface="Arial"/>
                <a:cs typeface="Arial"/>
              </a:rPr>
              <a:t>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a:t>
            </a:r>
            <a:endParaRPr sz="1000">
              <a:latin typeface="Arial"/>
              <a:cs typeface="Arial"/>
            </a:endParaRPr>
          </a:p>
          <a:p>
            <a:pPr marL="752856" marR="842010" indent="-192024">
              <a:lnSpc>
                <a:spcPct val="99658"/>
              </a:lnSpc>
              <a:spcBef>
                <a:spcPts val="55"/>
              </a:spcBef>
            </a:pPr>
            <a:r>
              <a:rPr sz="1200" dirty="0">
                <a:latin typeface="Arial"/>
                <a:cs typeface="Arial"/>
              </a:rPr>
              <a:t>c.</a:t>
            </a:r>
            <a:r>
              <a:rPr sz="1200" spc="14" dirty="0">
                <a:latin typeface="Arial"/>
                <a:cs typeface="Arial"/>
              </a:rPr>
              <a:t> </a:t>
            </a:r>
            <a:r>
              <a:rPr sz="1200" dirty="0">
                <a:latin typeface="Arial"/>
                <a:cs typeface="Arial"/>
              </a:rPr>
              <a:t>No</a:t>
            </a:r>
            <a:r>
              <a:rPr sz="1200" spc="-4" dirty="0">
                <a:latin typeface="Arial"/>
                <a:cs typeface="Arial"/>
              </a:rPr>
              <a:t> </a:t>
            </a:r>
            <a:r>
              <a:rPr sz="1200" spc="4" dirty="0">
                <a:latin typeface="Arial"/>
                <a:cs typeface="Arial"/>
              </a:rPr>
              <a:t>ne</a:t>
            </a:r>
            <a:r>
              <a:rPr sz="1200" dirty="0">
                <a:latin typeface="Arial"/>
                <a:cs typeface="Arial"/>
              </a:rPr>
              <a:t>w</a:t>
            </a:r>
            <a:r>
              <a:rPr sz="1200" spc="-25" dirty="0">
                <a:latin typeface="Arial"/>
                <a:cs typeface="Arial"/>
              </a:rPr>
              <a:t> </a:t>
            </a:r>
            <a:r>
              <a:rPr sz="1200" spc="4" dirty="0">
                <a:latin typeface="Arial"/>
                <a:cs typeface="Arial"/>
              </a:rPr>
              <a:t>p</a:t>
            </a:r>
            <a:r>
              <a:rPr sz="1200" dirty="0">
                <a:latin typeface="Arial"/>
                <a:cs typeface="Arial"/>
              </a:rPr>
              <a:t>r</a:t>
            </a:r>
            <a:r>
              <a:rPr sz="1200" spc="-4" dirty="0">
                <a:latin typeface="Arial"/>
                <a:cs typeface="Arial"/>
              </a:rPr>
              <a:t>i</a:t>
            </a:r>
            <a:r>
              <a:rPr sz="1200" dirty="0">
                <a:latin typeface="Arial"/>
                <a:cs typeface="Arial"/>
              </a:rPr>
              <a:t>ce</a:t>
            </a:r>
            <a:r>
              <a:rPr sz="1200" spc="-4" dirty="0">
                <a:latin typeface="Arial"/>
                <a:cs typeface="Arial"/>
              </a:rPr>
              <a:t> </a:t>
            </a:r>
            <a:r>
              <a:rPr sz="1200" spc="4" dirty="0">
                <a:latin typeface="Arial"/>
                <a:cs typeface="Arial"/>
              </a:rPr>
              <a:t>de</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m</a:t>
            </a:r>
            <a:r>
              <a:rPr sz="1200" dirty="0">
                <a:latin typeface="Arial"/>
                <a:cs typeface="Arial"/>
              </a:rPr>
              <a:t>in</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49" dirty="0">
                <a:latin typeface="Arial"/>
                <a:cs typeface="Arial"/>
              </a:rPr>
              <a:t> </a:t>
            </a:r>
            <a:r>
              <a:rPr sz="1200" spc="9" dirty="0">
                <a:latin typeface="Arial"/>
                <a:cs typeface="Arial"/>
              </a:rPr>
              <a:t>(</a:t>
            </a:r>
            <a:r>
              <a:rPr sz="1000" dirty="0">
                <a:latin typeface="Arial"/>
                <a:cs typeface="Arial"/>
              </a:rPr>
              <a:t>pric</a:t>
            </a:r>
            <a:r>
              <a:rPr sz="1000" spc="-4" dirty="0">
                <a:latin typeface="Arial"/>
                <a:cs typeface="Arial"/>
              </a:rPr>
              <a:t>i</a:t>
            </a:r>
            <a:r>
              <a:rPr sz="1000" dirty="0">
                <a:latin typeface="Arial"/>
                <a:cs typeface="Arial"/>
              </a:rPr>
              <a:t>ng</a:t>
            </a:r>
            <a:r>
              <a:rPr sz="1000" spc="-24" dirty="0">
                <a:latin typeface="Arial"/>
                <a:cs typeface="Arial"/>
              </a:rPr>
              <a:t> </a:t>
            </a:r>
            <a:r>
              <a:rPr sz="1000" dirty="0">
                <a:latin typeface="Arial"/>
                <a:cs typeface="Arial"/>
              </a:rPr>
              <a:t>n</a:t>
            </a:r>
            <a:r>
              <a:rPr sz="1000" spc="-4" dirty="0">
                <a:latin typeface="Arial"/>
                <a:cs typeface="Arial"/>
              </a:rPr>
              <a:t>o</a:t>
            </a:r>
            <a:r>
              <a:rPr sz="1000" dirty="0">
                <a:latin typeface="Arial"/>
                <a:cs typeface="Arial"/>
              </a:rPr>
              <a:t>t</a:t>
            </a:r>
            <a:r>
              <a:rPr sz="1000" spc="-13" dirty="0">
                <a:latin typeface="Arial"/>
                <a:cs typeface="Arial"/>
              </a:rPr>
              <a:t> </a:t>
            </a:r>
            <a:r>
              <a:rPr sz="1000" spc="-4" dirty="0">
                <a:latin typeface="Arial"/>
                <a:cs typeface="Arial"/>
              </a:rPr>
              <a:t>di</a:t>
            </a:r>
            <a:r>
              <a:rPr sz="1000" spc="9" dirty="0">
                <a:latin typeface="Arial"/>
                <a:cs typeface="Arial"/>
              </a:rPr>
              <a:t>ff</a:t>
            </a:r>
            <a:r>
              <a:rPr sz="1000" dirty="0">
                <a:latin typeface="Arial"/>
                <a:cs typeface="Arial"/>
              </a:rPr>
              <a:t>ered </a:t>
            </a:r>
            <a:r>
              <a:rPr sz="1000" spc="9" dirty="0">
                <a:latin typeface="Arial"/>
                <a:cs typeface="Arial"/>
              </a:rPr>
              <a:t>f</a:t>
            </a:r>
            <a:r>
              <a:rPr sz="1000" spc="4" dirty="0">
                <a:latin typeface="Arial"/>
                <a:cs typeface="Arial"/>
              </a:rPr>
              <a:t>r</a:t>
            </a:r>
            <a:r>
              <a:rPr sz="1000" dirty="0">
                <a:latin typeface="Arial"/>
                <a:cs typeface="Arial"/>
              </a:rPr>
              <a:t>om</a:t>
            </a:r>
            <a:r>
              <a:rPr sz="1000" spc="-24" dirty="0">
                <a:latin typeface="Arial"/>
                <a:cs typeface="Arial"/>
              </a:rPr>
              <a:t> </a:t>
            </a:r>
            <a:r>
              <a:rPr sz="1000" dirty="0">
                <a:latin typeface="Arial"/>
                <a:cs typeface="Arial"/>
              </a:rPr>
              <a:t>pri</a:t>
            </a:r>
            <a:r>
              <a:rPr sz="1000" spc="-4" dirty="0">
                <a:latin typeface="Arial"/>
                <a:cs typeface="Arial"/>
              </a:rPr>
              <a:t>n</a:t>
            </a:r>
            <a:r>
              <a:rPr sz="1000" dirty="0">
                <a:latin typeface="Arial"/>
                <a:cs typeface="Arial"/>
              </a:rPr>
              <a:t>ted</a:t>
            </a:r>
            <a:r>
              <a:rPr sz="1000" spc="-35" dirty="0">
                <a:latin typeface="Arial"/>
                <a:cs typeface="Arial"/>
              </a:rPr>
              <a:t> </a:t>
            </a:r>
            <a:r>
              <a:rPr sz="1000" spc="-4" dirty="0">
                <a:latin typeface="Arial"/>
                <a:cs typeface="Arial"/>
              </a:rPr>
              <a:t>i</a:t>
            </a:r>
            <a:r>
              <a:rPr sz="1000" dirty="0">
                <a:latin typeface="Arial"/>
                <a:cs typeface="Arial"/>
              </a:rPr>
              <a:t>n</a:t>
            </a:r>
            <a:r>
              <a:rPr sz="1000" spc="-9" dirty="0">
                <a:latin typeface="Arial"/>
                <a:cs typeface="Arial"/>
              </a:rPr>
              <a:t>v</a:t>
            </a:r>
            <a:r>
              <a:rPr sz="1000" dirty="0">
                <a:latin typeface="Arial"/>
                <a:cs typeface="Arial"/>
              </a:rPr>
              <a:t>o</a:t>
            </a:r>
            <a:r>
              <a:rPr sz="1000" spc="-4" dirty="0">
                <a:latin typeface="Arial"/>
                <a:cs typeface="Arial"/>
              </a:rPr>
              <a:t>i</a:t>
            </a:r>
            <a:r>
              <a:rPr sz="1000" spc="4" dirty="0">
                <a:latin typeface="Arial"/>
                <a:cs typeface="Arial"/>
              </a:rPr>
              <a:t>c</a:t>
            </a:r>
            <a:r>
              <a:rPr sz="1000" dirty="0">
                <a:latin typeface="Arial"/>
                <a:cs typeface="Arial"/>
              </a:rPr>
              <a:t>e)</a:t>
            </a:r>
            <a:endParaRPr sz="1000">
              <a:latin typeface="Arial"/>
              <a:cs typeface="Arial"/>
            </a:endParaRPr>
          </a:p>
          <a:p>
            <a:pPr marL="733044" marR="1266062" indent="-172212">
              <a:lnSpc>
                <a:spcPct val="100041"/>
              </a:lnSpc>
              <a:spcBef>
                <a:spcPts val="10"/>
              </a:spcBef>
            </a:pPr>
            <a:r>
              <a:rPr sz="1200" spc="4" dirty="0">
                <a:latin typeface="Arial"/>
                <a:cs typeface="Arial"/>
              </a:rPr>
              <a:t>d</a:t>
            </a:r>
            <a:r>
              <a:rPr sz="1200" dirty="0">
                <a:latin typeface="Arial"/>
                <a:cs typeface="Arial"/>
              </a:rPr>
              <a:t>.</a:t>
            </a:r>
            <a:r>
              <a:rPr sz="1200" spc="4" dirty="0">
                <a:latin typeface="Arial"/>
                <a:cs typeface="Arial"/>
              </a:rPr>
              <a:t> </a:t>
            </a:r>
            <a:r>
              <a:rPr sz="1200" dirty="0">
                <a:latin typeface="Arial"/>
                <a:cs typeface="Arial"/>
              </a:rPr>
              <a:t>P</a:t>
            </a:r>
            <a:r>
              <a:rPr sz="1200" spc="4" dirty="0">
                <a:latin typeface="Arial"/>
                <a:cs typeface="Arial"/>
              </a:rPr>
              <a:t>o</a:t>
            </a:r>
            <a:r>
              <a:rPr sz="1200" dirty="0">
                <a:latin typeface="Arial"/>
                <a:cs typeface="Arial"/>
              </a:rPr>
              <a:t>sti</a:t>
            </a:r>
            <a:r>
              <a:rPr sz="1200" spc="4" dirty="0">
                <a:latin typeface="Arial"/>
                <a:cs typeface="Arial"/>
              </a:rPr>
              <a:t>n</a:t>
            </a:r>
            <a:r>
              <a:rPr sz="1200" dirty="0">
                <a:latin typeface="Arial"/>
                <a:cs typeface="Arial"/>
              </a:rPr>
              <a:t>g</a:t>
            </a:r>
            <a:r>
              <a:rPr sz="1200" spc="-29"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FI</a:t>
            </a:r>
            <a:r>
              <a:rPr sz="1200" spc="14" dirty="0">
                <a:latin typeface="Arial"/>
                <a:cs typeface="Arial"/>
              </a:rPr>
              <a:t> </a:t>
            </a:r>
            <a:r>
              <a:rPr sz="1200" spc="4" dirty="0">
                <a:latin typeface="Arial"/>
                <a:cs typeface="Arial"/>
              </a:rPr>
              <a:t>mad</a:t>
            </a:r>
            <a:r>
              <a:rPr sz="1200" dirty="0">
                <a:latin typeface="Arial"/>
                <a:cs typeface="Arial"/>
              </a:rPr>
              <a:t>e</a:t>
            </a:r>
            <a:r>
              <a:rPr sz="1200" spc="-29" dirty="0">
                <a:latin typeface="Arial"/>
                <a:cs typeface="Arial"/>
              </a:rPr>
              <a:t> </a:t>
            </a:r>
            <a:r>
              <a:rPr sz="1200" dirty="0">
                <a:latin typeface="Arial"/>
                <a:cs typeface="Arial"/>
              </a:rPr>
              <a:t>to</a:t>
            </a:r>
            <a:r>
              <a:rPr sz="1200" spc="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sh</a:t>
            </a:r>
            <a:r>
              <a:rPr sz="1200" spc="-14"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t</a:t>
            </a:r>
            <a:r>
              <a:rPr sz="1200" spc="4" dirty="0">
                <a:latin typeface="Arial"/>
                <a:cs typeface="Arial"/>
              </a:rPr>
              <a:t>t</a:t>
            </a:r>
            <a:r>
              <a:rPr sz="1200" dirty="0">
                <a:latin typeface="Arial"/>
                <a:cs typeface="Arial"/>
              </a:rPr>
              <a:t>le</a:t>
            </a:r>
            <a:r>
              <a:rPr sz="1200" spc="9" dirty="0">
                <a:latin typeface="Arial"/>
                <a:cs typeface="Arial"/>
              </a:rPr>
              <a:t>m</a:t>
            </a:r>
            <a:r>
              <a:rPr sz="1200" spc="4" dirty="0">
                <a:latin typeface="Arial"/>
                <a:cs typeface="Arial"/>
              </a:rPr>
              <a:t>en</a:t>
            </a:r>
            <a:r>
              <a:rPr sz="1200" dirty="0">
                <a:latin typeface="Arial"/>
                <a:cs typeface="Arial"/>
              </a:rPr>
              <a:t>t </a:t>
            </a:r>
            <a:r>
              <a:rPr sz="1200" spc="4" dirty="0">
                <a:latin typeface="Arial"/>
                <a:cs typeface="Arial"/>
              </a:rPr>
              <a:t>no</a:t>
            </a:r>
            <a:r>
              <a:rPr sz="1200" dirty="0">
                <a:latin typeface="Arial"/>
                <a:cs typeface="Arial"/>
              </a:rPr>
              <a:t>t</a:t>
            </a:r>
            <a:r>
              <a:rPr sz="1200" spc="-4" dirty="0">
                <a:latin typeface="Arial"/>
                <a:cs typeface="Arial"/>
              </a:rPr>
              <a:t> </a:t>
            </a:r>
            <a:r>
              <a:rPr sz="1200" dirty="0">
                <a:latin typeface="Arial"/>
                <a:cs typeface="Arial"/>
              </a:rPr>
              <a:t>to c</a:t>
            </a:r>
            <a:r>
              <a:rPr sz="1200" spc="4" dirty="0">
                <a:latin typeface="Arial"/>
                <a:cs typeface="Arial"/>
              </a:rPr>
              <a:t>u</a:t>
            </a:r>
            <a:r>
              <a:rPr sz="1200" dirty="0">
                <a:latin typeface="Arial"/>
                <a:cs typeface="Arial"/>
              </a:rPr>
              <a:t>st</a:t>
            </a:r>
            <a:r>
              <a:rPr sz="1200" spc="4" dirty="0">
                <a:latin typeface="Arial"/>
                <a:cs typeface="Arial"/>
              </a:rPr>
              <a:t>ome</a:t>
            </a:r>
            <a:r>
              <a:rPr sz="1200" dirty="0">
                <a:latin typeface="Arial"/>
                <a:cs typeface="Arial"/>
              </a:rPr>
              <a:t>r</a:t>
            </a:r>
            <a:endParaRPr sz="1200">
              <a:latin typeface="Arial"/>
              <a:cs typeface="Arial"/>
            </a:endParaRPr>
          </a:p>
          <a:p>
            <a:pPr marL="603504">
              <a:lnSpc>
                <a:spcPct val="95825"/>
              </a:lnSpc>
            </a:pPr>
            <a:r>
              <a:rPr sz="1200" spc="4" dirty="0">
                <a:latin typeface="Arial"/>
                <a:cs typeface="Arial"/>
              </a:rPr>
              <a:t>e</a:t>
            </a:r>
            <a:r>
              <a:rPr sz="1200" dirty="0">
                <a:latin typeface="Arial"/>
                <a:cs typeface="Arial"/>
              </a:rPr>
              <a:t>.</a:t>
            </a:r>
            <a:r>
              <a:rPr sz="1200" spc="4" dirty="0">
                <a:latin typeface="Arial"/>
                <a:cs typeface="Arial"/>
              </a:rPr>
              <a:t> </a:t>
            </a:r>
            <a:r>
              <a:rPr sz="1200" dirty="0">
                <a:latin typeface="Arial"/>
                <a:cs typeface="Arial"/>
              </a:rPr>
              <a:t>B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V</a:t>
            </a:r>
            <a:r>
              <a:rPr sz="1200" dirty="0">
                <a:latin typeface="Arial"/>
                <a:cs typeface="Arial"/>
              </a:rPr>
              <a:t>’</a:t>
            </a:r>
            <a:r>
              <a:rPr sz="1200" spc="-50" dirty="0">
                <a:latin typeface="Arial"/>
                <a:cs typeface="Arial"/>
              </a:rPr>
              <a:t> </a:t>
            </a:r>
            <a:r>
              <a:rPr sz="1200" dirty="0">
                <a:latin typeface="Arial"/>
                <a:cs typeface="Arial"/>
              </a:rPr>
              <a:t>is </a:t>
            </a:r>
            <a:r>
              <a:rPr sz="1200" spc="4" dirty="0">
                <a:latin typeface="Arial"/>
                <a:cs typeface="Arial"/>
              </a:rPr>
              <a:t>u</a:t>
            </a:r>
            <a:r>
              <a:rPr sz="1200" dirty="0">
                <a:latin typeface="Arial"/>
                <a:cs typeface="Arial"/>
              </a:rPr>
              <a:t>s</a:t>
            </a:r>
            <a:r>
              <a:rPr sz="1200" spc="4" dirty="0">
                <a:latin typeface="Arial"/>
                <a:cs typeface="Arial"/>
              </a:rPr>
              <a:t>e</a:t>
            </a:r>
            <a:r>
              <a:rPr sz="1200" dirty="0">
                <a:latin typeface="Arial"/>
                <a:cs typeface="Arial"/>
              </a:rPr>
              <a:t>d</a:t>
            </a:r>
            <a:r>
              <a:rPr sz="1200" spc="-1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24" dirty="0">
                <a:latin typeface="Arial"/>
                <a:cs typeface="Arial"/>
              </a:rPr>
              <a:t> </a:t>
            </a:r>
            <a:r>
              <a:rPr sz="1200" dirty="0">
                <a:latin typeface="Arial"/>
                <a:cs typeface="Arial"/>
              </a:rPr>
              <a:t>c</a:t>
            </a:r>
            <a:r>
              <a:rPr sz="1200" spc="4" dirty="0">
                <a:latin typeface="Arial"/>
                <a:cs typeface="Arial"/>
              </a:rPr>
              <a:t>an</a:t>
            </a:r>
            <a:r>
              <a:rPr sz="1200" dirty="0">
                <a:latin typeface="Arial"/>
                <a:cs typeface="Arial"/>
              </a:rPr>
              <a:t>c</a:t>
            </a:r>
            <a:r>
              <a:rPr sz="1200" spc="4" dirty="0">
                <a:latin typeface="Arial"/>
                <a:cs typeface="Arial"/>
              </a:rPr>
              <a:t>e</a:t>
            </a:r>
            <a:r>
              <a:rPr sz="1200" dirty="0">
                <a:latin typeface="Arial"/>
                <a:cs typeface="Arial"/>
              </a:rPr>
              <a:t>l</a:t>
            </a:r>
            <a:r>
              <a:rPr sz="1200" spc="-4" dirty="0">
                <a:latin typeface="Arial"/>
                <a:cs typeface="Arial"/>
              </a:rPr>
              <a:t>l</a:t>
            </a:r>
            <a:r>
              <a:rPr sz="1200" spc="4" dirty="0">
                <a:latin typeface="Arial"/>
                <a:cs typeface="Arial"/>
              </a:rPr>
              <a:t>a</a:t>
            </a:r>
            <a:r>
              <a:rPr sz="1200" dirty="0">
                <a:latin typeface="Arial"/>
                <a:cs typeface="Arial"/>
              </a:rPr>
              <a:t>ti</a:t>
            </a:r>
            <a:r>
              <a:rPr sz="1200" spc="4" dirty="0">
                <a:latin typeface="Arial"/>
                <a:cs typeface="Arial"/>
              </a:rPr>
              <a:t>o</a:t>
            </a:r>
            <a:r>
              <a:rPr sz="1200" spc="-4" dirty="0">
                <a:latin typeface="Arial"/>
                <a:cs typeface="Arial"/>
              </a:rPr>
              <a:t>n</a:t>
            </a:r>
            <a:r>
              <a:rPr sz="1200" dirty="0">
                <a:latin typeface="Arial"/>
                <a:cs typeface="Arial"/>
              </a:rPr>
              <a:t>.</a:t>
            </a:r>
            <a:endParaRPr sz="1200">
              <a:latin typeface="Arial"/>
              <a:cs typeface="Arial"/>
            </a:endParaRPr>
          </a:p>
        </p:txBody>
      </p:sp>
      <p:sp>
        <p:nvSpPr>
          <p:cNvPr id="4" name="object 4"/>
          <p:cNvSpPr txBox="1"/>
          <p:nvPr/>
        </p:nvSpPr>
        <p:spPr>
          <a:xfrm>
            <a:off x="6553200" y="4038600"/>
            <a:ext cx="3886200" cy="2057400"/>
          </a:xfrm>
          <a:prstGeom prst="rect">
            <a:avLst/>
          </a:prstGeom>
        </p:spPr>
        <p:txBody>
          <a:bodyPr wrap="square" lIns="0" tIns="0" rIns="0" bIns="0" rtlCol="0">
            <a:noAutofit/>
          </a:bodyPr>
          <a:lstStyle/>
          <a:p>
            <a:pPr>
              <a:lnSpc>
                <a:spcPts val="900"/>
              </a:lnSpc>
              <a:spcBef>
                <a:spcPts val="45"/>
              </a:spcBef>
            </a:pPr>
            <a:endParaRPr sz="900"/>
          </a:p>
          <a:p>
            <a:pPr marL="92328">
              <a:lnSpc>
                <a:spcPct val="95825"/>
              </a:lnSpc>
            </a:pPr>
            <a:r>
              <a:rPr sz="1200" b="1" dirty="0">
                <a:latin typeface="Arial"/>
                <a:cs typeface="Arial"/>
              </a:rPr>
              <a:t>G</a:t>
            </a:r>
            <a:r>
              <a:rPr sz="1200" b="1" spc="4" dirty="0">
                <a:latin typeface="Arial"/>
                <a:cs typeface="Arial"/>
              </a:rPr>
              <a:t>2</a:t>
            </a:r>
            <a:r>
              <a:rPr sz="1200" b="1" dirty="0">
                <a:latin typeface="Arial"/>
                <a:cs typeface="Arial"/>
              </a:rPr>
              <a:t>/</a:t>
            </a:r>
            <a:r>
              <a:rPr sz="1200" b="1" spc="-4" dirty="0">
                <a:latin typeface="Arial"/>
                <a:cs typeface="Arial"/>
              </a:rPr>
              <a:t> </a:t>
            </a:r>
            <a:r>
              <a:rPr sz="1200" b="1" dirty="0">
                <a:latin typeface="Arial"/>
                <a:cs typeface="Arial"/>
              </a:rPr>
              <a:t>L2</a:t>
            </a:r>
            <a:r>
              <a:rPr sz="1200" b="1" spc="-4" dirty="0">
                <a:latin typeface="Arial"/>
                <a:cs typeface="Arial"/>
              </a:rPr>
              <a:t> </a:t>
            </a:r>
            <a:r>
              <a:rPr sz="1200" b="1" dirty="0">
                <a:latin typeface="Arial"/>
                <a:cs typeface="Arial"/>
              </a:rPr>
              <a:t>-</a:t>
            </a:r>
            <a:r>
              <a:rPr sz="1200" b="1" spc="9" dirty="0">
                <a:latin typeface="Arial"/>
                <a:cs typeface="Arial"/>
              </a:rPr>
              <a:t> </a:t>
            </a:r>
            <a:r>
              <a:rPr sz="1200" b="1" dirty="0">
                <a:latin typeface="Arial"/>
                <a:cs typeface="Arial"/>
              </a:rPr>
              <a:t>Cred</a:t>
            </a:r>
            <a:r>
              <a:rPr sz="1200" b="1" spc="4" dirty="0">
                <a:latin typeface="Arial"/>
                <a:cs typeface="Arial"/>
              </a:rPr>
              <a:t>i</a:t>
            </a:r>
            <a:r>
              <a:rPr sz="1200" b="1" dirty="0">
                <a:latin typeface="Arial"/>
                <a:cs typeface="Arial"/>
              </a:rPr>
              <a:t>t</a:t>
            </a:r>
            <a:r>
              <a:rPr sz="1200" b="1" spc="-9" dirty="0">
                <a:latin typeface="Arial"/>
                <a:cs typeface="Arial"/>
              </a:rPr>
              <a:t> </a:t>
            </a:r>
            <a:r>
              <a:rPr sz="1200" b="1" dirty="0">
                <a:latin typeface="Arial"/>
                <a:cs typeface="Arial"/>
              </a:rPr>
              <a:t>/</a:t>
            </a:r>
            <a:r>
              <a:rPr sz="1200" b="1" spc="14" dirty="0">
                <a:latin typeface="Arial"/>
                <a:cs typeface="Arial"/>
              </a:rPr>
              <a:t> </a:t>
            </a:r>
            <a:r>
              <a:rPr sz="1200" b="1" dirty="0">
                <a:latin typeface="Arial"/>
                <a:cs typeface="Arial"/>
              </a:rPr>
              <a:t>Debit m</a:t>
            </a:r>
            <a:r>
              <a:rPr sz="1200" b="1" spc="4" dirty="0">
                <a:latin typeface="Arial"/>
                <a:cs typeface="Arial"/>
              </a:rPr>
              <a:t>e</a:t>
            </a:r>
            <a:r>
              <a:rPr sz="1200" b="1" dirty="0">
                <a:latin typeface="Arial"/>
                <a:cs typeface="Arial"/>
              </a:rPr>
              <a:t>mo </a:t>
            </a:r>
            <a:r>
              <a:rPr sz="1200" dirty="0">
                <a:latin typeface="Arial"/>
                <a:cs typeface="Arial"/>
              </a:rPr>
              <a:t>:</a:t>
            </a:r>
            <a:endParaRPr sz="1200">
              <a:latin typeface="Arial"/>
              <a:cs typeface="Arial"/>
            </a:endParaRPr>
          </a:p>
          <a:p>
            <a:pPr marL="691261">
              <a:lnSpc>
                <a:spcPct val="95825"/>
              </a:lnSpc>
              <a:spcBef>
                <a:spcPts val="60"/>
              </a:spcBef>
            </a:pPr>
            <a:r>
              <a:rPr sz="1200" spc="4" dirty="0">
                <a:latin typeface="Arial"/>
                <a:cs typeface="Arial"/>
              </a:rPr>
              <a:t>1</a:t>
            </a:r>
            <a:r>
              <a:rPr sz="1200" dirty="0">
                <a:latin typeface="Arial"/>
                <a:cs typeface="Arial"/>
              </a:rPr>
              <a:t>.</a:t>
            </a: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a:t>
            </a:r>
            <a:r>
              <a:rPr sz="1200" spc="-14" dirty="0">
                <a:latin typeface="Arial"/>
                <a:cs typeface="Arial"/>
              </a:rPr>
              <a:t> </a:t>
            </a:r>
            <a:r>
              <a:rPr sz="1200" spc="-75" dirty="0">
                <a:latin typeface="Arial"/>
                <a:cs typeface="Arial"/>
              </a:rPr>
              <a:t>w</a:t>
            </a:r>
            <a:r>
              <a:rPr sz="1200" dirty="0">
                <a:latin typeface="Arial"/>
                <a:cs typeface="Arial"/>
              </a:rPr>
              <a:t>.</a:t>
            </a:r>
            <a:r>
              <a:rPr sz="1200" spc="-59" dirty="0">
                <a:latin typeface="Arial"/>
                <a:cs typeface="Arial"/>
              </a:rPr>
              <a:t>r</a:t>
            </a:r>
            <a:r>
              <a:rPr sz="1200" dirty="0">
                <a:latin typeface="Arial"/>
                <a:cs typeface="Arial"/>
              </a:rPr>
              <a:t>.</a:t>
            </a:r>
            <a:r>
              <a:rPr sz="1200" spc="4" dirty="0">
                <a:latin typeface="Arial"/>
                <a:cs typeface="Arial"/>
              </a:rPr>
              <a:t>t</a:t>
            </a:r>
            <a:r>
              <a:rPr sz="1200" dirty="0">
                <a:latin typeface="Arial"/>
                <a:cs typeface="Arial"/>
              </a:rPr>
              <a:t>.</a:t>
            </a:r>
            <a:r>
              <a:rPr sz="1200" spc="1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d</a:t>
            </a:r>
            <a:r>
              <a:rPr sz="1200" dirty="0">
                <a:latin typeface="Arial"/>
                <a:cs typeface="Arial"/>
              </a:rPr>
              <a:t>it</a:t>
            </a:r>
            <a:r>
              <a:rPr sz="1200" spc="-9" dirty="0">
                <a:latin typeface="Arial"/>
                <a:cs typeface="Arial"/>
              </a:rPr>
              <a:t> </a:t>
            </a:r>
            <a:r>
              <a:rPr sz="1200" dirty="0">
                <a:latin typeface="Arial"/>
                <a:cs typeface="Arial"/>
              </a:rPr>
              <a:t>/</a:t>
            </a:r>
            <a:r>
              <a:rPr sz="1200" spc="4" dirty="0">
                <a:latin typeface="Arial"/>
                <a:cs typeface="Arial"/>
              </a:rPr>
              <a:t> deb</a:t>
            </a:r>
            <a:r>
              <a:rPr sz="1200" dirty="0">
                <a:latin typeface="Arial"/>
                <a:cs typeface="Arial"/>
              </a:rPr>
              <a:t>it</a:t>
            </a:r>
            <a:endParaRPr sz="1200">
              <a:latin typeface="Arial"/>
              <a:cs typeface="Arial"/>
            </a:endParaRPr>
          </a:p>
          <a:p>
            <a:pPr marL="861949">
              <a:lnSpc>
                <a:spcPct val="95825"/>
              </a:lnSpc>
              <a:spcBef>
                <a:spcPts val="60"/>
              </a:spcBef>
            </a:pPr>
            <a:r>
              <a:rPr sz="1200" spc="4" dirty="0">
                <a:latin typeface="Arial"/>
                <a:cs typeface="Arial"/>
              </a:rPr>
              <a:t>mem</a:t>
            </a:r>
            <a:r>
              <a:rPr sz="1200" dirty="0">
                <a:latin typeface="Arial"/>
                <a:cs typeface="Arial"/>
              </a:rPr>
              <a:t>o</a:t>
            </a:r>
            <a:r>
              <a:rPr sz="1200" spc="317" dirty="0">
                <a:latin typeface="Arial"/>
                <a:cs typeface="Arial"/>
              </a:rPr>
              <a:t> </a:t>
            </a:r>
            <a:r>
              <a:rPr sz="1200" dirty="0">
                <a:latin typeface="Arial"/>
                <a:cs typeface="Arial"/>
              </a:rPr>
              <a:t>re</a:t>
            </a:r>
            <a:r>
              <a:rPr sz="1200" spc="-4" dirty="0">
                <a:latin typeface="Arial"/>
                <a:cs typeface="Arial"/>
              </a:rPr>
              <a:t>q</a:t>
            </a:r>
            <a:r>
              <a:rPr sz="1200" spc="4" dirty="0">
                <a:latin typeface="Arial"/>
                <a:cs typeface="Arial"/>
              </a:rPr>
              <a:t>ue</a:t>
            </a:r>
            <a:r>
              <a:rPr sz="1200" dirty="0">
                <a:latin typeface="Arial"/>
                <a:cs typeface="Arial"/>
              </a:rPr>
              <a:t>st</a:t>
            </a:r>
            <a:r>
              <a:rPr sz="1200" spc="-19" dirty="0">
                <a:latin typeface="Arial"/>
                <a:cs typeface="Arial"/>
              </a:rPr>
              <a:t> </a:t>
            </a:r>
            <a:r>
              <a:rPr sz="1200" spc="4" dirty="0">
                <a:latin typeface="Arial"/>
                <a:cs typeface="Arial"/>
              </a:rPr>
              <a:t>o</a:t>
            </a:r>
            <a:r>
              <a:rPr sz="1200" dirty="0">
                <a:latin typeface="Arial"/>
                <a:cs typeface="Arial"/>
              </a:rPr>
              <a:t>r </a:t>
            </a:r>
            <a:r>
              <a:rPr sz="1200" spc="-14" dirty="0">
                <a:latin typeface="Arial"/>
                <a:cs typeface="Arial"/>
              </a:rPr>
              <a:t>w</a:t>
            </a:r>
            <a:r>
              <a:rPr sz="1200" dirty="0">
                <a:latin typeface="Arial"/>
                <a:cs typeface="Arial"/>
              </a:rPr>
              <a:t>ith</a:t>
            </a:r>
            <a:r>
              <a:rPr sz="1200" spc="4" dirty="0">
                <a:latin typeface="Arial"/>
                <a:cs typeface="Arial"/>
              </a:rPr>
              <a:t> </a:t>
            </a:r>
            <a:r>
              <a:rPr sz="1200" dirty="0">
                <a:latin typeface="Arial"/>
                <a:cs typeface="Arial"/>
              </a:rPr>
              <a:t>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a:t>
            </a:r>
            <a:r>
              <a:rPr sz="1200" spc="-39" dirty="0">
                <a:latin typeface="Arial"/>
                <a:cs typeface="Arial"/>
              </a:rPr>
              <a:t> </a:t>
            </a:r>
            <a:r>
              <a:rPr sz="1200" dirty="0">
                <a:latin typeface="Arial"/>
                <a:cs typeface="Arial"/>
              </a:rPr>
              <a:t>to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spc="-4" dirty="0">
                <a:latin typeface="Arial"/>
                <a:cs typeface="Arial"/>
              </a:rPr>
              <a:t>g</a:t>
            </a:r>
            <a:r>
              <a:rPr sz="1200" dirty="0">
                <a:latin typeface="Arial"/>
                <a:cs typeface="Arial"/>
              </a:rPr>
              <a:t>.</a:t>
            </a:r>
            <a:endParaRPr sz="1200">
              <a:latin typeface="Arial"/>
              <a:cs typeface="Arial"/>
            </a:endParaRPr>
          </a:p>
          <a:p>
            <a:pPr marL="691261">
              <a:lnSpc>
                <a:spcPct val="95825"/>
              </a:lnSpc>
              <a:spcBef>
                <a:spcPts val="60"/>
              </a:spcBef>
            </a:pPr>
            <a:r>
              <a:rPr sz="1200" spc="4" dirty="0">
                <a:latin typeface="Arial"/>
                <a:cs typeface="Arial"/>
              </a:rPr>
              <a:t>2</a:t>
            </a:r>
            <a:r>
              <a:rPr sz="1200" dirty="0">
                <a:latin typeface="Arial"/>
                <a:cs typeface="Arial"/>
              </a:rPr>
              <a:t>.</a:t>
            </a:r>
            <a:r>
              <a:rPr sz="1200" spc="-4" dirty="0">
                <a:latin typeface="Arial"/>
                <a:cs typeface="Arial"/>
              </a:rPr>
              <a:t> </a:t>
            </a:r>
            <a:r>
              <a:rPr sz="1200" dirty="0">
                <a:latin typeface="Arial"/>
                <a:cs typeface="Arial"/>
              </a:rPr>
              <a:t>S</a:t>
            </a:r>
            <a:r>
              <a:rPr sz="1200" spc="-9" dirty="0">
                <a:latin typeface="Arial"/>
                <a:cs typeface="Arial"/>
              </a:rPr>
              <a:t>y</a:t>
            </a:r>
            <a:r>
              <a:rPr sz="1200" dirty="0">
                <a:latin typeface="Arial"/>
                <a:cs typeface="Arial"/>
              </a:rPr>
              <a:t>st</a:t>
            </a:r>
            <a:r>
              <a:rPr sz="1200" spc="4" dirty="0">
                <a:latin typeface="Arial"/>
                <a:cs typeface="Arial"/>
              </a:rPr>
              <a:t>e</a:t>
            </a:r>
            <a:r>
              <a:rPr sz="1200" dirty="0">
                <a:latin typeface="Arial"/>
                <a:cs typeface="Arial"/>
              </a:rPr>
              <a:t>m</a:t>
            </a:r>
            <a:r>
              <a:rPr sz="1200" spc="9"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t</a:t>
            </a:r>
            <a:r>
              <a:rPr sz="1200" spc="-4" dirty="0">
                <a:latin typeface="Arial"/>
                <a:cs typeface="Arial"/>
              </a:rPr>
              <a:t> </a:t>
            </a:r>
            <a:r>
              <a:rPr sz="1200" dirty="0">
                <a:latin typeface="Arial"/>
                <a:cs typeface="Arial"/>
              </a:rPr>
              <a:t>a</a:t>
            </a:r>
            <a:r>
              <a:rPr sz="1200" spc="-4"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b</a:t>
            </a:r>
            <a:r>
              <a:rPr sz="1200" dirty="0">
                <a:latin typeface="Arial"/>
                <a:cs typeface="Arial"/>
              </a:rPr>
              <a:t>lock</a:t>
            </a:r>
            <a:r>
              <a:rPr sz="1200" spc="-19" dirty="0">
                <a:latin typeface="Arial"/>
                <a:cs typeface="Arial"/>
              </a:rPr>
              <a:t> </a:t>
            </a:r>
            <a:r>
              <a:rPr sz="1200" spc="4" dirty="0">
                <a:latin typeface="Arial"/>
                <a:cs typeface="Arial"/>
              </a:rPr>
              <a:t>au</a:t>
            </a:r>
            <a:r>
              <a:rPr sz="1200" dirty="0">
                <a:latin typeface="Arial"/>
                <a:cs typeface="Arial"/>
              </a:rPr>
              <a:t>t</a:t>
            </a:r>
            <a:r>
              <a:rPr sz="1200" spc="4" dirty="0">
                <a:latin typeface="Arial"/>
                <a:cs typeface="Arial"/>
              </a:rPr>
              <a:t>oma</a:t>
            </a:r>
            <a:r>
              <a:rPr sz="1200" dirty="0">
                <a:latin typeface="Arial"/>
                <a:cs typeface="Arial"/>
              </a:rPr>
              <a:t>tic</a:t>
            </a:r>
            <a:r>
              <a:rPr sz="1200" spc="4" dirty="0">
                <a:latin typeface="Arial"/>
                <a:cs typeface="Arial"/>
              </a:rPr>
              <a:t>a</a:t>
            </a:r>
            <a:r>
              <a:rPr sz="1200" dirty="0">
                <a:latin typeface="Arial"/>
                <a:cs typeface="Arial"/>
              </a:rPr>
              <a:t>l</a:t>
            </a:r>
            <a:r>
              <a:rPr sz="1200" spc="-14" dirty="0">
                <a:latin typeface="Arial"/>
                <a:cs typeface="Arial"/>
              </a:rPr>
              <a:t>l</a:t>
            </a:r>
            <a:r>
              <a:rPr sz="1200" spc="-94" dirty="0">
                <a:latin typeface="Arial"/>
                <a:cs typeface="Arial"/>
              </a:rPr>
              <a:t>y</a:t>
            </a:r>
            <a:r>
              <a:rPr sz="1200" dirty="0">
                <a:latin typeface="Arial"/>
                <a:cs typeface="Arial"/>
              </a:rPr>
              <a:t>.</a:t>
            </a:r>
            <a:endParaRPr sz="1200">
              <a:latin typeface="Arial"/>
              <a:cs typeface="Arial"/>
            </a:endParaRPr>
          </a:p>
          <a:p>
            <a:pPr marL="691261">
              <a:lnSpc>
                <a:spcPct val="95825"/>
              </a:lnSpc>
              <a:spcBef>
                <a:spcPts val="60"/>
              </a:spcBef>
            </a:pPr>
            <a:r>
              <a:rPr sz="1200" spc="4" dirty="0">
                <a:latin typeface="Arial"/>
                <a:cs typeface="Arial"/>
              </a:rPr>
              <a:t>3</a:t>
            </a:r>
            <a:r>
              <a:rPr sz="1200" dirty="0">
                <a:latin typeface="Arial"/>
                <a:cs typeface="Arial"/>
              </a:rPr>
              <a:t>.</a:t>
            </a:r>
            <a:r>
              <a:rPr sz="1200" spc="-29" dirty="0">
                <a:latin typeface="Arial"/>
                <a:cs typeface="Arial"/>
              </a:rPr>
              <a:t> </a:t>
            </a:r>
            <a:r>
              <a:rPr sz="1200" spc="9" dirty="0">
                <a:latin typeface="Arial"/>
                <a:cs typeface="Arial"/>
              </a:rPr>
              <a:t>T</a:t>
            </a:r>
            <a:r>
              <a:rPr sz="1200" spc="4" dirty="0">
                <a:latin typeface="Arial"/>
                <a:cs typeface="Arial"/>
              </a:rPr>
              <a:t>hu</a:t>
            </a:r>
            <a:r>
              <a:rPr sz="1200" dirty="0">
                <a:latin typeface="Arial"/>
                <a:cs typeface="Arial"/>
              </a:rPr>
              <a:t>s</a:t>
            </a:r>
            <a:r>
              <a:rPr sz="1200" spc="-19" dirty="0">
                <a:latin typeface="Arial"/>
                <a:cs typeface="Arial"/>
              </a:rPr>
              <a:t> </a:t>
            </a:r>
            <a:r>
              <a:rPr sz="1200" spc="4" dirty="0">
                <a:latin typeface="Arial"/>
                <a:cs typeface="Arial"/>
              </a:rPr>
              <a:t>emp</a:t>
            </a:r>
            <a:r>
              <a:rPr sz="1200" dirty="0">
                <a:latin typeface="Arial"/>
                <a:cs typeface="Arial"/>
              </a:rPr>
              <a:t>lo</a:t>
            </a:r>
            <a:r>
              <a:rPr sz="1200" spc="-9" dirty="0">
                <a:latin typeface="Arial"/>
                <a:cs typeface="Arial"/>
              </a:rPr>
              <a:t>y</a:t>
            </a:r>
            <a:r>
              <a:rPr sz="1200" spc="4" dirty="0">
                <a:latin typeface="Arial"/>
                <a:cs typeface="Arial"/>
              </a:rPr>
              <a:t>e</a:t>
            </a:r>
            <a:r>
              <a:rPr sz="1200" dirty="0">
                <a:latin typeface="Arial"/>
                <a:cs typeface="Arial"/>
              </a:rPr>
              <a:t>e</a:t>
            </a:r>
            <a:r>
              <a:rPr sz="1200" spc="-29"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endParaRPr sz="1200">
              <a:latin typeface="Arial"/>
              <a:cs typeface="Arial"/>
            </a:endParaRPr>
          </a:p>
          <a:p>
            <a:pPr marL="1334389" marR="301855">
              <a:lnSpc>
                <a:spcPct val="100137"/>
              </a:lnSpc>
              <a:spcBef>
                <a:spcPts val="60"/>
              </a:spcBef>
            </a:pPr>
            <a:r>
              <a:rPr sz="1200" dirty="0">
                <a:latin typeface="Arial"/>
                <a:cs typeface="Arial"/>
              </a:rPr>
              <a:t>rele</a:t>
            </a:r>
            <a:r>
              <a:rPr sz="1200" spc="4" dirty="0">
                <a:latin typeface="Arial"/>
                <a:cs typeface="Arial"/>
              </a:rPr>
              <a:t>a</a:t>
            </a:r>
            <a:r>
              <a:rPr sz="1200" dirty="0">
                <a:latin typeface="Arial"/>
                <a:cs typeface="Arial"/>
              </a:rPr>
              <a:t>se</a:t>
            </a:r>
            <a:r>
              <a:rPr sz="1200" spc="-29" dirty="0">
                <a:latin typeface="Arial"/>
                <a:cs typeface="Arial"/>
              </a:rPr>
              <a:t> </a:t>
            </a:r>
            <a:r>
              <a:rPr sz="1200" dirty="0">
                <a:latin typeface="Arial"/>
                <a:cs typeface="Arial"/>
              </a:rPr>
              <a:t>re</a:t>
            </a:r>
            <a:r>
              <a:rPr sz="1200" spc="-4" dirty="0">
                <a:latin typeface="Arial"/>
                <a:cs typeface="Arial"/>
              </a:rPr>
              <a:t>q</a:t>
            </a:r>
            <a:r>
              <a:rPr sz="1200" spc="4" dirty="0">
                <a:latin typeface="Arial"/>
                <a:cs typeface="Arial"/>
              </a:rPr>
              <a:t>ue</a:t>
            </a:r>
            <a:r>
              <a:rPr sz="1200" dirty="0">
                <a:latin typeface="Arial"/>
                <a:cs typeface="Arial"/>
              </a:rPr>
              <a:t>st</a:t>
            </a:r>
            <a:r>
              <a:rPr sz="1200" spc="-19" dirty="0">
                <a:latin typeface="Arial"/>
                <a:cs typeface="Arial"/>
              </a:rPr>
              <a:t> </a:t>
            </a:r>
            <a:r>
              <a:rPr sz="1200" spc="4" dirty="0">
                <a:latin typeface="Arial"/>
                <a:cs typeface="Arial"/>
              </a:rPr>
              <a:t>an</a:t>
            </a:r>
            <a:r>
              <a:rPr sz="1200" dirty="0">
                <a:latin typeface="Arial"/>
                <a:cs typeface="Arial"/>
              </a:rPr>
              <a:t>d</a:t>
            </a:r>
            <a:r>
              <a:rPr sz="1200" spc="317" dirty="0">
                <a:latin typeface="Arial"/>
                <a:cs typeface="Arial"/>
              </a:rPr>
              <a:t> </a:t>
            </a:r>
            <a:r>
              <a:rPr sz="1200" spc="4" dirty="0">
                <a:latin typeface="Arial"/>
                <a:cs typeface="Arial"/>
              </a:rPr>
              <a:t>de</a:t>
            </a:r>
            <a:r>
              <a:rPr sz="1200" dirty="0">
                <a:latin typeface="Arial"/>
                <a:cs typeface="Arial"/>
              </a:rPr>
              <a:t>cide</a:t>
            </a:r>
            <a:r>
              <a:rPr sz="1200" spc="-2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 </a:t>
            </a:r>
            <a:r>
              <a:rPr sz="1200" spc="4" dirty="0">
                <a:latin typeface="Arial"/>
                <a:cs typeface="Arial"/>
              </a:rPr>
              <a:t>amoun</a:t>
            </a:r>
            <a:r>
              <a:rPr sz="1200" dirty="0">
                <a:latin typeface="Arial"/>
                <a:cs typeface="Arial"/>
              </a:rPr>
              <a:t>t</a:t>
            </a:r>
            <a:r>
              <a:rPr sz="1200" spc="-39" dirty="0">
                <a:latin typeface="Arial"/>
                <a:cs typeface="Arial"/>
              </a:rPr>
              <a:t> </a:t>
            </a:r>
            <a:r>
              <a:rPr sz="1200" spc="4" dirty="0">
                <a:latin typeface="Arial"/>
                <a:cs typeface="Arial"/>
              </a:rPr>
              <a:t>o</a:t>
            </a:r>
            <a:r>
              <a:rPr sz="1200" dirty="0">
                <a:latin typeface="Arial"/>
                <a:cs typeface="Arial"/>
              </a:rPr>
              <a:t>r </a:t>
            </a:r>
            <a:r>
              <a:rPr sz="1200" spc="-9"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dirty="0">
                <a:latin typeface="Arial"/>
                <a:cs typeface="Arial"/>
              </a:rPr>
              <a:t>to </a:t>
            </a:r>
            <a:r>
              <a:rPr sz="1200" spc="4" dirty="0">
                <a:latin typeface="Arial"/>
                <a:cs typeface="Arial"/>
              </a:rPr>
              <a:t>b</a:t>
            </a:r>
            <a:r>
              <a:rPr sz="1200" dirty="0">
                <a:latin typeface="Arial"/>
                <a:cs typeface="Arial"/>
              </a:rPr>
              <a:t>e</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d</a:t>
            </a:r>
            <a:r>
              <a:rPr sz="1200" dirty="0">
                <a:latin typeface="Arial"/>
                <a:cs typeface="Arial"/>
              </a:rPr>
              <a:t>it</a:t>
            </a:r>
            <a:r>
              <a:rPr sz="1200" spc="4" dirty="0">
                <a:latin typeface="Arial"/>
                <a:cs typeface="Arial"/>
              </a:rPr>
              <a:t>e</a:t>
            </a:r>
            <a:r>
              <a:rPr sz="1200" dirty="0">
                <a:latin typeface="Arial"/>
                <a:cs typeface="Arial"/>
              </a:rPr>
              <a:t>d </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deb</a:t>
            </a:r>
            <a:r>
              <a:rPr sz="1200" dirty="0">
                <a:latin typeface="Arial"/>
                <a:cs typeface="Arial"/>
              </a:rPr>
              <a:t>it</a:t>
            </a:r>
            <a:r>
              <a:rPr sz="1200" spc="4" dirty="0">
                <a:latin typeface="Arial"/>
                <a:cs typeface="Arial"/>
              </a:rPr>
              <a:t>ed</a:t>
            </a:r>
            <a:r>
              <a:rPr sz="1200" dirty="0">
                <a:latin typeface="Arial"/>
                <a:cs typeface="Arial"/>
              </a:rPr>
              <a:t>.</a:t>
            </a:r>
            <a:endParaRPr sz="1200">
              <a:latin typeface="Arial"/>
              <a:cs typeface="Arial"/>
            </a:endParaRPr>
          </a:p>
          <a:p>
            <a:pPr marL="1334389" marR="688494">
              <a:lnSpc>
                <a:spcPct val="100041"/>
              </a:lnSpc>
            </a:pPr>
            <a:r>
              <a:rPr sz="1200" dirty="0">
                <a:latin typeface="Arial"/>
                <a:cs typeface="Arial"/>
              </a:rPr>
              <a:t>reject</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14" dirty="0">
                <a:latin typeface="Arial"/>
                <a:cs typeface="Arial"/>
              </a:rPr>
              <a:t> </a:t>
            </a:r>
            <a:r>
              <a:rPr sz="1200" dirty="0">
                <a:latin typeface="Arial"/>
                <a:cs typeface="Arial"/>
              </a:rPr>
              <a:t>it</a:t>
            </a:r>
            <a:r>
              <a:rPr sz="1200" spc="4" dirty="0">
                <a:latin typeface="Arial"/>
                <a:cs typeface="Arial"/>
              </a:rPr>
              <a:t>e</a:t>
            </a:r>
            <a:r>
              <a:rPr sz="1200" dirty="0">
                <a:latin typeface="Arial"/>
                <a:cs typeface="Arial"/>
              </a:rPr>
              <a:t>m </a:t>
            </a:r>
            <a:r>
              <a:rPr sz="1200" spc="4" dirty="0">
                <a:latin typeface="Arial"/>
                <a:cs typeface="Arial"/>
              </a:rPr>
              <a:t>an</a:t>
            </a:r>
            <a:r>
              <a:rPr sz="1200" dirty="0">
                <a:latin typeface="Arial"/>
                <a:cs typeface="Arial"/>
              </a:rPr>
              <a:t>d</a:t>
            </a:r>
            <a:r>
              <a:rPr sz="1200" spc="-14" dirty="0">
                <a:latin typeface="Arial"/>
                <a:cs typeface="Arial"/>
              </a:rPr>
              <a:t> </a:t>
            </a:r>
            <a:r>
              <a:rPr sz="1200" spc="4" dirty="0">
                <a:latin typeface="Arial"/>
                <a:cs typeface="Arial"/>
              </a:rPr>
              <a:t>men</a:t>
            </a:r>
            <a:r>
              <a:rPr sz="1200" dirty="0">
                <a:latin typeface="Arial"/>
                <a:cs typeface="Arial"/>
              </a:rPr>
              <a:t>ti</a:t>
            </a:r>
            <a:r>
              <a:rPr sz="1200" spc="4" dirty="0">
                <a:latin typeface="Arial"/>
                <a:cs typeface="Arial"/>
              </a:rPr>
              <a:t>o</a:t>
            </a:r>
            <a:r>
              <a:rPr sz="1200" dirty="0">
                <a:latin typeface="Arial"/>
                <a:cs typeface="Arial"/>
              </a:rPr>
              <a:t>n re</a:t>
            </a:r>
            <a:r>
              <a:rPr sz="1200" spc="4" dirty="0">
                <a:latin typeface="Arial"/>
                <a:cs typeface="Arial"/>
              </a:rPr>
              <a:t>a</a:t>
            </a:r>
            <a:r>
              <a:rPr sz="1200" dirty="0">
                <a:latin typeface="Arial"/>
                <a:cs typeface="Arial"/>
              </a:rPr>
              <a:t>s</a:t>
            </a:r>
            <a:r>
              <a:rPr sz="1200" spc="4" dirty="0">
                <a:latin typeface="Arial"/>
                <a:cs typeface="Arial"/>
              </a:rPr>
              <a:t>o</a:t>
            </a:r>
            <a:r>
              <a:rPr sz="1200" dirty="0">
                <a:latin typeface="Arial"/>
                <a:cs typeface="Arial"/>
              </a:rPr>
              <a:t>n</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rejecti</a:t>
            </a:r>
            <a:r>
              <a:rPr sz="1200" spc="4" dirty="0">
                <a:latin typeface="Arial"/>
                <a:cs typeface="Arial"/>
              </a:rPr>
              <a:t>on</a:t>
            </a:r>
            <a:r>
              <a:rPr sz="1200" dirty="0">
                <a:latin typeface="Arial"/>
                <a:cs typeface="Arial"/>
              </a:rPr>
              <a:t>.</a:t>
            </a:r>
            <a:endParaRPr sz="1200">
              <a:latin typeface="Arial"/>
              <a:cs typeface="Arial"/>
            </a:endParaRPr>
          </a:p>
        </p:txBody>
      </p:sp>
      <p:sp>
        <p:nvSpPr>
          <p:cNvPr id="3" name="object 3"/>
          <p:cNvSpPr txBox="1"/>
          <p:nvPr/>
        </p:nvSpPr>
        <p:spPr>
          <a:xfrm>
            <a:off x="6477000" y="1828800"/>
            <a:ext cx="4038600" cy="1905000"/>
          </a:xfrm>
          <a:prstGeom prst="rect">
            <a:avLst/>
          </a:prstGeom>
        </p:spPr>
        <p:txBody>
          <a:bodyPr wrap="square" lIns="0" tIns="0" rIns="0" bIns="0" rtlCol="0">
            <a:noAutofit/>
          </a:bodyPr>
          <a:lstStyle/>
          <a:p>
            <a:pPr>
              <a:lnSpc>
                <a:spcPts val="1000"/>
              </a:lnSpc>
            </a:pPr>
            <a:endParaRPr sz="1000"/>
          </a:p>
          <a:p>
            <a:pPr marL="92075">
              <a:lnSpc>
                <a:spcPct val="95825"/>
              </a:lnSpc>
              <a:spcBef>
                <a:spcPts val="2223"/>
              </a:spcBef>
            </a:pPr>
            <a:r>
              <a:rPr sz="1200" b="1" dirty="0">
                <a:latin typeface="Arial"/>
                <a:cs typeface="Arial"/>
              </a:rPr>
              <a:t>S1</a:t>
            </a:r>
            <a:r>
              <a:rPr sz="1200" b="1" spc="-14" dirty="0">
                <a:latin typeface="Arial"/>
                <a:cs typeface="Arial"/>
              </a:rPr>
              <a:t> </a:t>
            </a:r>
            <a:r>
              <a:rPr sz="1200" b="1" dirty="0">
                <a:latin typeface="Arial"/>
                <a:cs typeface="Arial"/>
              </a:rPr>
              <a:t>-</a:t>
            </a:r>
            <a:r>
              <a:rPr sz="1200" b="1" spc="262" dirty="0">
                <a:latin typeface="Arial"/>
                <a:cs typeface="Arial"/>
              </a:rPr>
              <a:t> </a:t>
            </a:r>
            <a:r>
              <a:rPr sz="1200" b="1" spc="-4" dirty="0">
                <a:latin typeface="Arial"/>
                <a:cs typeface="Arial"/>
              </a:rPr>
              <a:t>C</a:t>
            </a:r>
            <a:r>
              <a:rPr sz="1200" b="1" dirty="0">
                <a:latin typeface="Arial"/>
                <a:cs typeface="Arial"/>
              </a:rPr>
              <a:t>an</a:t>
            </a:r>
            <a:r>
              <a:rPr sz="1200" b="1" spc="4" dirty="0">
                <a:latin typeface="Arial"/>
                <a:cs typeface="Arial"/>
              </a:rPr>
              <a:t>c</a:t>
            </a:r>
            <a:r>
              <a:rPr sz="1200" b="1" dirty="0">
                <a:latin typeface="Arial"/>
                <a:cs typeface="Arial"/>
              </a:rPr>
              <a:t>e</a:t>
            </a:r>
            <a:r>
              <a:rPr sz="1200" b="1" spc="4" dirty="0">
                <a:latin typeface="Arial"/>
                <a:cs typeface="Arial"/>
              </a:rPr>
              <a:t>l</a:t>
            </a:r>
            <a:r>
              <a:rPr sz="1200" b="1" dirty="0">
                <a:latin typeface="Arial"/>
                <a:cs typeface="Arial"/>
              </a:rPr>
              <a:t>l</a:t>
            </a:r>
            <a:r>
              <a:rPr sz="1200" b="1" spc="4" dirty="0">
                <a:latin typeface="Arial"/>
                <a:cs typeface="Arial"/>
              </a:rPr>
              <a:t>a</a:t>
            </a:r>
            <a:r>
              <a:rPr sz="1200" b="1" spc="-4" dirty="0">
                <a:latin typeface="Arial"/>
                <a:cs typeface="Arial"/>
              </a:rPr>
              <a:t>t</a:t>
            </a:r>
            <a:r>
              <a:rPr sz="1200" b="1" dirty="0">
                <a:latin typeface="Arial"/>
                <a:cs typeface="Arial"/>
              </a:rPr>
              <a:t>ion</a:t>
            </a:r>
            <a:r>
              <a:rPr sz="1200" b="1" spc="-14" dirty="0">
                <a:latin typeface="Arial"/>
                <a:cs typeface="Arial"/>
              </a:rPr>
              <a:t> </a:t>
            </a:r>
            <a:r>
              <a:rPr sz="1200" b="1" dirty="0">
                <a:latin typeface="Arial"/>
                <a:cs typeface="Arial"/>
              </a:rPr>
              <a:t>In</a:t>
            </a:r>
            <a:r>
              <a:rPr sz="1200" b="1" spc="-19" dirty="0">
                <a:latin typeface="Arial"/>
                <a:cs typeface="Arial"/>
              </a:rPr>
              <a:t>v</a:t>
            </a:r>
            <a:r>
              <a:rPr sz="1200" b="1" dirty="0">
                <a:latin typeface="Arial"/>
                <a:cs typeface="Arial"/>
              </a:rPr>
              <a:t>oice</a:t>
            </a:r>
            <a:r>
              <a:rPr sz="1200" b="1" spc="25" dirty="0">
                <a:latin typeface="Arial"/>
                <a:cs typeface="Arial"/>
              </a:rPr>
              <a:t> </a:t>
            </a:r>
            <a:r>
              <a:rPr sz="1200" dirty="0">
                <a:latin typeface="Arial"/>
                <a:cs typeface="Arial"/>
              </a:rPr>
              <a:t>:</a:t>
            </a:r>
            <a:endParaRPr sz="1200">
              <a:latin typeface="Arial"/>
              <a:cs typeface="Arial"/>
            </a:endParaRPr>
          </a:p>
          <a:p>
            <a:pPr marL="561721">
              <a:lnSpc>
                <a:spcPct val="95825"/>
              </a:lnSpc>
              <a:spcBef>
                <a:spcPts val="1500"/>
              </a:spcBef>
            </a:pPr>
            <a:r>
              <a:rPr sz="1200" dirty="0">
                <a:latin typeface="Arial"/>
                <a:cs typeface="Arial"/>
              </a:rPr>
              <a:t>c</a:t>
            </a:r>
            <a:r>
              <a:rPr sz="1200" spc="4" dirty="0">
                <a:latin typeface="Arial"/>
                <a:cs typeface="Arial"/>
              </a:rPr>
              <a:t>an</a:t>
            </a:r>
            <a:r>
              <a:rPr sz="1200" dirty="0">
                <a:latin typeface="Arial"/>
                <a:cs typeface="Arial"/>
              </a:rPr>
              <a:t>c</a:t>
            </a:r>
            <a:r>
              <a:rPr sz="1200" spc="4" dirty="0">
                <a:latin typeface="Arial"/>
                <a:cs typeface="Arial"/>
              </a:rPr>
              <a:t>e</a:t>
            </a:r>
            <a:r>
              <a:rPr sz="1200" dirty="0">
                <a:latin typeface="Arial"/>
                <a:cs typeface="Arial"/>
              </a:rPr>
              <a:t>l</a:t>
            </a:r>
            <a:r>
              <a:rPr sz="1200" spc="-4" dirty="0">
                <a:latin typeface="Arial"/>
                <a:cs typeface="Arial"/>
              </a:rPr>
              <a:t>l</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50"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spc="4" dirty="0">
                <a:latin typeface="Arial"/>
                <a:cs typeface="Arial"/>
              </a:rPr>
              <a:t>o</a:t>
            </a:r>
            <a:r>
              <a:rPr sz="1200" spc="-9" dirty="0">
                <a:latin typeface="Arial"/>
                <a:cs typeface="Arial"/>
              </a:rPr>
              <a:t>f</a:t>
            </a:r>
            <a:r>
              <a:rPr sz="1200" spc="14" dirty="0">
                <a:latin typeface="Arial"/>
                <a:cs typeface="Arial"/>
              </a:rPr>
              <a:t>f</a:t>
            </a:r>
            <a:r>
              <a:rPr sz="1200" dirty="0">
                <a:latin typeface="Arial"/>
                <a:cs typeface="Arial"/>
              </a:rPr>
              <a:t>s</a:t>
            </a:r>
            <a:r>
              <a:rPr sz="1200" spc="4" dirty="0">
                <a:latin typeface="Arial"/>
                <a:cs typeface="Arial"/>
              </a:rPr>
              <a:t>e</a:t>
            </a:r>
            <a:r>
              <a:rPr sz="1200" dirty="0">
                <a:latin typeface="Arial"/>
                <a:cs typeface="Arial"/>
              </a:rPr>
              <a:t>ts</a:t>
            </a:r>
            <a:r>
              <a:rPr sz="1200" spc="-29" dirty="0">
                <a:latin typeface="Arial"/>
                <a:cs typeface="Arial"/>
              </a:rPr>
              <a:t> </a:t>
            </a:r>
            <a:r>
              <a:rPr sz="1200" spc="4" dirty="0">
                <a:latin typeface="Arial"/>
                <a:cs typeface="Arial"/>
              </a:rPr>
              <a:t>a</a:t>
            </a:r>
            <a:r>
              <a:rPr sz="1200" dirty="0">
                <a:latin typeface="Arial"/>
                <a:cs typeface="Arial"/>
              </a:rPr>
              <a:t>cc</a:t>
            </a:r>
            <a:r>
              <a:rPr sz="1200" spc="4" dirty="0">
                <a:latin typeface="Arial"/>
                <a:cs typeface="Arial"/>
              </a:rPr>
              <a:t>oun</a:t>
            </a:r>
            <a:r>
              <a:rPr sz="1200" dirty="0">
                <a:latin typeface="Arial"/>
                <a:cs typeface="Arial"/>
              </a:rPr>
              <a:t>ti</a:t>
            </a:r>
            <a:r>
              <a:rPr sz="1200" spc="4" dirty="0">
                <a:latin typeface="Arial"/>
                <a:cs typeface="Arial"/>
              </a:rPr>
              <a:t>n</a:t>
            </a:r>
            <a:r>
              <a:rPr sz="1200" dirty="0">
                <a:latin typeface="Arial"/>
                <a:cs typeface="Arial"/>
              </a:rPr>
              <a:t>g</a:t>
            </a:r>
            <a:r>
              <a:rPr sz="1200" spc="-39" dirty="0">
                <a:latin typeface="Arial"/>
                <a:cs typeface="Arial"/>
              </a:rPr>
              <a:t> </a:t>
            </a:r>
            <a:r>
              <a:rPr sz="1200" spc="4" dirty="0">
                <a:latin typeface="Arial"/>
                <a:cs typeface="Arial"/>
              </a:rPr>
              <a:t>en</a:t>
            </a:r>
            <a:r>
              <a:rPr sz="1200" dirty="0">
                <a:latin typeface="Arial"/>
                <a:cs typeface="Arial"/>
              </a:rPr>
              <a:t>tr</a:t>
            </a:r>
            <a:r>
              <a:rPr sz="1200" spc="-94" dirty="0">
                <a:latin typeface="Arial"/>
                <a:cs typeface="Arial"/>
              </a:rPr>
              <a:t>y</a:t>
            </a:r>
            <a:r>
              <a:rPr sz="1200" dirty="0">
                <a:latin typeface="Arial"/>
                <a:cs typeface="Arial"/>
              </a:rPr>
              <a:t>.</a:t>
            </a:r>
            <a:endParaRPr sz="1200">
              <a:latin typeface="Arial"/>
              <a:cs typeface="Arial"/>
            </a:endParaRPr>
          </a:p>
          <a:p>
            <a:pPr marL="561721">
              <a:lnSpc>
                <a:spcPct val="95825"/>
              </a:lnSpc>
              <a:spcBef>
                <a:spcPts val="1500"/>
              </a:spcBef>
            </a:pP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a:t>
            </a:r>
            <a:r>
              <a:rPr sz="1200" dirty="0">
                <a:latin typeface="Arial"/>
                <a:cs typeface="Arial"/>
              </a:rPr>
              <a:t>c</a:t>
            </a:r>
            <a:r>
              <a:rPr sz="1200" spc="4" dirty="0">
                <a:latin typeface="Arial"/>
                <a:cs typeface="Arial"/>
              </a:rPr>
              <a:t>on</a:t>
            </a:r>
            <a:r>
              <a:rPr sz="1200" dirty="0">
                <a:latin typeface="Arial"/>
                <a:cs typeface="Arial"/>
              </a:rPr>
              <a:t>trol</a:t>
            </a:r>
            <a:r>
              <a:rPr sz="1200" spc="-1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F2’</a:t>
            </a:r>
            <a:r>
              <a:rPr sz="1200" spc="-4" dirty="0">
                <a:latin typeface="Arial"/>
                <a:cs typeface="Arial"/>
              </a:rPr>
              <a:t>(</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a:t>
            </a:r>
            <a:r>
              <a:rPr sz="1200" spc="-4" dirty="0">
                <a:latin typeface="Arial"/>
                <a:cs typeface="Arial"/>
              </a:rPr>
              <a:t>n</a:t>
            </a:r>
            <a:r>
              <a:rPr sz="1200" dirty="0">
                <a:latin typeface="Arial"/>
                <a:cs typeface="Arial"/>
              </a:rPr>
              <a:t>t</a:t>
            </a:r>
            <a:r>
              <a:rPr sz="1200" spc="-3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e</a:t>
            </a:r>
            <a:r>
              <a:rPr sz="1200" dirty="0">
                <a:latin typeface="Arial"/>
                <a:cs typeface="Arial"/>
              </a:rPr>
              <a:t>) .</a:t>
            </a:r>
            <a:endParaRPr sz="1200">
              <a:latin typeface="Arial"/>
              <a:cs typeface="Arial"/>
            </a:endParaRPr>
          </a:p>
        </p:txBody>
      </p:sp>
      <p:sp>
        <p:nvSpPr>
          <p:cNvPr id="2" name="object 2"/>
          <p:cNvSpPr txBox="1"/>
          <p:nvPr/>
        </p:nvSpPr>
        <p:spPr>
          <a:xfrm>
            <a:off x="1676400" y="1143000"/>
            <a:ext cx="4648200" cy="2819400"/>
          </a:xfrm>
          <a:prstGeom prst="rect">
            <a:avLst/>
          </a:prstGeom>
        </p:spPr>
        <p:txBody>
          <a:bodyPr wrap="square" lIns="0" tIns="0" rIns="0" bIns="0" rtlCol="0">
            <a:noAutofit/>
          </a:bodyPr>
          <a:lstStyle/>
          <a:p>
            <a:pPr>
              <a:lnSpc>
                <a:spcPts val="500"/>
              </a:lnSpc>
            </a:pPr>
            <a:endParaRPr sz="500"/>
          </a:p>
          <a:p>
            <a:pPr marL="195072">
              <a:lnSpc>
                <a:spcPct val="95825"/>
              </a:lnSpc>
              <a:spcBef>
                <a:spcPts val="2000"/>
              </a:spcBef>
            </a:pPr>
            <a:r>
              <a:rPr sz="1200" b="1" dirty="0">
                <a:latin typeface="Arial"/>
                <a:cs typeface="Arial"/>
              </a:rPr>
              <a:t>IV</a:t>
            </a:r>
            <a:r>
              <a:rPr sz="1200" b="1" spc="9" dirty="0">
                <a:latin typeface="Arial"/>
                <a:cs typeface="Arial"/>
              </a:rPr>
              <a:t> </a:t>
            </a:r>
            <a:r>
              <a:rPr sz="1200" b="1" dirty="0">
                <a:latin typeface="Arial"/>
                <a:cs typeface="Arial"/>
              </a:rPr>
              <a:t>-  </a:t>
            </a:r>
            <a:r>
              <a:rPr sz="1200" b="1" spc="4" dirty="0">
                <a:latin typeface="Arial"/>
                <a:cs typeface="Arial"/>
              </a:rPr>
              <a:t> </a:t>
            </a:r>
            <a:r>
              <a:rPr sz="1200" b="1" dirty="0">
                <a:latin typeface="Arial"/>
                <a:cs typeface="Arial"/>
              </a:rPr>
              <a:t>Inter</a:t>
            </a:r>
            <a:r>
              <a:rPr sz="1200" b="1" spc="4" dirty="0">
                <a:latin typeface="Arial"/>
                <a:cs typeface="Arial"/>
              </a:rPr>
              <a:t> c</a:t>
            </a:r>
            <a:r>
              <a:rPr sz="1200" b="1" dirty="0">
                <a:latin typeface="Arial"/>
                <a:cs typeface="Arial"/>
              </a:rPr>
              <a:t>ompany</a:t>
            </a:r>
            <a:r>
              <a:rPr sz="1200" b="1" spc="327" dirty="0">
                <a:latin typeface="Arial"/>
                <a:cs typeface="Arial"/>
              </a:rPr>
              <a:t> </a:t>
            </a:r>
            <a:r>
              <a:rPr sz="1200" b="1" spc="4" dirty="0">
                <a:latin typeface="Arial"/>
                <a:cs typeface="Arial"/>
              </a:rPr>
              <a:t>Sa</a:t>
            </a:r>
            <a:r>
              <a:rPr sz="1200" b="1" dirty="0">
                <a:latin typeface="Arial"/>
                <a:cs typeface="Arial"/>
              </a:rPr>
              <a:t>l</a:t>
            </a:r>
            <a:r>
              <a:rPr sz="1200" b="1" spc="4" dirty="0">
                <a:latin typeface="Arial"/>
                <a:cs typeface="Arial"/>
              </a:rPr>
              <a:t>e</a:t>
            </a:r>
            <a:r>
              <a:rPr sz="1200" b="1" dirty="0">
                <a:latin typeface="Arial"/>
                <a:cs typeface="Arial"/>
              </a:rPr>
              <a:t>s</a:t>
            </a:r>
            <a:r>
              <a:rPr sz="1200" b="1" spc="-4" dirty="0">
                <a:latin typeface="Arial"/>
                <a:cs typeface="Arial"/>
              </a:rPr>
              <a:t> </a:t>
            </a:r>
            <a:r>
              <a:rPr sz="1200" dirty="0">
                <a:latin typeface="Arial"/>
                <a:cs typeface="Arial"/>
              </a:rPr>
              <a:t>:</a:t>
            </a:r>
            <a:endParaRPr sz="1200">
              <a:latin typeface="Arial"/>
              <a:cs typeface="Arial"/>
            </a:endParaRPr>
          </a:p>
          <a:p>
            <a:pPr marL="603504" marR="950597" indent="-128016">
              <a:lnSpc>
                <a:spcPct val="100041"/>
              </a:lnSpc>
              <a:spcBef>
                <a:spcPts val="60"/>
              </a:spcBef>
            </a:pPr>
            <a:r>
              <a:rPr sz="1200" spc="4" dirty="0">
                <a:latin typeface="Arial"/>
                <a:cs typeface="Arial"/>
              </a:rPr>
              <a:t>1</a:t>
            </a:r>
            <a:r>
              <a:rPr sz="1200" dirty="0">
                <a:latin typeface="Arial"/>
                <a:cs typeface="Arial"/>
              </a:rPr>
              <a:t>.</a:t>
            </a:r>
            <a:r>
              <a:rPr sz="1200" spc="-34" dirty="0">
                <a:latin typeface="Arial"/>
                <a:cs typeface="Arial"/>
              </a:rPr>
              <a:t>T</a:t>
            </a:r>
            <a:r>
              <a:rPr sz="1200" dirty="0">
                <a:latin typeface="Arial"/>
                <a:cs typeface="Arial"/>
              </a:rPr>
              <a:t>ra</a:t>
            </a:r>
            <a:r>
              <a:rPr sz="1200" spc="4" dirty="0">
                <a:latin typeface="Arial"/>
                <a:cs typeface="Arial"/>
              </a:rPr>
              <a:t>n</a:t>
            </a:r>
            <a:r>
              <a:rPr sz="1200" dirty="0">
                <a:latin typeface="Arial"/>
                <a:cs typeface="Arial"/>
              </a:rPr>
              <a:t>s</a:t>
            </a:r>
            <a:r>
              <a:rPr sz="1200" spc="4" dirty="0">
                <a:latin typeface="Arial"/>
                <a:cs typeface="Arial"/>
              </a:rPr>
              <a:t>a</a:t>
            </a:r>
            <a:r>
              <a:rPr sz="1200" dirty="0">
                <a:latin typeface="Arial"/>
                <a:cs typeface="Arial"/>
              </a:rPr>
              <a:t>cti</a:t>
            </a:r>
            <a:r>
              <a:rPr sz="1200" spc="4" dirty="0">
                <a:latin typeface="Arial"/>
                <a:cs typeface="Arial"/>
              </a:rPr>
              <a:t>o</a:t>
            </a:r>
            <a:r>
              <a:rPr sz="1200" dirty="0">
                <a:latin typeface="Arial"/>
                <a:cs typeface="Arial"/>
              </a:rPr>
              <a:t>n</a:t>
            </a:r>
            <a:r>
              <a:rPr sz="1200" spc="-39" dirty="0">
                <a:latin typeface="Arial"/>
                <a:cs typeface="Arial"/>
              </a:rPr>
              <a:t> </a:t>
            </a:r>
            <a:r>
              <a:rPr sz="1200" spc="4" dirty="0">
                <a:latin typeface="Arial"/>
                <a:cs typeface="Arial"/>
              </a:rPr>
              <a:t>o</a:t>
            </a:r>
            <a:r>
              <a:rPr sz="1200" dirty="0">
                <a:latin typeface="Arial"/>
                <a:cs typeface="Arial"/>
              </a:rPr>
              <a:t>cc</a:t>
            </a:r>
            <a:r>
              <a:rPr sz="1200" spc="4" dirty="0">
                <a:latin typeface="Arial"/>
                <a:cs typeface="Arial"/>
              </a:rPr>
              <a:t>u</a:t>
            </a:r>
            <a:r>
              <a:rPr sz="1200" dirty="0">
                <a:latin typeface="Arial"/>
                <a:cs typeface="Arial"/>
              </a:rPr>
              <a:t>rs</a:t>
            </a:r>
            <a:r>
              <a:rPr sz="1200" spc="-9" dirty="0">
                <a:latin typeface="Arial"/>
                <a:cs typeface="Arial"/>
              </a:rPr>
              <a:t> </a:t>
            </a:r>
            <a:r>
              <a:rPr sz="1200" spc="-14" dirty="0">
                <a:latin typeface="Arial"/>
                <a:cs typeface="Arial"/>
              </a:rPr>
              <a:t>w</a:t>
            </a:r>
            <a:r>
              <a:rPr sz="1200" spc="4" dirty="0">
                <a:latin typeface="Arial"/>
                <a:cs typeface="Arial"/>
              </a:rPr>
              <a:t>he</a:t>
            </a:r>
            <a:r>
              <a:rPr sz="1200" dirty="0">
                <a:latin typeface="Arial"/>
                <a:cs typeface="Arial"/>
              </a:rPr>
              <a:t>n</a:t>
            </a:r>
            <a:r>
              <a:rPr sz="1200" spc="-14" dirty="0">
                <a:latin typeface="Arial"/>
                <a:cs typeface="Arial"/>
              </a:rPr>
              <a:t> </a:t>
            </a:r>
            <a:r>
              <a:rPr sz="1200" dirty="0">
                <a:latin typeface="Arial"/>
                <a:cs typeface="Arial"/>
              </a:rPr>
              <a:t>s</a:t>
            </a:r>
            <a:r>
              <a:rPr sz="1200" spc="4" dirty="0">
                <a:latin typeface="Arial"/>
                <a:cs typeface="Arial"/>
              </a:rPr>
              <a:t>e</a:t>
            </a:r>
            <a:r>
              <a:rPr sz="1200" dirty="0">
                <a:latin typeface="Arial"/>
                <a:cs typeface="Arial"/>
              </a:rPr>
              <a:t>l</a:t>
            </a:r>
            <a:r>
              <a:rPr sz="1200" spc="-4" dirty="0">
                <a:latin typeface="Arial"/>
                <a:cs typeface="Arial"/>
              </a:rPr>
              <a:t>l</a:t>
            </a:r>
            <a:r>
              <a:rPr sz="1200" dirty="0">
                <a:latin typeface="Arial"/>
                <a:cs typeface="Arial"/>
              </a:rPr>
              <a:t>ing</a:t>
            </a:r>
            <a:r>
              <a:rPr sz="1200" spc="322" dirty="0">
                <a:latin typeface="Arial"/>
                <a:cs typeface="Arial"/>
              </a:rPr>
              <a:t> </a:t>
            </a:r>
            <a:r>
              <a:rPr sz="1200" spc="4" dirty="0">
                <a:latin typeface="Arial"/>
                <a:cs typeface="Arial"/>
              </a:rPr>
              <a:t>o</a:t>
            </a:r>
            <a:r>
              <a:rPr sz="1200" dirty="0">
                <a:latin typeface="Arial"/>
                <a:cs typeface="Arial"/>
              </a:rPr>
              <a:t>r</a:t>
            </a:r>
            <a:r>
              <a:rPr sz="1200" spc="-9" dirty="0">
                <a:latin typeface="Arial"/>
                <a:cs typeface="Arial"/>
              </a:rPr>
              <a:t>g</a:t>
            </a:r>
            <a:r>
              <a:rPr sz="1200" spc="4" dirty="0">
                <a:latin typeface="Arial"/>
                <a:cs typeface="Arial"/>
              </a:rPr>
              <a:t>an</a:t>
            </a:r>
            <a:r>
              <a:rPr sz="1200" dirty="0">
                <a:latin typeface="Arial"/>
                <a:cs typeface="Arial"/>
              </a:rPr>
              <a:t>i</a:t>
            </a:r>
            <a:r>
              <a:rPr sz="1200" spc="-14" dirty="0">
                <a:latin typeface="Arial"/>
                <a:cs typeface="Arial"/>
              </a:rPr>
              <a:t>z</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 </a:t>
            </a:r>
            <a:r>
              <a:rPr sz="1200" spc="4" dirty="0">
                <a:latin typeface="Arial"/>
                <a:cs typeface="Arial"/>
              </a:rPr>
              <a:t>be</a:t>
            </a:r>
            <a:r>
              <a:rPr sz="1200" dirty="0">
                <a:latin typeface="Arial"/>
                <a:cs typeface="Arial"/>
              </a:rPr>
              <a:t>lo</a:t>
            </a:r>
            <a:r>
              <a:rPr sz="1200" spc="4" dirty="0">
                <a:latin typeface="Arial"/>
                <a:cs typeface="Arial"/>
              </a:rPr>
              <a:t>n</a:t>
            </a:r>
            <a:r>
              <a:rPr sz="1200" spc="-4" dirty="0">
                <a:latin typeface="Arial"/>
                <a:cs typeface="Arial"/>
              </a:rPr>
              <a:t>g</a:t>
            </a:r>
            <a:r>
              <a:rPr sz="1200" dirty="0">
                <a:latin typeface="Arial"/>
                <a:cs typeface="Arial"/>
              </a:rPr>
              <a:t>s</a:t>
            </a:r>
            <a:r>
              <a:rPr sz="1200" spc="-19" dirty="0">
                <a:latin typeface="Arial"/>
                <a:cs typeface="Arial"/>
              </a:rPr>
              <a:t> </a:t>
            </a:r>
            <a:r>
              <a:rPr sz="1200" dirty="0">
                <a:latin typeface="Arial"/>
                <a:cs typeface="Arial"/>
              </a:rPr>
              <a:t>to</a:t>
            </a:r>
            <a:r>
              <a:rPr sz="1200" spc="332" dirty="0">
                <a:latin typeface="Arial"/>
                <a:cs typeface="Arial"/>
              </a:rPr>
              <a:t> </a:t>
            </a:r>
            <a:r>
              <a:rPr sz="1200" spc="4" dirty="0">
                <a:latin typeface="Arial"/>
                <a:cs typeface="Arial"/>
              </a:rPr>
              <a:t>d</a:t>
            </a:r>
            <a:r>
              <a:rPr sz="1200" dirty="0">
                <a:latin typeface="Arial"/>
                <a:cs typeface="Arial"/>
              </a:rPr>
              <a:t>i</a:t>
            </a:r>
            <a:r>
              <a:rPr sz="1200" spc="-9" dirty="0">
                <a:latin typeface="Arial"/>
                <a:cs typeface="Arial"/>
              </a:rPr>
              <a:t>f</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t</a:t>
            </a:r>
            <a:r>
              <a:rPr sz="1200" spc="-39" dirty="0">
                <a:latin typeface="Arial"/>
                <a:cs typeface="Arial"/>
              </a:rPr>
              <a:t> </a:t>
            </a:r>
            <a:r>
              <a:rPr sz="1200" dirty="0">
                <a:latin typeface="Arial"/>
                <a:cs typeface="Arial"/>
              </a:rPr>
              <a:t>c</a:t>
            </a:r>
            <a:r>
              <a:rPr sz="1200" spc="4" dirty="0">
                <a:latin typeface="Arial"/>
                <a:cs typeface="Arial"/>
              </a:rPr>
              <a:t>ompan</a:t>
            </a:r>
            <a:r>
              <a:rPr sz="1200" dirty="0">
                <a:latin typeface="Arial"/>
                <a:cs typeface="Arial"/>
              </a:rPr>
              <a:t>y</a:t>
            </a:r>
            <a:r>
              <a:rPr sz="1200" spc="-44" dirty="0">
                <a:latin typeface="Arial"/>
                <a:cs typeface="Arial"/>
              </a:rPr>
              <a:t> </a:t>
            </a:r>
            <a:r>
              <a:rPr sz="1200" dirty="0">
                <a:latin typeface="Arial"/>
                <a:cs typeface="Arial"/>
              </a:rPr>
              <a:t>c</a:t>
            </a:r>
            <a:r>
              <a:rPr sz="1200" spc="4" dirty="0">
                <a:latin typeface="Arial"/>
                <a:cs typeface="Arial"/>
              </a:rPr>
              <a:t>od</a:t>
            </a:r>
            <a:r>
              <a:rPr sz="1200" dirty="0">
                <a:latin typeface="Arial"/>
                <a:cs typeface="Arial"/>
              </a:rPr>
              <a:t>e</a:t>
            </a:r>
            <a:r>
              <a:rPr sz="1200" spc="-14"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n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n</a:t>
            </a:r>
            <a:r>
              <a:rPr sz="1200" dirty="0">
                <a:latin typeface="Arial"/>
                <a:cs typeface="Arial"/>
              </a:rPr>
              <a:t>g</a:t>
            </a:r>
            <a:r>
              <a:rPr sz="1200" spc="-14" dirty="0">
                <a:latin typeface="Arial"/>
                <a:cs typeface="Arial"/>
              </a:rPr>
              <a:t> </a:t>
            </a:r>
            <a:r>
              <a:rPr sz="1200" spc="4" dirty="0">
                <a:latin typeface="Arial"/>
                <a:cs typeface="Arial"/>
              </a:rPr>
              <a:t>p</a:t>
            </a:r>
            <a:r>
              <a:rPr sz="1200" dirty="0">
                <a:latin typeface="Arial"/>
                <a:cs typeface="Arial"/>
              </a:rPr>
              <a:t>la</a:t>
            </a:r>
            <a:r>
              <a:rPr sz="1200" spc="4" dirty="0">
                <a:latin typeface="Arial"/>
                <a:cs typeface="Arial"/>
              </a:rPr>
              <a:t>n</a:t>
            </a:r>
            <a:r>
              <a:rPr sz="1200" dirty="0">
                <a:latin typeface="Arial"/>
                <a:cs typeface="Arial"/>
              </a:rPr>
              <a:t>t.</a:t>
            </a:r>
            <a:endParaRPr sz="1200">
              <a:latin typeface="Arial"/>
              <a:cs typeface="Arial"/>
            </a:endParaRPr>
          </a:p>
          <a:p>
            <a:pPr marL="475488">
              <a:lnSpc>
                <a:spcPct val="95825"/>
              </a:lnSpc>
              <a:spcBef>
                <a:spcPts val="5"/>
              </a:spcBef>
            </a:pPr>
            <a:r>
              <a:rPr sz="1200" dirty="0">
                <a:latin typeface="Arial"/>
                <a:cs typeface="Arial"/>
              </a:rPr>
              <a:t>2.</a:t>
            </a:r>
            <a:r>
              <a:rPr sz="1200" spc="4" dirty="0">
                <a:latin typeface="Arial"/>
                <a:cs typeface="Arial"/>
              </a:rPr>
              <a:t> </a:t>
            </a:r>
            <a:r>
              <a:rPr sz="1200" dirty="0">
                <a:latin typeface="Arial"/>
                <a:cs typeface="Arial"/>
              </a:rPr>
              <a:t>It</a:t>
            </a:r>
            <a:r>
              <a:rPr sz="1200" spc="4" dirty="0">
                <a:latin typeface="Arial"/>
                <a:cs typeface="Arial"/>
              </a:rPr>
              <a:t> d</a:t>
            </a:r>
            <a:r>
              <a:rPr sz="1200" dirty="0">
                <a:latin typeface="Arial"/>
                <a:cs typeface="Arial"/>
              </a:rPr>
              <a:t>i</a:t>
            </a:r>
            <a:r>
              <a:rPr sz="1200" spc="-14" dirty="0">
                <a:latin typeface="Arial"/>
                <a:cs typeface="Arial"/>
              </a:rPr>
              <a:t>f</a:t>
            </a:r>
            <a:r>
              <a:rPr sz="1200" spc="9" dirty="0">
                <a:latin typeface="Arial"/>
                <a:cs typeface="Arial"/>
              </a:rPr>
              <a:t>f</a:t>
            </a:r>
            <a:r>
              <a:rPr sz="1200" dirty="0">
                <a:latin typeface="Arial"/>
                <a:cs typeface="Arial"/>
              </a:rPr>
              <a:t>ers</a:t>
            </a:r>
            <a:r>
              <a:rPr sz="1200" spc="-34" dirty="0">
                <a:latin typeface="Arial"/>
                <a:cs typeface="Arial"/>
              </a:rPr>
              <a:t> </a:t>
            </a:r>
            <a:r>
              <a:rPr sz="1200" spc="9" dirty="0">
                <a:latin typeface="Arial"/>
                <a:cs typeface="Arial"/>
              </a:rPr>
              <a:t>f</a:t>
            </a:r>
            <a:r>
              <a:rPr sz="1200" spc="-4" dirty="0">
                <a:latin typeface="Arial"/>
                <a:cs typeface="Arial"/>
              </a:rPr>
              <a:t>r</a:t>
            </a:r>
            <a:r>
              <a:rPr sz="1200" dirty="0">
                <a:latin typeface="Arial"/>
                <a:cs typeface="Arial"/>
              </a:rPr>
              <a:t>om</a:t>
            </a:r>
            <a:r>
              <a:rPr sz="1200" spc="-14" dirty="0">
                <a:latin typeface="Arial"/>
                <a:cs typeface="Arial"/>
              </a:rPr>
              <a:t> </a:t>
            </a:r>
            <a:r>
              <a:rPr sz="1200" dirty="0">
                <a:latin typeface="Arial"/>
                <a:cs typeface="Arial"/>
              </a:rPr>
              <a:t>stan</a:t>
            </a:r>
            <a:r>
              <a:rPr sz="1200" spc="4" dirty="0">
                <a:latin typeface="Arial"/>
                <a:cs typeface="Arial"/>
              </a:rPr>
              <a:t>d</a:t>
            </a:r>
            <a:r>
              <a:rPr sz="1200" dirty="0">
                <a:latin typeface="Arial"/>
                <a:cs typeface="Arial"/>
              </a:rPr>
              <a:t>ard</a:t>
            </a:r>
            <a:r>
              <a:rPr sz="1200" spc="-29" dirty="0">
                <a:latin typeface="Arial"/>
                <a:cs typeface="Arial"/>
              </a:rPr>
              <a:t> </a:t>
            </a:r>
            <a:r>
              <a:rPr sz="1200" dirty="0">
                <a:latin typeface="Arial"/>
                <a:cs typeface="Arial"/>
              </a:rPr>
              <a:t>bil</a:t>
            </a:r>
            <a:r>
              <a:rPr sz="1200" spc="-4" dirty="0">
                <a:latin typeface="Arial"/>
                <a:cs typeface="Arial"/>
              </a:rPr>
              <a:t>l</a:t>
            </a:r>
            <a:r>
              <a:rPr sz="1200" dirty="0">
                <a:latin typeface="Arial"/>
                <a:cs typeface="Arial"/>
              </a:rPr>
              <a:t>ing</a:t>
            </a:r>
            <a:r>
              <a:rPr sz="1200" spc="-29" dirty="0">
                <a:latin typeface="Arial"/>
                <a:cs typeface="Arial"/>
              </a:rPr>
              <a:t> </a:t>
            </a:r>
            <a:r>
              <a:rPr sz="1200" dirty="0">
                <a:latin typeface="Arial"/>
                <a:cs typeface="Arial"/>
              </a:rPr>
              <a:t>t</a:t>
            </a:r>
            <a:r>
              <a:rPr sz="1200" spc="-9" dirty="0">
                <a:latin typeface="Arial"/>
                <a:cs typeface="Arial"/>
              </a:rPr>
              <a:t>y</a:t>
            </a:r>
            <a:r>
              <a:rPr sz="1200" dirty="0">
                <a:latin typeface="Arial"/>
                <a:cs typeface="Arial"/>
              </a:rPr>
              <a:t>pe</a:t>
            </a:r>
            <a:r>
              <a:rPr sz="1200" spc="9" dirty="0">
                <a:latin typeface="Arial"/>
                <a:cs typeface="Arial"/>
              </a:rPr>
              <a:t> </a:t>
            </a:r>
            <a:r>
              <a:rPr sz="1200" dirty="0">
                <a:latin typeface="Arial"/>
                <a:cs typeface="Arial"/>
              </a:rPr>
              <a:t>in</a:t>
            </a:r>
            <a:r>
              <a:rPr sz="1200" spc="-4" dirty="0">
                <a:latin typeface="Arial"/>
                <a:cs typeface="Arial"/>
              </a:rPr>
              <a:t> </a:t>
            </a:r>
            <a:r>
              <a:rPr sz="1200" spc="9" dirty="0">
                <a:latin typeface="Arial"/>
                <a:cs typeface="Arial"/>
              </a:rPr>
              <a:t>f</a:t>
            </a:r>
            <a:r>
              <a:rPr sz="1200" dirty="0">
                <a:latin typeface="Arial"/>
                <a:cs typeface="Arial"/>
              </a:rPr>
              <a:t>ollo</a:t>
            </a:r>
            <a:r>
              <a:rPr sz="1200" spc="-14" dirty="0">
                <a:latin typeface="Arial"/>
                <a:cs typeface="Arial"/>
              </a:rPr>
              <a:t>w</a:t>
            </a:r>
            <a:r>
              <a:rPr sz="1200" dirty="0">
                <a:latin typeface="Arial"/>
                <a:cs typeface="Arial"/>
              </a:rPr>
              <a:t>ing</a:t>
            </a:r>
            <a:r>
              <a:rPr sz="1200" spc="-29" dirty="0">
                <a:latin typeface="Arial"/>
                <a:cs typeface="Arial"/>
              </a:rPr>
              <a:t> </a:t>
            </a:r>
            <a:r>
              <a:rPr sz="1200" spc="4" dirty="0">
                <a:latin typeface="Arial"/>
                <a:cs typeface="Arial"/>
              </a:rPr>
              <a:t>m</a:t>
            </a:r>
            <a:r>
              <a:rPr sz="1200" dirty="0">
                <a:latin typeface="Arial"/>
                <a:cs typeface="Arial"/>
              </a:rPr>
              <a:t>a</a:t>
            </a:r>
            <a:r>
              <a:rPr sz="1200" spc="4" dirty="0">
                <a:latin typeface="Arial"/>
                <a:cs typeface="Arial"/>
              </a:rPr>
              <a:t>n</a:t>
            </a:r>
            <a:r>
              <a:rPr sz="1200" dirty="0">
                <a:latin typeface="Arial"/>
                <a:cs typeface="Arial"/>
              </a:rPr>
              <a:t>n</a:t>
            </a:r>
            <a:r>
              <a:rPr sz="1200" spc="4" dirty="0">
                <a:latin typeface="Arial"/>
                <a:cs typeface="Arial"/>
              </a:rPr>
              <a:t>e</a:t>
            </a:r>
            <a:r>
              <a:rPr sz="1200" spc="-64" dirty="0">
                <a:latin typeface="Arial"/>
                <a:cs typeface="Arial"/>
              </a:rPr>
              <a:t>r</a:t>
            </a:r>
            <a:r>
              <a:rPr sz="1200" dirty="0">
                <a:latin typeface="Arial"/>
                <a:cs typeface="Arial"/>
              </a:rPr>
              <a:t>.</a:t>
            </a:r>
            <a:endParaRPr sz="1200">
              <a:latin typeface="Arial"/>
              <a:cs typeface="Arial"/>
            </a:endParaRPr>
          </a:p>
          <a:p>
            <a:pPr marL="766572" marR="425122" indent="9143">
              <a:lnSpc>
                <a:spcPct val="100041"/>
              </a:lnSpc>
              <a:spcBef>
                <a:spcPts val="60"/>
              </a:spcBef>
            </a:pPr>
            <a:r>
              <a:rPr sz="1200" dirty="0">
                <a:latin typeface="Arial"/>
                <a:cs typeface="Arial"/>
              </a:rPr>
              <a:t>Cus</a:t>
            </a:r>
            <a:r>
              <a:rPr sz="1200" spc="4" dirty="0">
                <a:latin typeface="Arial"/>
                <a:cs typeface="Arial"/>
              </a:rPr>
              <a:t>tome</a:t>
            </a:r>
            <a:r>
              <a:rPr sz="1200" dirty="0">
                <a:latin typeface="Arial"/>
                <a:cs typeface="Arial"/>
              </a:rPr>
              <a:t>r</a:t>
            </a:r>
            <a:r>
              <a:rPr sz="1200" spc="-34" dirty="0">
                <a:latin typeface="Arial"/>
                <a:cs typeface="Arial"/>
              </a:rPr>
              <a:t> </a:t>
            </a:r>
            <a:r>
              <a:rPr sz="1200" spc="4" dirty="0">
                <a:latin typeface="Arial"/>
                <a:cs typeface="Arial"/>
              </a:rPr>
              <a:t>numbe</a:t>
            </a:r>
            <a:r>
              <a:rPr sz="1200" dirty="0">
                <a:latin typeface="Arial"/>
                <a:cs typeface="Arial"/>
              </a:rPr>
              <a:t>r</a:t>
            </a:r>
            <a:r>
              <a:rPr sz="1200" spc="-34" dirty="0">
                <a:latin typeface="Arial"/>
                <a:cs typeface="Arial"/>
              </a:rPr>
              <a:t> </a:t>
            </a:r>
            <a:r>
              <a:rPr sz="1200" dirty="0">
                <a:latin typeface="Arial"/>
                <a:cs typeface="Arial"/>
              </a:rPr>
              <a:t>is tre</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d</a:t>
            </a:r>
            <a:r>
              <a:rPr sz="1200" spc="-14" dirty="0">
                <a:latin typeface="Arial"/>
                <a:cs typeface="Arial"/>
              </a:rPr>
              <a:t> </a:t>
            </a:r>
            <a:r>
              <a:rPr sz="1200" spc="4" dirty="0">
                <a:latin typeface="Arial"/>
                <a:cs typeface="Arial"/>
              </a:rPr>
              <a:t>a</a:t>
            </a:r>
            <a:r>
              <a:rPr sz="1200" dirty="0">
                <a:latin typeface="Arial"/>
                <a:cs typeface="Arial"/>
              </a:rPr>
              <a:t>s</a:t>
            </a:r>
            <a:r>
              <a:rPr sz="1200" spc="-9" dirty="0">
                <a:latin typeface="Arial"/>
                <a:cs typeface="Arial"/>
              </a:rPr>
              <a:t> </a:t>
            </a:r>
            <a:r>
              <a:rPr sz="1200" dirty="0">
                <a:latin typeface="Arial"/>
                <a:cs typeface="Arial"/>
              </a:rPr>
              <a:t>‘I</a:t>
            </a:r>
            <a:r>
              <a:rPr sz="1200" spc="4" dirty="0">
                <a:latin typeface="Arial"/>
                <a:cs typeface="Arial"/>
              </a:rPr>
              <a:t>n</a:t>
            </a:r>
            <a:r>
              <a:rPr sz="1200" dirty="0">
                <a:latin typeface="Arial"/>
                <a:cs typeface="Arial"/>
              </a:rPr>
              <a:t>t</a:t>
            </a:r>
            <a:r>
              <a:rPr sz="1200" spc="4" dirty="0">
                <a:latin typeface="Arial"/>
                <a:cs typeface="Arial"/>
              </a:rPr>
              <a:t>e</a:t>
            </a:r>
            <a:r>
              <a:rPr sz="1200" dirty="0">
                <a:latin typeface="Arial"/>
                <a:cs typeface="Arial"/>
              </a:rPr>
              <a:t>rn</a:t>
            </a:r>
            <a:r>
              <a:rPr sz="1200" spc="4" dirty="0">
                <a:latin typeface="Arial"/>
                <a:cs typeface="Arial"/>
              </a:rPr>
              <a:t>a</a:t>
            </a:r>
            <a:r>
              <a:rPr sz="1200" dirty="0">
                <a:latin typeface="Arial"/>
                <a:cs typeface="Arial"/>
              </a:rPr>
              <a:t>l</a:t>
            </a:r>
            <a:r>
              <a:rPr sz="1200" spc="-34" dirty="0">
                <a:latin typeface="Arial"/>
                <a:cs typeface="Arial"/>
              </a:rPr>
              <a:t> </a:t>
            </a:r>
            <a:r>
              <a:rPr sz="1200" dirty="0">
                <a:latin typeface="Arial"/>
                <a:cs typeface="Arial"/>
              </a:rPr>
              <a:t>c</a:t>
            </a:r>
            <a:r>
              <a:rPr sz="1200" spc="4" dirty="0">
                <a:latin typeface="Arial"/>
                <a:cs typeface="Arial"/>
              </a:rPr>
              <a:t>u</a:t>
            </a:r>
            <a:r>
              <a:rPr sz="1200" dirty="0">
                <a:latin typeface="Arial"/>
                <a:cs typeface="Arial"/>
              </a:rPr>
              <a:t>st</a:t>
            </a:r>
            <a:r>
              <a:rPr sz="1200" spc="4" dirty="0">
                <a:latin typeface="Arial"/>
                <a:cs typeface="Arial"/>
              </a:rPr>
              <a:t>ome</a:t>
            </a:r>
            <a:r>
              <a:rPr sz="1200" spc="44" dirty="0">
                <a:latin typeface="Arial"/>
                <a:cs typeface="Arial"/>
              </a:rPr>
              <a:t>r</a:t>
            </a:r>
            <a:r>
              <a:rPr sz="1200" dirty="0">
                <a:latin typeface="Arial"/>
                <a:cs typeface="Arial"/>
              </a:rPr>
              <a:t>’. Assi</a:t>
            </a:r>
            <a:r>
              <a:rPr sz="1200" spc="-9" dirty="0">
                <a:latin typeface="Arial"/>
                <a:cs typeface="Arial"/>
              </a:rPr>
              <a:t>g</a:t>
            </a:r>
            <a:r>
              <a:rPr sz="1200" spc="4" dirty="0">
                <a:latin typeface="Arial"/>
                <a:cs typeface="Arial"/>
              </a:rPr>
              <a:t>nmen</a:t>
            </a:r>
            <a:r>
              <a:rPr sz="1200" dirty="0">
                <a:latin typeface="Arial"/>
                <a:cs typeface="Arial"/>
              </a:rPr>
              <a:t>t</a:t>
            </a:r>
            <a:r>
              <a:rPr sz="1200" spc="-2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o</a:t>
            </a:r>
            <a:r>
              <a:rPr sz="1200" dirty="0">
                <a:latin typeface="Arial"/>
                <a:cs typeface="Arial"/>
              </a:rPr>
              <a:t>rd</a:t>
            </a:r>
            <a:r>
              <a:rPr sz="1200" spc="4" dirty="0">
                <a:latin typeface="Arial"/>
                <a:cs typeface="Arial"/>
              </a:rPr>
              <a:t>e</a:t>
            </a:r>
            <a:r>
              <a:rPr sz="1200" dirty="0">
                <a:latin typeface="Arial"/>
                <a:cs typeface="Arial"/>
              </a:rPr>
              <a:t>r</a:t>
            </a:r>
            <a:r>
              <a:rPr sz="1200" spc="-25"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t</a:t>
            </a:r>
            <a:r>
              <a:rPr sz="1200" dirty="0">
                <a:latin typeface="Arial"/>
                <a:cs typeface="Arial"/>
              </a:rPr>
              <a:t>o</a:t>
            </a:r>
            <a:r>
              <a:rPr sz="1200" spc="-4" dirty="0">
                <a:latin typeface="Arial"/>
                <a:cs typeface="Arial"/>
              </a:rPr>
              <a:t> </a:t>
            </a:r>
            <a:r>
              <a:rPr sz="1200" dirty="0">
                <a:latin typeface="Arial"/>
                <a:cs typeface="Arial"/>
              </a:rPr>
              <a:t>in</a:t>
            </a:r>
            <a:r>
              <a:rPr sz="1200" spc="4" dirty="0">
                <a:latin typeface="Arial"/>
                <a:cs typeface="Arial"/>
              </a:rPr>
              <a:t>te</a:t>
            </a:r>
            <a:r>
              <a:rPr sz="1200" dirty="0">
                <a:latin typeface="Arial"/>
                <a:cs typeface="Arial"/>
              </a:rPr>
              <a:t>r</a:t>
            </a:r>
            <a:r>
              <a:rPr sz="1200" spc="-9" dirty="0">
                <a:latin typeface="Arial"/>
                <a:cs typeface="Arial"/>
              </a:rPr>
              <a:t> </a:t>
            </a:r>
            <a:r>
              <a:rPr sz="1200" dirty="0">
                <a:latin typeface="Arial"/>
                <a:cs typeface="Arial"/>
              </a:rPr>
              <a:t>c</a:t>
            </a:r>
            <a:r>
              <a:rPr sz="1200" spc="4" dirty="0">
                <a:latin typeface="Arial"/>
                <a:cs typeface="Arial"/>
              </a:rPr>
              <a:t>ompan</a:t>
            </a:r>
            <a:r>
              <a:rPr sz="1200" dirty="0">
                <a:latin typeface="Arial"/>
                <a:cs typeface="Arial"/>
              </a:rPr>
              <a:t>y</a:t>
            </a:r>
            <a:r>
              <a:rPr sz="1200" spc="-2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 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I</a:t>
            </a:r>
            <a:r>
              <a:rPr sz="1200" spc="-104" dirty="0">
                <a:latin typeface="Arial"/>
                <a:cs typeface="Arial"/>
              </a:rPr>
              <a:t>V</a:t>
            </a:r>
            <a:r>
              <a:rPr sz="1200" dirty="0">
                <a:latin typeface="Arial"/>
                <a:cs typeface="Arial"/>
              </a:rPr>
              <a:t>.</a:t>
            </a:r>
            <a:endParaRPr sz="1200">
              <a:latin typeface="Arial"/>
              <a:cs typeface="Arial"/>
            </a:endParaRPr>
          </a:p>
          <a:p>
            <a:pPr marL="775716" marR="443257">
              <a:lnSpc>
                <a:spcPct val="100041"/>
              </a:lnSpc>
            </a:pPr>
            <a:r>
              <a:rPr sz="1200" spc="-4" dirty="0">
                <a:latin typeface="Arial"/>
                <a:cs typeface="Arial"/>
              </a:rPr>
              <a:t>M</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r</a:t>
            </a:r>
            <a:r>
              <a:rPr sz="1200" spc="-4" dirty="0">
                <a:latin typeface="Arial"/>
                <a:cs typeface="Arial"/>
              </a:rPr>
              <a:t>i</a:t>
            </a:r>
            <a:r>
              <a:rPr sz="1200" spc="4" dirty="0">
                <a:latin typeface="Arial"/>
                <a:cs typeface="Arial"/>
              </a:rPr>
              <a:t>a</a:t>
            </a:r>
            <a:r>
              <a:rPr sz="1200" dirty="0">
                <a:latin typeface="Arial"/>
                <a:cs typeface="Arial"/>
              </a:rPr>
              <a:t>l</a:t>
            </a:r>
            <a:r>
              <a:rPr sz="1200" spc="-25" dirty="0">
                <a:latin typeface="Arial"/>
                <a:cs typeface="Arial"/>
              </a:rPr>
              <a:t> </a:t>
            </a:r>
            <a:r>
              <a:rPr sz="1200" dirty="0">
                <a:latin typeface="Arial"/>
                <a:cs typeface="Arial"/>
              </a:rPr>
              <a:t>to</a:t>
            </a:r>
            <a:r>
              <a:rPr sz="1200" spc="4" dirty="0">
                <a:latin typeface="Arial"/>
                <a:cs typeface="Arial"/>
              </a:rPr>
              <a:t> b</a:t>
            </a:r>
            <a:r>
              <a:rPr sz="1200" dirty="0">
                <a:latin typeface="Arial"/>
                <a:cs typeface="Arial"/>
              </a:rPr>
              <a:t>e</a:t>
            </a:r>
            <a:r>
              <a:rPr sz="1200" spc="-14" dirty="0">
                <a:latin typeface="Arial"/>
                <a:cs typeface="Arial"/>
              </a:rPr>
              <a:t> </a:t>
            </a:r>
            <a:r>
              <a:rPr sz="1200" dirty="0">
                <a:latin typeface="Arial"/>
                <a:cs typeface="Arial"/>
              </a:rPr>
              <a:t>s</a:t>
            </a:r>
            <a:r>
              <a:rPr sz="1200" spc="4" dirty="0">
                <a:latin typeface="Arial"/>
                <a:cs typeface="Arial"/>
              </a:rPr>
              <a:t>o</a:t>
            </a:r>
            <a:r>
              <a:rPr sz="1200" dirty="0">
                <a:latin typeface="Arial"/>
                <a:cs typeface="Arial"/>
              </a:rPr>
              <a:t>ld</a:t>
            </a:r>
            <a:r>
              <a:rPr sz="1200" spc="-4" dirty="0">
                <a:latin typeface="Arial"/>
                <a:cs typeface="Arial"/>
              </a:rPr>
              <a:t> </a:t>
            </a:r>
            <a:r>
              <a:rPr sz="1200" dirty="0">
                <a:latin typeface="Arial"/>
                <a:cs typeface="Arial"/>
              </a:rPr>
              <a:t>s</a:t>
            </a:r>
            <a:r>
              <a:rPr sz="1200" spc="4" dirty="0">
                <a:latin typeface="Arial"/>
                <a:cs typeface="Arial"/>
              </a:rPr>
              <a:t>hou</a:t>
            </a:r>
            <a:r>
              <a:rPr sz="1200" dirty="0">
                <a:latin typeface="Arial"/>
                <a:cs typeface="Arial"/>
              </a:rPr>
              <a:t>ld</a:t>
            </a:r>
            <a:r>
              <a:rPr sz="1200" spc="-29" dirty="0">
                <a:latin typeface="Arial"/>
                <a:cs typeface="Arial"/>
              </a:rPr>
              <a:t> </a:t>
            </a:r>
            <a:r>
              <a:rPr sz="1200" spc="4" dirty="0">
                <a:latin typeface="Arial"/>
                <a:cs typeface="Arial"/>
              </a:rPr>
              <a:t>b</a:t>
            </a:r>
            <a:r>
              <a:rPr sz="1200" dirty="0">
                <a:latin typeface="Arial"/>
                <a:cs typeface="Arial"/>
              </a:rPr>
              <a:t>e</a:t>
            </a:r>
            <a:r>
              <a:rPr sz="1200" spc="-14" dirty="0">
                <a:latin typeface="Arial"/>
                <a:cs typeface="Arial"/>
              </a:rPr>
              <a:t> </a:t>
            </a:r>
            <a:r>
              <a:rPr sz="1200" spc="4" dirty="0">
                <a:latin typeface="Arial"/>
                <a:cs typeface="Arial"/>
              </a:rPr>
              <a:t>e</a:t>
            </a:r>
            <a:r>
              <a:rPr sz="1200" spc="-9" dirty="0">
                <a:latin typeface="Arial"/>
                <a:cs typeface="Arial"/>
              </a:rPr>
              <a:t>x</a:t>
            </a:r>
            <a:r>
              <a:rPr sz="1200" dirty="0">
                <a:latin typeface="Arial"/>
                <a:cs typeface="Arial"/>
              </a:rPr>
              <a:t>ist in</a:t>
            </a:r>
            <a:r>
              <a:rPr sz="1200" spc="4" dirty="0">
                <a:latin typeface="Arial"/>
                <a:cs typeface="Arial"/>
              </a:rPr>
              <a:t> </a:t>
            </a:r>
            <a:r>
              <a:rPr sz="1200" dirty="0">
                <a:latin typeface="Arial"/>
                <a:cs typeface="Arial"/>
              </a:rPr>
              <a:t>rec</a:t>
            </a:r>
            <a:r>
              <a:rPr sz="1200" spc="4" dirty="0">
                <a:latin typeface="Arial"/>
                <a:cs typeface="Arial"/>
              </a:rPr>
              <a:t>e</a:t>
            </a:r>
            <a:r>
              <a:rPr sz="1200" dirty="0">
                <a:latin typeface="Arial"/>
                <a:cs typeface="Arial"/>
              </a:rPr>
              <a:t>i</a:t>
            </a:r>
            <a:r>
              <a:rPr sz="1200" spc="-14" dirty="0">
                <a:latin typeface="Arial"/>
                <a:cs typeface="Arial"/>
              </a:rPr>
              <a:t>v</a:t>
            </a:r>
            <a:r>
              <a:rPr sz="1200" dirty="0">
                <a:latin typeface="Arial"/>
                <a:cs typeface="Arial"/>
              </a:rPr>
              <a:t>ing</a:t>
            </a:r>
            <a:r>
              <a:rPr sz="1200" spc="-14" dirty="0">
                <a:latin typeface="Arial"/>
                <a:cs typeface="Arial"/>
              </a:rPr>
              <a:t> </a:t>
            </a:r>
            <a:r>
              <a:rPr sz="1200" spc="4" dirty="0">
                <a:latin typeface="Arial"/>
                <a:cs typeface="Arial"/>
              </a:rPr>
              <a:t>an</a:t>
            </a:r>
            <a:r>
              <a:rPr sz="1200" dirty="0">
                <a:latin typeface="Arial"/>
                <a:cs typeface="Arial"/>
              </a:rPr>
              <a:t>d s</a:t>
            </a:r>
            <a:r>
              <a:rPr sz="1200" spc="4" dirty="0">
                <a:latin typeface="Arial"/>
                <a:cs typeface="Arial"/>
              </a:rPr>
              <a:t>upp</a:t>
            </a:r>
            <a:r>
              <a:rPr sz="1200" dirty="0">
                <a:latin typeface="Arial"/>
                <a:cs typeface="Arial"/>
              </a:rPr>
              <a:t>l</a:t>
            </a:r>
            <a:r>
              <a:rPr sz="1200" spc="-14" dirty="0">
                <a:latin typeface="Arial"/>
                <a:cs typeface="Arial"/>
              </a:rPr>
              <a:t>y</a:t>
            </a:r>
            <a:r>
              <a:rPr sz="1200" dirty="0">
                <a:latin typeface="Arial"/>
                <a:cs typeface="Arial"/>
              </a:rPr>
              <a:t>ing</a:t>
            </a:r>
            <a:r>
              <a:rPr sz="1200" spc="-25" dirty="0">
                <a:latin typeface="Arial"/>
                <a:cs typeface="Arial"/>
              </a:rPr>
              <a:t> </a:t>
            </a:r>
            <a:r>
              <a:rPr sz="1200" spc="4" dirty="0">
                <a:latin typeface="Arial"/>
                <a:cs typeface="Arial"/>
              </a:rPr>
              <a:t>p</a:t>
            </a:r>
            <a:r>
              <a:rPr sz="1200" dirty="0">
                <a:latin typeface="Arial"/>
                <a:cs typeface="Arial"/>
              </a:rPr>
              <a:t>la</a:t>
            </a:r>
            <a:r>
              <a:rPr sz="1200" spc="4" dirty="0">
                <a:latin typeface="Arial"/>
                <a:cs typeface="Arial"/>
              </a:rPr>
              <a:t>n</a:t>
            </a:r>
            <a:r>
              <a:rPr sz="1200" dirty="0">
                <a:latin typeface="Arial"/>
                <a:cs typeface="Arial"/>
              </a:rPr>
              <a:t>t.</a:t>
            </a:r>
            <a:endParaRPr sz="1200">
              <a:latin typeface="Arial"/>
              <a:cs typeface="Arial"/>
            </a:endParaRPr>
          </a:p>
          <a:p>
            <a:pPr marL="775716">
              <a:lnSpc>
                <a:spcPct val="95825"/>
              </a:lnSpc>
            </a:pPr>
            <a:r>
              <a:rPr sz="1200" dirty="0">
                <a:latin typeface="Arial"/>
                <a:cs typeface="Arial"/>
              </a:rPr>
              <a:t>Co</a:t>
            </a:r>
            <a:r>
              <a:rPr sz="1200" spc="4" dirty="0">
                <a:latin typeface="Arial"/>
                <a:cs typeface="Arial"/>
              </a:rPr>
              <a:t>p</a:t>
            </a:r>
            <a:r>
              <a:rPr sz="1200" dirty="0">
                <a:latin typeface="Arial"/>
                <a:cs typeface="Arial"/>
              </a:rPr>
              <a:t>y</a:t>
            </a:r>
            <a:r>
              <a:rPr sz="1200" spc="-19" dirty="0">
                <a:latin typeface="Arial"/>
                <a:cs typeface="Arial"/>
              </a:rPr>
              <a:t> </a:t>
            </a:r>
            <a:r>
              <a:rPr sz="1200" dirty="0">
                <a:latin typeface="Arial"/>
                <a:cs typeface="Arial"/>
              </a:rPr>
              <a:t>c</a:t>
            </a:r>
            <a:r>
              <a:rPr sz="1200" spc="4" dirty="0">
                <a:latin typeface="Arial"/>
                <a:cs typeface="Arial"/>
              </a:rPr>
              <a:t>on</a:t>
            </a:r>
            <a:r>
              <a:rPr sz="1200" dirty="0">
                <a:latin typeface="Arial"/>
                <a:cs typeface="Arial"/>
              </a:rPr>
              <a:t>trol</a:t>
            </a:r>
            <a:r>
              <a:rPr sz="1200" spc="-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25" dirty="0">
                <a:latin typeface="Arial"/>
                <a:cs typeface="Arial"/>
              </a:rPr>
              <a:t> </a:t>
            </a:r>
            <a:r>
              <a:rPr sz="1200" dirty="0">
                <a:latin typeface="Arial"/>
                <a:cs typeface="Arial"/>
              </a:rPr>
              <a:t>‘F2’</a:t>
            </a:r>
            <a:r>
              <a:rPr sz="1200" spc="-50" dirty="0">
                <a:latin typeface="Arial"/>
                <a:cs typeface="Arial"/>
              </a:rPr>
              <a:t> </a:t>
            </a:r>
            <a:r>
              <a:rPr sz="1200" spc="4" dirty="0">
                <a:latin typeface="Arial"/>
                <a:cs typeface="Arial"/>
              </a:rPr>
              <a:t>t</a:t>
            </a:r>
            <a:r>
              <a:rPr sz="1200" dirty="0">
                <a:latin typeface="Arial"/>
                <a:cs typeface="Arial"/>
              </a:rPr>
              <a:t>o</a:t>
            </a:r>
            <a:r>
              <a:rPr sz="1200" spc="4" dirty="0">
                <a:latin typeface="Arial"/>
                <a:cs typeface="Arial"/>
              </a:rPr>
              <a:t> </a:t>
            </a:r>
            <a:r>
              <a:rPr sz="1200" dirty="0">
                <a:latin typeface="Arial"/>
                <a:cs typeface="Arial"/>
              </a:rPr>
              <a:t>‘I</a:t>
            </a:r>
            <a:r>
              <a:rPr sz="1200" spc="4" dirty="0">
                <a:latin typeface="Arial"/>
                <a:cs typeface="Arial"/>
              </a:rPr>
              <a:t>V</a:t>
            </a:r>
            <a:r>
              <a:rPr sz="1200" dirty="0">
                <a:latin typeface="Arial"/>
                <a:cs typeface="Arial"/>
              </a:rPr>
              <a:t>’.</a:t>
            </a:r>
            <a:endParaRPr sz="1200">
              <a:latin typeface="Arial"/>
              <a:cs typeface="Arial"/>
            </a:endParaRPr>
          </a:p>
          <a:p>
            <a:pPr marL="775716">
              <a:lnSpc>
                <a:spcPct val="95825"/>
              </a:lnSpc>
              <a:spcBef>
                <a:spcPts val="60"/>
              </a:spcBef>
            </a:pPr>
            <a:r>
              <a:rPr sz="1200" dirty="0">
                <a:latin typeface="Arial"/>
                <a:cs typeface="Arial"/>
              </a:rPr>
              <a:t>Pr</a:t>
            </a:r>
            <a:r>
              <a:rPr sz="1200" spc="-4" dirty="0">
                <a:latin typeface="Arial"/>
                <a:cs typeface="Arial"/>
              </a:rPr>
              <a:t>i</a:t>
            </a:r>
            <a:r>
              <a:rPr sz="1200" dirty="0">
                <a:latin typeface="Arial"/>
                <a:cs typeface="Arial"/>
              </a:rPr>
              <a:t>cing</a:t>
            </a:r>
            <a:r>
              <a:rPr sz="1200" spc="-14" dirty="0">
                <a:latin typeface="Arial"/>
                <a:cs typeface="Arial"/>
              </a:rPr>
              <a:t> </a:t>
            </a:r>
            <a:r>
              <a:rPr sz="1200" spc="4" dirty="0">
                <a:latin typeface="Arial"/>
                <a:cs typeface="Arial"/>
              </a:rPr>
              <a:t>p</a:t>
            </a:r>
            <a:r>
              <a:rPr sz="1200" dirty="0">
                <a:latin typeface="Arial"/>
                <a:cs typeface="Arial"/>
              </a:rPr>
              <a:t>roc</a:t>
            </a:r>
            <a:r>
              <a:rPr sz="1200" spc="4" dirty="0">
                <a:latin typeface="Arial"/>
                <a:cs typeface="Arial"/>
              </a:rPr>
              <a:t>edu</a:t>
            </a:r>
            <a:r>
              <a:rPr sz="1200" dirty="0">
                <a:latin typeface="Arial"/>
                <a:cs typeface="Arial"/>
              </a:rPr>
              <a:t>re</a:t>
            </a:r>
            <a:r>
              <a:rPr sz="1200" spc="-44" dirty="0">
                <a:latin typeface="Arial"/>
                <a:cs typeface="Arial"/>
              </a:rPr>
              <a:t> </a:t>
            </a:r>
            <a:r>
              <a:rPr sz="1200" spc="4" dirty="0">
                <a:latin typeface="Arial"/>
                <a:cs typeface="Arial"/>
              </a:rPr>
              <a:t>ha</a:t>
            </a:r>
            <a:r>
              <a:rPr sz="1200" spc="-9" dirty="0">
                <a:latin typeface="Arial"/>
                <a:cs typeface="Arial"/>
              </a:rPr>
              <a:t>v</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pe</a:t>
            </a:r>
            <a:r>
              <a:rPr sz="1200" dirty="0">
                <a:latin typeface="Arial"/>
                <a:cs typeface="Arial"/>
              </a:rPr>
              <a:t>cial</a:t>
            </a:r>
            <a:r>
              <a:rPr sz="1200" spc="-19" dirty="0">
                <a:latin typeface="Arial"/>
                <a:cs typeface="Arial"/>
              </a:rPr>
              <a:t> </a:t>
            </a:r>
            <a:r>
              <a:rPr sz="1200" dirty="0">
                <a:latin typeface="Arial"/>
                <a:cs typeface="Arial"/>
              </a:rPr>
              <a:t>c</a:t>
            </a:r>
            <a:r>
              <a:rPr sz="1200" spc="4" dirty="0">
                <a:latin typeface="Arial"/>
                <a:cs typeface="Arial"/>
              </a:rPr>
              <a:t>ond</a:t>
            </a:r>
            <a:r>
              <a:rPr sz="1200" dirty="0">
                <a:latin typeface="Arial"/>
                <a:cs typeface="Arial"/>
              </a:rPr>
              <a:t>ition</a:t>
            </a:r>
            <a:r>
              <a:rPr sz="1200" spc="-39" dirty="0">
                <a:latin typeface="Arial"/>
                <a:cs typeface="Arial"/>
              </a:rPr>
              <a:t> </a:t>
            </a:r>
            <a:r>
              <a:rPr sz="1200" dirty="0">
                <a:latin typeface="Arial"/>
                <a:cs typeface="Arial"/>
              </a:rPr>
              <a:t>t</a:t>
            </a:r>
            <a:r>
              <a:rPr sz="1200" spc="-9" dirty="0">
                <a:latin typeface="Arial"/>
                <a:cs typeface="Arial"/>
              </a:rPr>
              <a:t>y</a:t>
            </a:r>
            <a:r>
              <a:rPr sz="1200" spc="4" dirty="0">
                <a:latin typeface="Arial"/>
                <a:cs typeface="Arial"/>
              </a:rPr>
              <a:t>p</a:t>
            </a:r>
            <a:r>
              <a:rPr sz="1200" dirty="0">
                <a:latin typeface="Arial"/>
                <a:cs typeface="Arial"/>
              </a:rPr>
              <a:t>e</a:t>
            </a:r>
            <a:r>
              <a:rPr sz="1200" spc="-4" dirty="0">
                <a:latin typeface="Arial"/>
                <a:cs typeface="Arial"/>
              </a:rPr>
              <a:t> </a:t>
            </a:r>
            <a:r>
              <a:rPr sz="1200" dirty="0">
                <a:latin typeface="Arial"/>
                <a:cs typeface="Arial"/>
              </a:rPr>
              <a:t>‘IV</a:t>
            </a:r>
            <a:r>
              <a:rPr sz="1200" spc="4" dirty="0">
                <a:latin typeface="Arial"/>
                <a:cs typeface="Arial"/>
              </a:rPr>
              <a:t>01</a:t>
            </a:r>
            <a:r>
              <a:rPr sz="1200" dirty="0">
                <a:latin typeface="Arial"/>
                <a:cs typeface="Arial"/>
              </a:rPr>
              <a:t>‘.</a:t>
            </a:r>
            <a:endParaRPr sz="1200">
              <a:latin typeface="Arial"/>
              <a:cs typeface="Arial"/>
            </a:endParaRPr>
          </a:p>
        </p:txBody>
      </p:sp>
      <p:sp>
        <p:nvSpPr>
          <p:cNvPr id="6" name="Title 5"/>
          <p:cNvSpPr>
            <a:spLocks noGrp="1"/>
          </p:cNvSpPr>
          <p:nvPr>
            <p:ph type="title"/>
          </p:nvPr>
        </p:nvSpPr>
        <p:spPr/>
        <p:txBody>
          <a:bodyPr>
            <a:normAutofit fontScale="90000"/>
          </a:bodyPr>
          <a:lstStyle/>
          <a:p>
            <a:r>
              <a:rPr lang="en-US" sz="2400" dirty="0">
                <a:latin typeface="+mn-lt"/>
                <a:cs typeface="Arial"/>
              </a:rPr>
              <a:t>Billing Types</a:t>
            </a:r>
            <a:br>
              <a:rPr lang="en-US" sz="2800" b="1" dirty="0">
                <a:latin typeface="Arial"/>
                <a:cs typeface="Arial"/>
              </a:rPr>
            </a:b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bject 52"/>
          <p:cNvSpPr/>
          <p:nvPr/>
        </p:nvSpPr>
        <p:spPr>
          <a:xfrm>
            <a:off x="1676400" y="1143000"/>
            <a:ext cx="4038600" cy="2057400"/>
          </a:xfrm>
          <a:custGeom>
            <a:avLst/>
            <a:gdLst/>
            <a:ahLst/>
            <a:cxnLst/>
            <a:rect l="l" t="t" r="r" b="b"/>
            <a:pathLst>
              <a:path w="4038600" h="2057400">
                <a:moveTo>
                  <a:pt x="0" y="2057400"/>
                </a:moveTo>
                <a:lnTo>
                  <a:pt x="4038600" y="2057400"/>
                </a:lnTo>
                <a:lnTo>
                  <a:pt x="4038600" y="0"/>
                </a:lnTo>
                <a:lnTo>
                  <a:pt x="0" y="0"/>
                </a:lnTo>
                <a:lnTo>
                  <a:pt x="0" y="2057400"/>
                </a:lnTo>
                <a:close/>
              </a:path>
            </a:pathLst>
          </a:custGeom>
          <a:solidFill>
            <a:srgbClr val="FFCCFF"/>
          </a:solidFill>
        </p:spPr>
        <p:txBody>
          <a:bodyPr wrap="square" lIns="0" tIns="0" rIns="0" bIns="0" rtlCol="0">
            <a:noAutofit/>
          </a:bodyPr>
          <a:lstStyle/>
          <a:p>
            <a:endParaRPr/>
          </a:p>
        </p:txBody>
      </p:sp>
      <p:sp>
        <p:nvSpPr>
          <p:cNvPr id="53" name="object 53"/>
          <p:cNvSpPr/>
          <p:nvPr/>
        </p:nvSpPr>
        <p:spPr>
          <a:xfrm>
            <a:off x="1676400" y="1143000"/>
            <a:ext cx="4038600" cy="2057400"/>
          </a:xfrm>
          <a:custGeom>
            <a:avLst/>
            <a:gdLst/>
            <a:ahLst/>
            <a:cxnLst/>
            <a:rect l="l" t="t" r="r" b="b"/>
            <a:pathLst>
              <a:path w="4038600" h="2057400">
                <a:moveTo>
                  <a:pt x="0" y="2057400"/>
                </a:moveTo>
                <a:lnTo>
                  <a:pt x="4038600" y="2057400"/>
                </a:lnTo>
                <a:lnTo>
                  <a:pt x="4038600" y="0"/>
                </a:lnTo>
                <a:lnTo>
                  <a:pt x="0" y="0"/>
                </a:lnTo>
                <a:lnTo>
                  <a:pt x="0" y="2057400"/>
                </a:lnTo>
                <a:close/>
              </a:path>
            </a:pathLst>
          </a:custGeom>
          <a:ln w="28575">
            <a:solidFill>
              <a:srgbClr val="3333CC"/>
            </a:solidFill>
          </a:ln>
        </p:spPr>
        <p:txBody>
          <a:bodyPr wrap="square" lIns="0" tIns="0" rIns="0" bIns="0" rtlCol="0">
            <a:noAutofit/>
          </a:bodyPr>
          <a:lstStyle/>
          <a:p>
            <a:endParaRPr/>
          </a:p>
        </p:txBody>
      </p:sp>
      <p:sp>
        <p:nvSpPr>
          <p:cNvPr id="54" name="object 54"/>
          <p:cNvSpPr/>
          <p:nvPr/>
        </p:nvSpPr>
        <p:spPr>
          <a:xfrm>
            <a:off x="3048000" y="2895600"/>
            <a:ext cx="4038600" cy="1752600"/>
          </a:xfrm>
          <a:custGeom>
            <a:avLst/>
            <a:gdLst/>
            <a:ahLst/>
            <a:cxnLst/>
            <a:rect l="l" t="t" r="r" b="b"/>
            <a:pathLst>
              <a:path w="4038600" h="1752600">
                <a:moveTo>
                  <a:pt x="0" y="1752600"/>
                </a:moveTo>
                <a:lnTo>
                  <a:pt x="4038600" y="1752600"/>
                </a:lnTo>
                <a:lnTo>
                  <a:pt x="4038600" y="0"/>
                </a:lnTo>
                <a:lnTo>
                  <a:pt x="0" y="0"/>
                </a:lnTo>
                <a:lnTo>
                  <a:pt x="0" y="1752600"/>
                </a:lnTo>
                <a:close/>
              </a:path>
            </a:pathLst>
          </a:custGeom>
          <a:solidFill>
            <a:srgbClr val="F1FFEB"/>
          </a:solidFill>
        </p:spPr>
        <p:txBody>
          <a:bodyPr wrap="square" lIns="0" tIns="0" rIns="0" bIns="0" rtlCol="0">
            <a:noAutofit/>
          </a:bodyPr>
          <a:lstStyle/>
          <a:p>
            <a:endParaRPr/>
          </a:p>
        </p:txBody>
      </p:sp>
      <p:sp>
        <p:nvSpPr>
          <p:cNvPr id="55" name="object 55"/>
          <p:cNvSpPr/>
          <p:nvPr/>
        </p:nvSpPr>
        <p:spPr>
          <a:xfrm>
            <a:off x="3048000" y="2895600"/>
            <a:ext cx="4038600" cy="1752600"/>
          </a:xfrm>
          <a:custGeom>
            <a:avLst/>
            <a:gdLst/>
            <a:ahLst/>
            <a:cxnLst/>
            <a:rect l="l" t="t" r="r" b="b"/>
            <a:pathLst>
              <a:path w="4038600" h="1752600">
                <a:moveTo>
                  <a:pt x="0" y="1752600"/>
                </a:moveTo>
                <a:lnTo>
                  <a:pt x="4038600" y="1752600"/>
                </a:lnTo>
                <a:lnTo>
                  <a:pt x="4038600" y="0"/>
                </a:lnTo>
                <a:lnTo>
                  <a:pt x="0" y="0"/>
                </a:lnTo>
                <a:lnTo>
                  <a:pt x="0" y="1752600"/>
                </a:lnTo>
                <a:close/>
              </a:path>
            </a:pathLst>
          </a:custGeom>
          <a:ln w="28575">
            <a:solidFill>
              <a:srgbClr val="3333CC"/>
            </a:solidFill>
          </a:ln>
        </p:spPr>
        <p:txBody>
          <a:bodyPr wrap="square" lIns="0" tIns="0" rIns="0" bIns="0" rtlCol="0">
            <a:noAutofit/>
          </a:bodyPr>
          <a:lstStyle/>
          <a:p>
            <a:endParaRPr/>
          </a:p>
        </p:txBody>
      </p:sp>
      <p:sp>
        <p:nvSpPr>
          <p:cNvPr id="56" name="object 56"/>
          <p:cNvSpPr/>
          <p:nvPr/>
        </p:nvSpPr>
        <p:spPr>
          <a:xfrm>
            <a:off x="4876800" y="4419600"/>
            <a:ext cx="4038600" cy="1905000"/>
          </a:xfrm>
          <a:custGeom>
            <a:avLst/>
            <a:gdLst/>
            <a:ahLst/>
            <a:cxnLst/>
            <a:rect l="l" t="t" r="r" b="b"/>
            <a:pathLst>
              <a:path w="4038600" h="1905000">
                <a:moveTo>
                  <a:pt x="0" y="1905000"/>
                </a:moveTo>
                <a:lnTo>
                  <a:pt x="4038600" y="1905000"/>
                </a:lnTo>
                <a:lnTo>
                  <a:pt x="4038600" y="0"/>
                </a:lnTo>
                <a:lnTo>
                  <a:pt x="0" y="0"/>
                </a:lnTo>
                <a:lnTo>
                  <a:pt x="0" y="1905000"/>
                </a:lnTo>
                <a:close/>
              </a:path>
            </a:pathLst>
          </a:custGeom>
          <a:solidFill>
            <a:srgbClr val="FFCCFF"/>
          </a:solidFill>
        </p:spPr>
        <p:txBody>
          <a:bodyPr wrap="square" lIns="0" tIns="0" rIns="0" bIns="0" rtlCol="0">
            <a:noAutofit/>
          </a:bodyPr>
          <a:lstStyle/>
          <a:p>
            <a:endParaRPr/>
          </a:p>
        </p:txBody>
      </p:sp>
      <p:sp>
        <p:nvSpPr>
          <p:cNvPr id="57" name="object 57"/>
          <p:cNvSpPr/>
          <p:nvPr/>
        </p:nvSpPr>
        <p:spPr>
          <a:xfrm>
            <a:off x="4876800" y="4419600"/>
            <a:ext cx="4038600" cy="1905000"/>
          </a:xfrm>
          <a:custGeom>
            <a:avLst/>
            <a:gdLst/>
            <a:ahLst/>
            <a:cxnLst/>
            <a:rect l="l" t="t" r="r" b="b"/>
            <a:pathLst>
              <a:path w="4038600" h="1905000">
                <a:moveTo>
                  <a:pt x="0" y="1905000"/>
                </a:moveTo>
                <a:lnTo>
                  <a:pt x="4038600" y="1905000"/>
                </a:lnTo>
                <a:lnTo>
                  <a:pt x="4038600" y="0"/>
                </a:lnTo>
                <a:lnTo>
                  <a:pt x="0" y="0"/>
                </a:lnTo>
                <a:lnTo>
                  <a:pt x="0" y="1905000"/>
                </a:lnTo>
                <a:close/>
              </a:path>
            </a:pathLst>
          </a:custGeom>
          <a:ln w="28575">
            <a:solidFill>
              <a:srgbClr val="3333CC"/>
            </a:solidFill>
          </a:ln>
        </p:spPr>
        <p:txBody>
          <a:bodyPr wrap="square" lIns="0" tIns="0" rIns="0" bIns="0" rtlCol="0">
            <a:noAutofit/>
          </a:bodyPr>
          <a:lstStyle/>
          <a:p>
            <a:endParaRPr/>
          </a:p>
        </p:txBody>
      </p:sp>
      <p:sp>
        <p:nvSpPr>
          <p:cNvPr id="20" name="object 20"/>
          <p:cNvSpPr/>
          <p:nvPr/>
        </p:nvSpPr>
        <p:spPr>
          <a:xfrm>
            <a:off x="7613151" y="1895669"/>
            <a:ext cx="2213689" cy="2142266"/>
          </a:xfrm>
          <a:custGeom>
            <a:avLst/>
            <a:gdLst/>
            <a:ahLst/>
            <a:cxnLst/>
            <a:rect l="l" t="t" r="r" b="b"/>
            <a:pathLst>
              <a:path w="2213689" h="2142266">
                <a:moveTo>
                  <a:pt x="542174" y="13014"/>
                </a:moveTo>
                <a:lnTo>
                  <a:pt x="375695" y="0"/>
                </a:lnTo>
                <a:lnTo>
                  <a:pt x="188980" y="781589"/>
                </a:lnTo>
                <a:lnTo>
                  <a:pt x="199098" y="788837"/>
                </a:lnTo>
                <a:lnTo>
                  <a:pt x="232849" y="800410"/>
                </a:lnTo>
                <a:lnTo>
                  <a:pt x="280085" y="809099"/>
                </a:lnTo>
                <a:lnTo>
                  <a:pt x="305963" y="810541"/>
                </a:lnTo>
                <a:lnTo>
                  <a:pt x="332948" y="813444"/>
                </a:lnTo>
                <a:lnTo>
                  <a:pt x="359949" y="814886"/>
                </a:lnTo>
                <a:lnTo>
                  <a:pt x="385828" y="814886"/>
                </a:lnTo>
                <a:lnTo>
                  <a:pt x="411691" y="816347"/>
                </a:lnTo>
                <a:lnTo>
                  <a:pt x="455559" y="816347"/>
                </a:lnTo>
                <a:lnTo>
                  <a:pt x="473565" y="814886"/>
                </a:lnTo>
                <a:lnTo>
                  <a:pt x="498306" y="814886"/>
                </a:lnTo>
                <a:lnTo>
                  <a:pt x="498306" y="1197041"/>
                </a:lnTo>
                <a:lnTo>
                  <a:pt x="448809" y="1320075"/>
                </a:lnTo>
                <a:lnTo>
                  <a:pt x="431941" y="1321517"/>
                </a:lnTo>
                <a:lnTo>
                  <a:pt x="413936" y="1322978"/>
                </a:lnTo>
                <a:lnTo>
                  <a:pt x="394823" y="1322978"/>
                </a:lnTo>
                <a:lnTo>
                  <a:pt x="375695" y="1324420"/>
                </a:lnTo>
                <a:lnTo>
                  <a:pt x="338576" y="1324420"/>
                </a:lnTo>
                <a:lnTo>
                  <a:pt x="319464" y="1322978"/>
                </a:lnTo>
                <a:lnTo>
                  <a:pt x="301458" y="1321517"/>
                </a:lnTo>
                <a:lnTo>
                  <a:pt x="301458" y="1318633"/>
                </a:lnTo>
                <a:lnTo>
                  <a:pt x="436447" y="943726"/>
                </a:lnTo>
                <a:lnTo>
                  <a:pt x="411691" y="898837"/>
                </a:lnTo>
                <a:lnTo>
                  <a:pt x="228343" y="1327303"/>
                </a:lnTo>
                <a:lnTo>
                  <a:pt x="60741" y="1325861"/>
                </a:lnTo>
                <a:lnTo>
                  <a:pt x="58492" y="1820920"/>
                </a:lnTo>
                <a:lnTo>
                  <a:pt x="0" y="1941070"/>
                </a:lnTo>
                <a:lnTo>
                  <a:pt x="58492" y="1941070"/>
                </a:lnTo>
                <a:lnTo>
                  <a:pt x="60741" y="2088709"/>
                </a:lnTo>
                <a:lnTo>
                  <a:pt x="278962" y="2090156"/>
                </a:lnTo>
                <a:lnTo>
                  <a:pt x="599543" y="2142266"/>
                </a:lnTo>
                <a:lnTo>
                  <a:pt x="598421" y="2126344"/>
                </a:lnTo>
                <a:lnTo>
                  <a:pt x="592793" y="2111868"/>
                </a:lnTo>
                <a:lnTo>
                  <a:pt x="587165" y="2097394"/>
                </a:lnTo>
                <a:lnTo>
                  <a:pt x="586043" y="2082918"/>
                </a:lnTo>
                <a:lnTo>
                  <a:pt x="591671" y="2082918"/>
                </a:lnTo>
                <a:lnTo>
                  <a:pt x="607416" y="2084366"/>
                </a:lnTo>
                <a:lnTo>
                  <a:pt x="742405" y="2084366"/>
                </a:lnTo>
                <a:lnTo>
                  <a:pt x="791886" y="2085814"/>
                </a:lnTo>
                <a:lnTo>
                  <a:pt x="1329565" y="2085814"/>
                </a:lnTo>
                <a:lnTo>
                  <a:pt x="1406063" y="2084366"/>
                </a:lnTo>
                <a:lnTo>
                  <a:pt x="1961764" y="2084366"/>
                </a:lnTo>
                <a:lnTo>
                  <a:pt x="2015703" y="2082918"/>
                </a:lnTo>
                <a:lnTo>
                  <a:pt x="2213689" y="2082918"/>
                </a:lnTo>
                <a:lnTo>
                  <a:pt x="2211506" y="992939"/>
                </a:lnTo>
                <a:lnTo>
                  <a:pt x="2199035" y="979905"/>
                </a:lnTo>
                <a:lnTo>
                  <a:pt x="2187810" y="969774"/>
                </a:lnTo>
                <a:lnTo>
                  <a:pt x="2175495" y="962546"/>
                </a:lnTo>
                <a:lnTo>
                  <a:pt x="2164270" y="956740"/>
                </a:lnTo>
                <a:lnTo>
                  <a:pt x="2152890" y="953857"/>
                </a:lnTo>
                <a:lnTo>
                  <a:pt x="2141666" y="952395"/>
                </a:lnTo>
                <a:lnTo>
                  <a:pt x="2129350" y="950954"/>
                </a:lnTo>
                <a:lnTo>
                  <a:pt x="2117034" y="948070"/>
                </a:lnTo>
                <a:lnTo>
                  <a:pt x="2107993" y="948070"/>
                </a:lnTo>
                <a:lnTo>
                  <a:pt x="2098951" y="949512"/>
                </a:lnTo>
                <a:lnTo>
                  <a:pt x="2089909" y="950954"/>
                </a:lnTo>
                <a:lnTo>
                  <a:pt x="2081023" y="953857"/>
                </a:lnTo>
                <a:lnTo>
                  <a:pt x="2071981" y="956740"/>
                </a:lnTo>
                <a:lnTo>
                  <a:pt x="2064030" y="959643"/>
                </a:lnTo>
                <a:lnTo>
                  <a:pt x="2056236" y="962546"/>
                </a:lnTo>
                <a:lnTo>
                  <a:pt x="2048285" y="965429"/>
                </a:lnTo>
                <a:lnTo>
                  <a:pt x="2042673" y="939381"/>
                </a:lnTo>
                <a:lnTo>
                  <a:pt x="2035969" y="913313"/>
                </a:lnTo>
                <a:lnTo>
                  <a:pt x="2028175" y="887264"/>
                </a:lnTo>
                <a:lnTo>
                  <a:pt x="2019133" y="861216"/>
                </a:lnTo>
                <a:lnTo>
                  <a:pt x="2009000" y="836609"/>
                </a:lnTo>
                <a:lnTo>
                  <a:pt x="1996528" y="812002"/>
                </a:lnTo>
                <a:lnTo>
                  <a:pt x="1984212" y="787396"/>
                </a:lnTo>
                <a:lnTo>
                  <a:pt x="1969558" y="764231"/>
                </a:lnTo>
                <a:lnTo>
                  <a:pt x="1952722" y="741065"/>
                </a:lnTo>
                <a:lnTo>
                  <a:pt x="1933547" y="722245"/>
                </a:lnTo>
                <a:lnTo>
                  <a:pt x="1912189" y="707769"/>
                </a:lnTo>
                <a:lnTo>
                  <a:pt x="1889740" y="696197"/>
                </a:lnTo>
                <a:lnTo>
                  <a:pt x="1867292" y="687507"/>
                </a:lnTo>
                <a:lnTo>
                  <a:pt x="1842504" y="681721"/>
                </a:lnTo>
                <a:lnTo>
                  <a:pt x="1817717" y="675935"/>
                </a:lnTo>
                <a:lnTo>
                  <a:pt x="1792930" y="671590"/>
                </a:lnTo>
                <a:lnTo>
                  <a:pt x="1784044" y="654211"/>
                </a:lnTo>
                <a:lnTo>
                  <a:pt x="1772820" y="629604"/>
                </a:lnTo>
                <a:lnTo>
                  <a:pt x="1758166" y="597770"/>
                </a:lnTo>
                <a:lnTo>
                  <a:pt x="1742420" y="558687"/>
                </a:lnTo>
                <a:lnTo>
                  <a:pt x="1724337" y="516701"/>
                </a:lnTo>
                <a:lnTo>
                  <a:pt x="1705317" y="470371"/>
                </a:lnTo>
                <a:lnTo>
                  <a:pt x="1686142" y="424061"/>
                </a:lnTo>
                <a:lnTo>
                  <a:pt x="1666967" y="374847"/>
                </a:lnTo>
                <a:lnTo>
                  <a:pt x="1646701" y="327075"/>
                </a:lnTo>
                <a:lnTo>
                  <a:pt x="1628773" y="280765"/>
                </a:lnTo>
                <a:lnTo>
                  <a:pt x="1611937" y="238779"/>
                </a:lnTo>
                <a:lnTo>
                  <a:pt x="1596191" y="199697"/>
                </a:lnTo>
                <a:lnTo>
                  <a:pt x="1582629" y="166400"/>
                </a:lnTo>
                <a:lnTo>
                  <a:pt x="1572496" y="140352"/>
                </a:lnTo>
                <a:lnTo>
                  <a:pt x="1564670" y="122933"/>
                </a:lnTo>
                <a:lnTo>
                  <a:pt x="1561287" y="114324"/>
                </a:lnTo>
                <a:lnTo>
                  <a:pt x="1547786" y="102711"/>
                </a:lnTo>
                <a:lnTo>
                  <a:pt x="1533163" y="92500"/>
                </a:lnTo>
                <a:lnTo>
                  <a:pt x="1517418" y="86694"/>
                </a:lnTo>
                <a:lnTo>
                  <a:pt x="1502795" y="81088"/>
                </a:lnTo>
                <a:lnTo>
                  <a:pt x="1487050" y="78084"/>
                </a:lnTo>
                <a:lnTo>
                  <a:pt x="1455559" y="78084"/>
                </a:lnTo>
                <a:lnTo>
                  <a:pt x="1439798" y="81088"/>
                </a:lnTo>
                <a:lnTo>
                  <a:pt x="1422930" y="83891"/>
                </a:lnTo>
                <a:lnTo>
                  <a:pt x="1407185" y="88296"/>
                </a:lnTo>
                <a:lnTo>
                  <a:pt x="1391440" y="94102"/>
                </a:lnTo>
                <a:lnTo>
                  <a:pt x="1375694" y="99908"/>
                </a:lnTo>
                <a:lnTo>
                  <a:pt x="1359934" y="105514"/>
                </a:lnTo>
                <a:lnTo>
                  <a:pt x="1345311" y="111321"/>
                </a:lnTo>
                <a:lnTo>
                  <a:pt x="1330688" y="118729"/>
                </a:lnTo>
                <a:lnTo>
                  <a:pt x="1316065" y="124335"/>
                </a:lnTo>
                <a:lnTo>
                  <a:pt x="1294692" y="141794"/>
                </a:lnTo>
                <a:lnTo>
                  <a:pt x="1274457" y="162056"/>
                </a:lnTo>
                <a:lnTo>
                  <a:pt x="1255328" y="182318"/>
                </a:lnTo>
                <a:lnTo>
                  <a:pt x="1237338" y="204041"/>
                </a:lnTo>
                <a:lnTo>
                  <a:pt x="1220455" y="227207"/>
                </a:lnTo>
                <a:lnTo>
                  <a:pt x="1205832" y="250352"/>
                </a:lnTo>
                <a:lnTo>
                  <a:pt x="1192332" y="276420"/>
                </a:lnTo>
                <a:lnTo>
                  <a:pt x="1179969" y="302468"/>
                </a:lnTo>
                <a:lnTo>
                  <a:pt x="1168714" y="329978"/>
                </a:lnTo>
                <a:lnTo>
                  <a:pt x="1160841" y="357468"/>
                </a:lnTo>
                <a:lnTo>
                  <a:pt x="1154091" y="387881"/>
                </a:lnTo>
                <a:lnTo>
                  <a:pt x="1148463" y="416813"/>
                </a:lnTo>
                <a:lnTo>
                  <a:pt x="1146218" y="448667"/>
                </a:lnTo>
                <a:lnTo>
                  <a:pt x="1145096" y="480522"/>
                </a:lnTo>
                <a:lnTo>
                  <a:pt x="1146218" y="512357"/>
                </a:lnTo>
                <a:lnTo>
                  <a:pt x="1149601" y="545653"/>
                </a:lnTo>
                <a:lnTo>
                  <a:pt x="1148463" y="561570"/>
                </a:lnTo>
                <a:lnTo>
                  <a:pt x="1151846" y="577487"/>
                </a:lnTo>
                <a:lnTo>
                  <a:pt x="1156336" y="594866"/>
                </a:lnTo>
                <a:lnTo>
                  <a:pt x="1160841" y="610784"/>
                </a:lnTo>
                <a:lnTo>
                  <a:pt x="1163086" y="625259"/>
                </a:lnTo>
                <a:lnTo>
                  <a:pt x="1163086" y="639735"/>
                </a:lnTo>
                <a:lnTo>
                  <a:pt x="1157474" y="652769"/>
                </a:lnTo>
                <a:lnTo>
                  <a:pt x="1146218" y="662900"/>
                </a:lnTo>
                <a:lnTo>
                  <a:pt x="1138345" y="684604"/>
                </a:lnTo>
                <a:lnTo>
                  <a:pt x="1138345" y="706328"/>
                </a:lnTo>
                <a:lnTo>
                  <a:pt x="1143973" y="730934"/>
                </a:lnTo>
                <a:lnTo>
                  <a:pt x="1155213" y="755541"/>
                </a:lnTo>
                <a:lnTo>
                  <a:pt x="1157474" y="759886"/>
                </a:lnTo>
                <a:lnTo>
                  <a:pt x="1159718" y="765672"/>
                </a:lnTo>
                <a:lnTo>
                  <a:pt x="1163086" y="771458"/>
                </a:lnTo>
                <a:lnTo>
                  <a:pt x="1167591" y="775803"/>
                </a:lnTo>
                <a:lnTo>
                  <a:pt x="1172096" y="781589"/>
                </a:lnTo>
                <a:lnTo>
                  <a:pt x="1177709" y="787396"/>
                </a:lnTo>
                <a:lnTo>
                  <a:pt x="1184459" y="790279"/>
                </a:lnTo>
                <a:lnTo>
                  <a:pt x="1192332" y="793182"/>
                </a:lnTo>
                <a:lnTo>
                  <a:pt x="1200204" y="807658"/>
                </a:lnTo>
                <a:lnTo>
                  <a:pt x="1206954" y="823575"/>
                </a:lnTo>
                <a:lnTo>
                  <a:pt x="1213705" y="839492"/>
                </a:lnTo>
                <a:lnTo>
                  <a:pt x="1220455" y="856871"/>
                </a:lnTo>
                <a:lnTo>
                  <a:pt x="1228328" y="872789"/>
                </a:lnTo>
                <a:lnTo>
                  <a:pt x="1237338" y="887264"/>
                </a:lnTo>
                <a:lnTo>
                  <a:pt x="1247456" y="901740"/>
                </a:lnTo>
                <a:lnTo>
                  <a:pt x="1260956" y="913313"/>
                </a:lnTo>
                <a:lnTo>
                  <a:pt x="1232833" y="942264"/>
                </a:lnTo>
                <a:lnTo>
                  <a:pt x="1206954" y="974119"/>
                </a:lnTo>
                <a:lnTo>
                  <a:pt x="1183336" y="1007415"/>
                </a:lnTo>
                <a:lnTo>
                  <a:pt x="1160841" y="1040711"/>
                </a:lnTo>
                <a:lnTo>
                  <a:pt x="1140590" y="1076891"/>
                </a:lnTo>
                <a:lnTo>
                  <a:pt x="1120355" y="1113070"/>
                </a:lnTo>
                <a:lnTo>
                  <a:pt x="1102349" y="1149269"/>
                </a:lnTo>
                <a:lnTo>
                  <a:pt x="1083221" y="1186910"/>
                </a:lnTo>
                <a:lnTo>
                  <a:pt x="1066353" y="1172434"/>
                </a:lnTo>
                <a:lnTo>
                  <a:pt x="1050608" y="1155056"/>
                </a:lnTo>
                <a:lnTo>
                  <a:pt x="1034863" y="1137697"/>
                </a:lnTo>
                <a:lnTo>
                  <a:pt x="1020240" y="1118876"/>
                </a:lnTo>
                <a:lnTo>
                  <a:pt x="1003356" y="1101497"/>
                </a:lnTo>
                <a:lnTo>
                  <a:pt x="987611" y="1085580"/>
                </a:lnTo>
                <a:lnTo>
                  <a:pt x="969621" y="1072546"/>
                </a:lnTo>
                <a:lnTo>
                  <a:pt x="950493" y="1063856"/>
                </a:lnTo>
                <a:lnTo>
                  <a:pt x="939253" y="1059512"/>
                </a:lnTo>
                <a:lnTo>
                  <a:pt x="926875" y="1058070"/>
                </a:lnTo>
                <a:lnTo>
                  <a:pt x="904379" y="1058070"/>
                </a:lnTo>
                <a:lnTo>
                  <a:pt x="892001" y="1059512"/>
                </a:lnTo>
                <a:lnTo>
                  <a:pt x="880761" y="1062415"/>
                </a:lnTo>
                <a:lnTo>
                  <a:pt x="870628" y="1063856"/>
                </a:lnTo>
                <a:lnTo>
                  <a:pt x="860510" y="1066760"/>
                </a:lnTo>
                <a:lnTo>
                  <a:pt x="856005" y="1052284"/>
                </a:lnTo>
                <a:lnTo>
                  <a:pt x="850377" y="1037808"/>
                </a:lnTo>
                <a:lnTo>
                  <a:pt x="844765" y="1024774"/>
                </a:lnTo>
                <a:lnTo>
                  <a:pt x="840260" y="1010298"/>
                </a:lnTo>
                <a:lnTo>
                  <a:pt x="833510" y="995822"/>
                </a:lnTo>
                <a:lnTo>
                  <a:pt x="827882" y="982808"/>
                </a:lnTo>
                <a:lnTo>
                  <a:pt x="822270" y="969774"/>
                </a:lnTo>
                <a:lnTo>
                  <a:pt x="815519" y="956740"/>
                </a:lnTo>
                <a:lnTo>
                  <a:pt x="656912" y="1055187"/>
                </a:lnTo>
                <a:lnTo>
                  <a:pt x="659157" y="814886"/>
                </a:lnTo>
                <a:lnTo>
                  <a:pt x="943742" y="797527"/>
                </a:lnTo>
                <a:lnTo>
                  <a:pt x="777263" y="5806"/>
                </a:lnTo>
                <a:lnTo>
                  <a:pt x="771651" y="5806"/>
                </a:lnTo>
                <a:lnTo>
                  <a:pt x="762640" y="4204"/>
                </a:lnTo>
                <a:lnTo>
                  <a:pt x="749155" y="4204"/>
                </a:lnTo>
                <a:lnTo>
                  <a:pt x="733394" y="5806"/>
                </a:lnTo>
                <a:lnTo>
                  <a:pt x="695153" y="5806"/>
                </a:lnTo>
                <a:lnTo>
                  <a:pt x="674903" y="7207"/>
                </a:lnTo>
                <a:lnTo>
                  <a:pt x="653530" y="7207"/>
                </a:lnTo>
                <a:lnTo>
                  <a:pt x="632156" y="8609"/>
                </a:lnTo>
                <a:lnTo>
                  <a:pt x="611921" y="10010"/>
                </a:lnTo>
                <a:lnTo>
                  <a:pt x="592793" y="10010"/>
                </a:lnTo>
                <a:lnTo>
                  <a:pt x="577048" y="11612"/>
                </a:lnTo>
                <a:lnTo>
                  <a:pt x="562425" y="11612"/>
                </a:lnTo>
                <a:lnTo>
                  <a:pt x="551169" y="13014"/>
                </a:lnTo>
                <a:lnTo>
                  <a:pt x="542174" y="13014"/>
                </a:lnTo>
                <a:close/>
              </a:path>
            </a:pathLst>
          </a:custGeom>
          <a:solidFill>
            <a:srgbClr val="000000"/>
          </a:solidFill>
        </p:spPr>
        <p:txBody>
          <a:bodyPr wrap="square" lIns="0" tIns="0" rIns="0" bIns="0" rtlCol="0">
            <a:noAutofit/>
          </a:bodyPr>
          <a:lstStyle/>
          <a:p>
            <a:endParaRPr/>
          </a:p>
        </p:txBody>
      </p:sp>
      <p:sp>
        <p:nvSpPr>
          <p:cNvPr id="21" name="object 21"/>
          <p:cNvSpPr/>
          <p:nvPr/>
        </p:nvSpPr>
        <p:spPr>
          <a:xfrm>
            <a:off x="8804360" y="2015800"/>
            <a:ext cx="392510" cy="345916"/>
          </a:xfrm>
          <a:custGeom>
            <a:avLst/>
            <a:gdLst/>
            <a:ahLst/>
            <a:cxnLst/>
            <a:rect l="l" t="t" r="r" b="b"/>
            <a:pathLst>
              <a:path w="392510" h="345916">
                <a:moveTo>
                  <a:pt x="238471" y="125876"/>
                </a:moveTo>
                <a:lnTo>
                  <a:pt x="236226" y="115745"/>
                </a:lnTo>
                <a:lnTo>
                  <a:pt x="235104" y="104173"/>
                </a:lnTo>
                <a:lnTo>
                  <a:pt x="236226" y="94042"/>
                </a:lnTo>
                <a:lnTo>
                  <a:pt x="240716" y="85352"/>
                </a:lnTo>
                <a:lnTo>
                  <a:pt x="246344" y="78124"/>
                </a:lnTo>
                <a:lnTo>
                  <a:pt x="253094" y="75221"/>
                </a:lnTo>
                <a:lnTo>
                  <a:pt x="260967" y="72318"/>
                </a:lnTo>
                <a:lnTo>
                  <a:pt x="275590" y="72318"/>
                </a:lnTo>
                <a:lnTo>
                  <a:pt x="283462" y="73780"/>
                </a:lnTo>
                <a:lnTo>
                  <a:pt x="290212" y="75221"/>
                </a:lnTo>
                <a:lnTo>
                  <a:pt x="301468" y="89697"/>
                </a:lnTo>
                <a:lnTo>
                  <a:pt x="308218" y="108518"/>
                </a:lnTo>
                <a:lnTo>
                  <a:pt x="311586" y="128780"/>
                </a:lnTo>
                <a:lnTo>
                  <a:pt x="311586" y="150483"/>
                </a:lnTo>
                <a:lnTo>
                  <a:pt x="322841" y="151945"/>
                </a:lnTo>
                <a:lnTo>
                  <a:pt x="332959" y="156289"/>
                </a:lnTo>
                <a:lnTo>
                  <a:pt x="341954" y="162076"/>
                </a:lnTo>
                <a:lnTo>
                  <a:pt x="350949" y="169304"/>
                </a:lnTo>
                <a:lnTo>
                  <a:pt x="358837" y="177993"/>
                </a:lnTo>
                <a:lnTo>
                  <a:pt x="366710" y="186683"/>
                </a:lnTo>
                <a:lnTo>
                  <a:pt x="375674" y="195372"/>
                </a:lnTo>
                <a:lnTo>
                  <a:pt x="383624" y="204041"/>
                </a:lnTo>
                <a:lnTo>
                  <a:pt x="392510" y="189566"/>
                </a:lnTo>
                <a:lnTo>
                  <a:pt x="392510" y="164959"/>
                </a:lnTo>
                <a:lnTo>
                  <a:pt x="384716" y="134566"/>
                </a:lnTo>
                <a:lnTo>
                  <a:pt x="372322" y="102731"/>
                </a:lnTo>
                <a:lnTo>
                  <a:pt x="358837" y="70877"/>
                </a:lnTo>
                <a:lnTo>
                  <a:pt x="345337" y="44828"/>
                </a:lnTo>
                <a:lnTo>
                  <a:pt x="335203" y="26008"/>
                </a:lnTo>
                <a:lnTo>
                  <a:pt x="331836" y="18820"/>
                </a:lnTo>
                <a:lnTo>
                  <a:pt x="322841" y="14415"/>
                </a:lnTo>
                <a:lnTo>
                  <a:pt x="314953" y="11612"/>
                </a:lnTo>
                <a:lnTo>
                  <a:pt x="305958" y="7207"/>
                </a:lnTo>
                <a:lnTo>
                  <a:pt x="298085" y="4204"/>
                </a:lnTo>
                <a:lnTo>
                  <a:pt x="289090" y="2803"/>
                </a:lnTo>
                <a:lnTo>
                  <a:pt x="281217" y="1401"/>
                </a:lnTo>
                <a:lnTo>
                  <a:pt x="272222" y="0"/>
                </a:lnTo>
                <a:lnTo>
                  <a:pt x="264350" y="0"/>
                </a:lnTo>
                <a:lnTo>
                  <a:pt x="246344" y="2803"/>
                </a:lnTo>
                <a:lnTo>
                  <a:pt x="227215" y="7207"/>
                </a:lnTo>
                <a:lnTo>
                  <a:pt x="209225" y="11612"/>
                </a:lnTo>
                <a:lnTo>
                  <a:pt x="190097" y="18820"/>
                </a:lnTo>
                <a:lnTo>
                  <a:pt x="170984" y="27449"/>
                </a:lnTo>
                <a:lnTo>
                  <a:pt x="152979" y="37580"/>
                </a:lnTo>
                <a:lnTo>
                  <a:pt x="134988" y="49173"/>
                </a:lnTo>
                <a:lnTo>
                  <a:pt x="118105" y="60746"/>
                </a:lnTo>
                <a:lnTo>
                  <a:pt x="101237" y="75221"/>
                </a:lnTo>
                <a:lnTo>
                  <a:pt x="84370" y="91139"/>
                </a:lnTo>
                <a:lnTo>
                  <a:pt x="69747" y="107076"/>
                </a:lnTo>
                <a:lnTo>
                  <a:pt x="55124" y="125876"/>
                </a:lnTo>
                <a:lnTo>
                  <a:pt x="42746" y="144697"/>
                </a:lnTo>
                <a:lnTo>
                  <a:pt x="30368" y="164959"/>
                </a:lnTo>
                <a:lnTo>
                  <a:pt x="20250" y="188124"/>
                </a:lnTo>
                <a:lnTo>
                  <a:pt x="11255" y="211289"/>
                </a:lnTo>
                <a:lnTo>
                  <a:pt x="5627" y="227207"/>
                </a:lnTo>
                <a:lnTo>
                  <a:pt x="1122" y="243124"/>
                </a:lnTo>
                <a:lnTo>
                  <a:pt x="0" y="259061"/>
                </a:lnTo>
                <a:lnTo>
                  <a:pt x="0" y="274979"/>
                </a:lnTo>
                <a:lnTo>
                  <a:pt x="3382" y="290896"/>
                </a:lnTo>
                <a:lnTo>
                  <a:pt x="10133" y="306833"/>
                </a:lnTo>
                <a:lnTo>
                  <a:pt x="19128" y="321309"/>
                </a:lnTo>
                <a:lnTo>
                  <a:pt x="31506" y="337226"/>
                </a:lnTo>
                <a:lnTo>
                  <a:pt x="43868" y="344454"/>
                </a:lnTo>
                <a:lnTo>
                  <a:pt x="48374" y="345916"/>
                </a:lnTo>
                <a:lnTo>
                  <a:pt x="59613" y="345916"/>
                </a:lnTo>
                <a:lnTo>
                  <a:pt x="64119" y="344454"/>
                </a:lnTo>
                <a:lnTo>
                  <a:pt x="68624" y="341571"/>
                </a:lnTo>
                <a:lnTo>
                  <a:pt x="78742" y="335785"/>
                </a:lnTo>
                <a:lnTo>
                  <a:pt x="86614" y="327095"/>
                </a:lnTo>
                <a:lnTo>
                  <a:pt x="94487" y="318406"/>
                </a:lnTo>
                <a:lnTo>
                  <a:pt x="100115" y="306833"/>
                </a:lnTo>
                <a:lnTo>
                  <a:pt x="104620" y="295241"/>
                </a:lnTo>
                <a:lnTo>
                  <a:pt x="109110" y="282226"/>
                </a:lnTo>
                <a:lnTo>
                  <a:pt x="111370" y="269192"/>
                </a:lnTo>
                <a:lnTo>
                  <a:pt x="113615" y="256158"/>
                </a:lnTo>
                <a:lnTo>
                  <a:pt x="111370" y="248930"/>
                </a:lnTo>
                <a:lnTo>
                  <a:pt x="106865" y="243124"/>
                </a:lnTo>
                <a:lnTo>
                  <a:pt x="101237" y="240241"/>
                </a:lnTo>
                <a:lnTo>
                  <a:pt x="94487" y="238799"/>
                </a:lnTo>
                <a:lnTo>
                  <a:pt x="88859" y="243124"/>
                </a:lnTo>
                <a:lnTo>
                  <a:pt x="85492" y="250372"/>
                </a:lnTo>
                <a:lnTo>
                  <a:pt x="83247" y="259061"/>
                </a:lnTo>
                <a:lnTo>
                  <a:pt x="82125" y="269192"/>
                </a:lnTo>
                <a:lnTo>
                  <a:pt x="78742" y="273537"/>
                </a:lnTo>
                <a:lnTo>
                  <a:pt x="75374" y="274979"/>
                </a:lnTo>
                <a:lnTo>
                  <a:pt x="67502" y="274979"/>
                </a:lnTo>
                <a:lnTo>
                  <a:pt x="61874" y="266289"/>
                </a:lnTo>
                <a:lnTo>
                  <a:pt x="61874" y="256158"/>
                </a:lnTo>
                <a:lnTo>
                  <a:pt x="64119" y="246027"/>
                </a:lnTo>
                <a:lnTo>
                  <a:pt x="65241" y="235896"/>
                </a:lnTo>
                <a:lnTo>
                  <a:pt x="68624" y="228668"/>
                </a:lnTo>
                <a:lnTo>
                  <a:pt x="73114" y="222862"/>
                </a:lnTo>
                <a:lnTo>
                  <a:pt x="77619" y="217076"/>
                </a:lnTo>
                <a:lnTo>
                  <a:pt x="84370" y="212731"/>
                </a:lnTo>
                <a:lnTo>
                  <a:pt x="89997" y="211289"/>
                </a:lnTo>
                <a:lnTo>
                  <a:pt x="96748" y="208386"/>
                </a:lnTo>
                <a:lnTo>
                  <a:pt x="109110" y="208386"/>
                </a:lnTo>
                <a:lnTo>
                  <a:pt x="120366" y="217076"/>
                </a:lnTo>
                <a:lnTo>
                  <a:pt x="127116" y="230110"/>
                </a:lnTo>
                <a:lnTo>
                  <a:pt x="130483" y="244585"/>
                </a:lnTo>
                <a:lnTo>
                  <a:pt x="131605" y="259061"/>
                </a:lnTo>
                <a:lnTo>
                  <a:pt x="133866" y="273537"/>
                </a:lnTo>
                <a:lnTo>
                  <a:pt x="137233" y="286551"/>
                </a:lnTo>
                <a:lnTo>
                  <a:pt x="143984" y="295241"/>
                </a:lnTo>
                <a:lnTo>
                  <a:pt x="155239" y="299585"/>
                </a:lnTo>
                <a:lnTo>
                  <a:pt x="164234" y="296682"/>
                </a:lnTo>
                <a:lnTo>
                  <a:pt x="172107" y="292357"/>
                </a:lnTo>
                <a:lnTo>
                  <a:pt x="178857" y="286551"/>
                </a:lnTo>
                <a:lnTo>
                  <a:pt x="185607" y="279323"/>
                </a:lnTo>
                <a:lnTo>
                  <a:pt x="192358" y="270634"/>
                </a:lnTo>
                <a:lnTo>
                  <a:pt x="197970" y="260503"/>
                </a:lnTo>
                <a:lnTo>
                  <a:pt x="202475" y="251813"/>
                </a:lnTo>
                <a:lnTo>
                  <a:pt x="208103" y="241682"/>
                </a:lnTo>
                <a:lnTo>
                  <a:pt x="212593" y="224323"/>
                </a:lnTo>
                <a:lnTo>
                  <a:pt x="213731" y="206945"/>
                </a:lnTo>
                <a:lnTo>
                  <a:pt x="211470" y="189566"/>
                </a:lnTo>
                <a:lnTo>
                  <a:pt x="203597" y="173648"/>
                </a:lnTo>
                <a:lnTo>
                  <a:pt x="191219" y="180896"/>
                </a:lnTo>
                <a:lnTo>
                  <a:pt x="188975" y="196814"/>
                </a:lnTo>
                <a:lnTo>
                  <a:pt x="187852" y="212731"/>
                </a:lnTo>
                <a:lnTo>
                  <a:pt x="175474" y="218517"/>
                </a:lnTo>
                <a:lnTo>
                  <a:pt x="170984" y="208386"/>
                </a:lnTo>
                <a:lnTo>
                  <a:pt x="166479" y="198255"/>
                </a:lnTo>
                <a:lnTo>
                  <a:pt x="164234" y="186683"/>
                </a:lnTo>
                <a:lnTo>
                  <a:pt x="168724" y="176551"/>
                </a:lnTo>
                <a:lnTo>
                  <a:pt x="172107" y="169304"/>
                </a:lnTo>
                <a:lnTo>
                  <a:pt x="175474" y="163517"/>
                </a:lnTo>
                <a:lnTo>
                  <a:pt x="179980" y="157731"/>
                </a:lnTo>
                <a:lnTo>
                  <a:pt x="185607" y="153386"/>
                </a:lnTo>
                <a:lnTo>
                  <a:pt x="191219" y="150483"/>
                </a:lnTo>
                <a:lnTo>
                  <a:pt x="197970" y="149042"/>
                </a:lnTo>
                <a:lnTo>
                  <a:pt x="203597" y="147600"/>
                </a:lnTo>
                <a:lnTo>
                  <a:pt x="210348" y="149042"/>
                </a:lnTo>
                <a:lnTo>
                  <a:pt x="219343" y="160634"/>
                </a:lnTo>
                <a:lnTo>
                  <a:pt x="227215" y="172207"/>
                </a:lnTo>
                <a:lnTo>
                  <a:pt x="235104" y="186683"/>
                </a:lnTo>
                <a:lnTo>
                  <a:pt x="241838" y="199717"/>
                </a:lnTo>
                <a:lnTo>
                  <a:pt x="247466" y="196814"/>
                </a:lnTo>
                <a:lnTo>
                  <a:pt x="254216" y="193910"/>
                </a:lnTo>
                <a:lnTo>
                  <a:pt x="260967" y="189566"/>
                </a:lnTo>
                <a:lnTo>
                  <a:pt x="266594" y="185241"/>
                </a:lnTo>
                <a:lnTo>
                  <a:pt x="272222" y="179435"/>
                </a:lnTo>
                <a:lnTo>
                  <a:pt x="277834" y="173648"/>
                </a:lnTo>
                <a:lnTo>
                  <a:pt x="281217" y="166420"/>
                </a:lnTo>
                <a:lnTo>
                  <a:pt x="284585" y="157731"/>
                </a:lnTo>
                <a:lnTo>
                  <a:pt x="287968" y="144697"/>
                </a:lnTo>
                <a:lnTo>
                  <a:pt x="287968" y="130221"/>
                </a:lnTo>
                <a:lnTo>
                  <a:pt x="285707" y="117207"/>
                </a:lnTo>
                <a:lnTo>
                  <a:pt x="280095" y="105614"/>
                </a:lnTo>
                <a:lnTo>
                  <a:pt x="272222" y="99828"/>
                </a:lnTo>
                <a:lnTo>
                  <a:pt x="266594" y="101270"/>
                </a:lnTo>
                <a:lnTo>
                  <a:pt x="263211" y="105614"/>
                </a:lnTo>
                <a:lnTo>
                  <a:pt x="259844" y="111401"/>
                </a:lnTo>
                <a:lnTo>
                  <a:pt x="257599" y="120090"/>
                </a:lnTo>
                <a:lnTo>
                  <a:pt x="254216" y="127338"/>
                </a:lnTo>
                <a:lnTo>
                  <a:pt x="250849" y="133124"/>
                </a:lnTo>
                <a:lnTo>
                  <a:pt x="244099" y="134566"/>
                </a:lnTo>
                <a:lnTo>
                  <a:pt x="238471" y="125876"/>
                </a:lnTo>
                <a:close/>
              </a:path>
            </a:pathLst>
          </a:custGeom>
          <a:solidFill>
            <a:srgbClr val="BEBEBE"/>
          </a:solidFill>
        </p:spPr>
        <p:txBody>
          <a:bodyPr wrap="square" lIns="0" tIns="0" rIns="0" bIns="0" rtlCol="0">
            <a:noAutofit/>
          </a:bodyPr>
          <a:lstStyle/>
          <a:p>
            <a:endParaRPr/>
          </a:p>
        </p:txBody>
      </p:sp>
      <p:sp>
        <p:nvSpPr>
          <p:cNvPr id="22" name="object 22"/>
          <p:cNvSpPr/>
          <p:nvPr/>
        </p:nvSpPr>
        <p:spPr>
          <a:xfrm>
            <a:off x="7854996" y="1953532"/>
            <a:ext cx="644529" cy="699120"/>
          </a:xfrm>
          <a:custGeom>
            <a:avLst/>
            <a:gdLst/>
            <a:ahLst/>
            <a:cxnLst/>
            <a:rect l="l" t="t" r="r" b="b"/>
            <a:pathLst>
              <a:path w="644529" h="699120">
                <a:moveTo>
                  <a:pt x="118105" y="198275"/>
                </a:moveTo>
                <a:lnTo>
                  <a:pt x="91104" y="316984"/>
                </a:lnTo>
                <a:lnTo>
                  <a:pt x="61858" y="437135"/>
                </a:lnTo>
                <a:lnTo>
                  <a:pt x="34873" y="545693"/>
                </a:lnTo>
                <a:lnTo>
                  <a:pt x="13500" y="628203"/>
                </a:lnTo>
                <a:lnTo>
                  <a:pt x="0" y="673071"/>
                </a:lnTo>
                <a:lnTo>
                  <a:pt x="3367" y="681761"/>
                </a:lnTo>
                <a:lnTo>
                  <a:pt x="21373" y="688989"/>
                </a:lnTo>
                <a:lnTo>
                  <a:pt x="51741" y="693333"/>
                </a:lnTo>
                <a:lnTo>
                  <a:pt x="92242" y="696237"/>
                </a:lnTo>
                <a:lnTo>
                  <a:pt x="140601" y="699120"/>
                </a:lnTo>
                <a:lnTo>
                  <a:pt x="254216" y="699120"/>
                </a:lnTo>
                <a:lnTo>
                  <a:pt x="314953" y="697678"/>
                </a:lnTo>
                <a:lnTo>
                  <a:pt x="375689" y="696237"/>
                </a:lnTo>
                <a:lnTo>
                  <a:pt x="435319" y="693333"/>
                </a:lnTo>
                <a:lnTo>
                  <a:pt x="490427" y="691892"/>
                </a:lnTo>
                <a:lnTo>
                  <a:pt x="541046" y="688989"/>
                </a:lnTo>
                <a:lnTo>
                  <a:pt x="583793" y="686106"/>
                </a:lnTo>
                <a:lnTo>
                  <a:pt x="616421" y="684644"/>
                </a:lnTo>
                <a:lnTo>
                  <a:pt x="636656" y="683202"/>
                </a:lnTo>
                <a:lnTo>
                  <a:pt x="644529" y="683202"/>
                </a:lnTo>
                <a:lnTo>
                  <a:pt x="502805" y="0"/>
                </a:lnTo>
                <a:lnTo>
                  <a:pt x="496055" y="0"/>
                </a:lnTo>
                <a:lnTo>
                  <a:pt x="489305" y="1401"/>
                </a:lnTo>
                <a:lnTo>
                  <a:pt x="483677" y="1401"/>
                </a:lnTo>
                <a:lnTo>
                  <a:pt x="476927" y="2803"/>
                </a:lnTo>
                <a:lnTo>
                  <a:pt x="471315" y="2803"/>
                </a:lnTo>
                <a:lnTo>
                  <a:pt x="464565" y="4404"/>
                </a:lnTo>
                <a:lnTo>
                  <a:pt x="452187" y="4404"/>
                </a:lnTo>
                <a:lnTo>
                  <a:pt x="263211" y="5806"/>
                </a:lnTo>
                <a:lnTo>
                  <a:pt x="165357" y="0"/>
                </a:lnTo>
                <a:lnTo>
                  <a:pt x="158606" y="26028"/>
                </a:lnTo>
                <a:lnTo>
                  <a:pt x="142845" y="96965"/>
                </a:lnTo>
                <a:lnTo>
                  <a:pt x="118105" y="198275"/>
                </a:lnTo>
                <a:close/>
              </a:path>
            </a:pathLst>
          </a:custGeom>
          <a:solidFill>
            <a:srgbClr val="FFB10E"/>
          </a:solidFill>
        </p:spPr>
        <p:txBody>
          <a:bodyPr wrap="square" lIns="0" tIns="0" rIns="0" bIns="0" rtlCol="0">
            <a:noAutofit/>
          </a:bodyPr>
          <a:lstStyle/>
          <a:p>
            <a:endParaRPr/>
          </a:p>
        </p:txBody>
      </p:sp>
      <p:sp>
        <p:nvSpPr>
          <p:cNvPr id="23" name="object 23"/>
          <p:cNvSpPr/>
          <p:nvPr/>
        </p:nvSpPr>
        <p:spPr>
          <a:xfrm>
            <a:off x="8788615" y="2214055"/>
            <a:ext cx="566956" cy="629684"/>
          </a:xfrm>
          <a:custGeom>
            <a:avLst/>
            <a:gdLst/>
            <a:ahLst/>
            <a:cxnLst/>
            <a:rect l="l" t="t" r="r" b="b"/>
            <a:pathLst>
              <a:path w="566956" h="629684">
                <a:moveTo>
                  <a:pt x="55124" y="454534"/>
                </a:moveTo>
                <a:lnTo>
                  <a:pt x="49496" y="466106"/>
                </a:lnTo>
                <a:lnTo>
                  <a:pt x="56246" y="486368"/>
                </a:lnTo>
                <a:lnTo>
                  <a:pt x="62996" y="503747"/>
                </a:lnTo>
                <a:lnTo>
                  <a:pt x="70869" y="521106"/>
                </a:lnTo>
                <a:lnTo>
                  <a:pt x="79864" y="537043"/>
                </a:lnTo>
                <a:lnTo>
                  <a:pt x="89982" y="551519"/>
                </a:lnTo>
                <a:lnTo>
                  <a:pt x="100115" y="564533"/>
                </a:lnTo>
                <a:lnTo>
                  <a:pt x="112493" y="577568"/>
                </a:lnTo>
                <a:lnTo>
                  <a:pt x="124855" y="587699"/>
                </a:lnTo>
                <a:lnTo>
                  <a:pt x="138356" y="597830"/>
                </a:lnTo>
                <a:lnTo>
                  <a:pt x="151856" y="606519"/>
                </a:lnTo>
                <a:lnTo>
                  <a:pt x="167601" y="612305"/>
                </a:lnTo>
                <a:lnTo>
                  <a:pt x="183347" y="618092"/>
                </a:lnTo>
                <a:lnTo>
                  <a:pt x="200230" y="623878"/>
                </a:lnTo>
                <a:lnTo>
                  <a:pt x="218220" y="626781"/>
                </a:lnTo>
                <a:lnTo>
                  <a:pt x="237349" y="628223"/>
                </a:lnTo>
                <a:lnTo>
                  <a:pt x="257584" y="629684"/>
                </a:lnTo>
                <a:lnTo>
                  <a:pt x="274467" y="607961"/>
                </a:lnTo>
                <a:lnTo>
                  <a:pt x="291335" y="586257"/>
                </a:lnTo>
                <a:lnTo>
                  <a:pt x="308203" y="565995"/>
                </a:lnTo>
                <a:lnTo>
                  <a:pt x="326208" y="544271"/>
                </a:lnTo>
                <a:lnTo>
                  <a:pt x="344199" y="524009"/>
                </a:lnTo>
                <a:lnTo>
                  <a:pt x="363327" y="505189"/>
                </a:lnTo>
                <a:lnTo>
                  <a:pt x="382455" y="486368"/>
                </a:lnTo>
                <a:lnTo>
                  <a:pt x="401552" y="467548"/>
                </a:lnTo>
                <a:lnTo>
                  <a:pt x="420727" y="450189"/>
                </a:lnTo>
                <a:lnTo>
                  <a:pt x="440993" y="432810"/>
                </a:lnTo>
                <a:lnTo>
                  <a:pt x="461260" y="416893"/>
                </a:lnTo>
                <a:lnTo>
                  <a:pt x="481370" y="402417"/>
                </a:lnTo>
                <a:lnTo>
                  <a:pt x="502883" y="389383"/>
                </a:lnTo>
                <a:lnTo>
                  <a:pt x="524241" y="376369"/>
                </a:lnTo>
                <a:lnTo>
                  <a:pt x="545598" y="366218"/>
                </a:lnTo>
                <a:lnTo>
                  <a:pt x="566956" y="356087"/>
                </a:lnTo>
                <a:lnTo>
                  <a:pt x="428522" y="14475"/>
                </a:lnTo>
                <a:lnTo>
                  <a:pt x="422910" y="20262"/>
                </a:lnTo>
                <a:lnTo>
                  <a:pt x="417297" y="26068"/>
                </a:lnTo>
                <a:lnTo>
                  <a:pt x="412777" y="31854"/>
                </a:lnTo>
                <a:lnTo>
                  <a:pt x="409503" y="39082"/>
                </a:lnTo>
                <a:lnTo>
                  <a:pt x="403891" y="39082"/>
                </a:lnTo>
                <a:lnTo>
                  <a:pt x="398122" y="37640"/>
                </a:lnTo>
                <a:lnTo>
                  <a:pt x="392510" y="36199"/>
                </a:lnTo>
                <a:lnTo>
                  <a:pt x="386945" y="33296"/>
                </a:lnTo>
                <a:lnTo>
                  <a:pt x="381317" y="30413"/>
                </a:lnTo>
                <a:lnTo>
                  <a:pt x="375705" y="26068"/>
                </a:lnTo>
                <a:lnTo>
                  <a:pt x="371199" y="21723"/>
                </a:lnTo>
                <a:lnTo>
                  <a:pt x="365572" y="18820"/>
                </a:lnTo>
                <a:lnTo>
                  <a:pt x="347582" y="2903"/>
                </a:lnTo>
                <a:lnTo>
                  <a:pt x="331836" y="0"/>
                </a:lnTo>
                <a:lnTo>
                  <a:pt x="319458" y="5786"/>
                </a:lnTo>
                <a:lnTo>
                  <a:pt x="308203" y="18820"/>
                </a:lnTo>
                <a:lnTo>
                  <a:pt x="296963" y="34737"/>
                </a:lnTo>
                <a:lnTo>
                  <a:pt x="285707" y="47771"/>
                </a:lnTo>
                <a:lnTo>
                  <a:pt x="271084" y="56461"/>
                </a:lnTo>
                <a:lnTo>
                  <a:pt x="253094" y="56461"/>
                </a:lnTo>
                <a:lnTo>
                  <a:pt x="248589" y="65150"/>
                </a:lnTo>
                <a:lnTo>
                  <a:pt x="244099" y="75281"/>
                </a:lnTo>
                <a:lnTo>
                  <a:pt x="238471" y="85412"/>
                </a:lnTo>
                <a:lnTo>
                  <a:pt x="233966" y="94102"/>
                </a:lnTo>
                <a:lnTo>
                  <a:pt x="228338" y="104233"/>
                </a:lnTo>
                <a:lnTo>
                  <a:pt x="221603" y="112902"/>
                </a:lnTo>
                <a:lnTo>
                  <a:pt x="213715" y="121592"/>
                </a:lnTo>
                <a:lnTo>
                  <a:pt x="205842" y="128840"/>
                </a:lnTo>
                <a:lnTo>
                  <a:pt x="197970" y="133184"/>
                </a:lnTo>
                <a:lnTo>
                  <a:pt x="191219" y="136067"/>
                </a:lnTo>
                <a:lnTo>
                  <a:pt x="183347" y="138971"/>
                </a:lnTo>
                <a:lnTo>
                  <a:pt x="174352" y="141854"/>
                </a:lnTo>
                <a:lnTo>
                  <a:pt x="158606" y="141854"/>
                </a:lnTo>
                <a:lnTo>
                  <a:pt x="149611" y="140412"/>
                </a:lnTo>
                <a:lnTo>
                  <a:pt x="141739" y="137529"/>
                </a:lnTo>
                <a:lnTo>
                  <a:pt x="136111" y="144757"/>
                </a:lnTo>
                <a:lnTo>
                  <a:pt x="130483" y="151985"/>
                </a:lnTo>
                <a:lnTo>
                  <a:pt x="123733" y="159233"/>
                </a:lnTo>
                <a:lnTo>
                  <a:pt x="118105" y="165019"/>
                </a:lnTo>
                <a:lnTo>
                  <a:pt x="111355" y="172267"/>
                </a:lnTo>
                <a:lnTo>
                  <a:pt x="104605" y="178053"/>
                </a:lnTo>
                <a:lnTo>
                  <a:pt x="97870" y="182398"/>
                </a:lnTo>
                <a:lnTo>
                  <a:pt x="89982" y="185281"/>
                </a:lnTo>
                <a:lnTo>
                  <a:pt x="77619" y="191087"/>
                </a:lnTo>
                <a:lnTo>
                  <a:pt x="65241" y="192529"/>
                </a:lnTo>
                <a:lnTo>
                  <a:pt x="53986" y="189626"/>
                </a:lnTo>
                <a:lnTo>
                  <a:pt x="42746" y="183839"/>
                </a:lnTo>
                <a:lnTo>
                  <a:pt x="31490" y="175150"/>
                </a:lnTo>
                <a:lnTo>
                  <a:pt x="21373" y="165019"/>
                </a:lnTo>
                <a:lnTo>
                  <a:pt x="11255" y="154888"/>
                </a:lnTo>
                <a:lnTo>
                  <a:pt x="2244" y="143315"/>
                </a:lnTo>
                <a:lnTo>
                  <a:pt x="0" y="186743"/>
                </a:lnTo>
                <a:lnTo>
                  <a:pt x="2244" y="228708"/>
                </a:lnTo>
                <a:lnTo>
                  <a:pt x="8995" y="270694"/>
                </a:lnTo>
                <a:lnTo>
                  <a:pt x="20250" y="309776"/>
                </a:lnTo>
                <a:lnTo>
                  <a:pt x="31490" y="303990"/>
                </a:lnTo>
                <a:lnTo>
                  <a:pt x="43868" y="299645"/>
                </a:lnTo>
                <a:lnTo>
                  <a:pt x="55124" y="293859"/>
                </a:lnTo>
                <a:lnTo>
                  <a:pt x="66364" y="289514"/>
                </a:lnTo>
                <a:lnTo>
                  <a:pt x="77619" y="285170"/>
                </a:lnTo>
                <a:lnTo>
                  <a:pt x="89982" y="280825"/>
                </a:lnTo>
                <a:lnTo>
                  <a:pt x="101237" y="277922"/>
                </a:lnTo>
                <a:lnTo>
                  <a:pt x="112493" y="273577"/>
                </a:lnTo>
                <a:lnTo>
                  <a:pt x="124855" y="270694"/>
                </a:lnTo>
                <a:lnTo>
                  <a:pt x="136111" y="267791"/>
                </a:lnTo>
                <a:lnTo>
                  <a:pt x="148473" y="264908"/>
                </a:lnTo>
                <a:lnTo>
                  <a:pt x="160851" y="263446"/>
                </a:lnTo>
                <a:lnTo>
                  <a:pt x="172107" y="260563"/>
                </a:lnTo>
                <a:lnTo>
                  <a:pt x="184469" y="259101"/>
                </a:lnTo>
                <a:lnTo>
                  <a:pt x="197970" y="257660"/>
                </a:lnTo>
                <a:lnTo>
                  <a:pt x="210348" y="256218"/>
                </a:lnTo>
                <a:lnTo>
                  <a:pt x="215976" y="247529"/>
                </a:lnTo>
                <a:lnTo>
                  <a:pt x="227215" y="228708"/>
                </a:lnTo>
                <a:lnTo>
                  <a:pt x="241838" y="204101"/>
                </a:lnTo>
                <a:lnTo>
                  <a:pt x="259844" y="175150"/>
                </a:lnTo>
                <a:lnTo>
                  <a:pt x="278957" y="144757"/>
                </a:lnTo>
                <a:lnTo>
                  <a:pt x="298085" y="115805"/>
                </a:lnTo>
                <a:lnTo>
                  <a:pt x="316075" y="88296"/>
                </a:lnTo>
                <a:lnTo>
                  <a:pt x="330698" y="68033"/>
                </a:lnTo>
                <a:lnTo>
                  <a:pt x="336326" y="59344"/>
                </a:lnTo>
                <a:lnTo>
                  <a:pt x="344199" y="53558"/>
                </a:lnTo>
                <a:lnTo>
                  <a:pt x="352071" y="47771"/>
                </a:lnTo>
                <a:lnTo>
                  <a:pt x="359960" y="44868"/>
                </a:lnTo>
                <a:lnTo>
                  <a:pt x="368955" y="43427"/>
                </a:lnTo>
                <a:lnTo>
                  <a:pt x="377950" y="43427"/>
                </a:lnTo>
                <a:lnTo>
                  <a:pt x="386945" y="44868"/>
                </a:lnTo>
                <a:lnTo>
                  <a:pt x="395940" y="49213"/>
                </a:lnTo>
                <a:lnTo>
                  <a:pt x="408256" y="60806"/>
                </a:lnTo>
                <a:lnTo>
                  <a:pt x="418389" y="75281"/>
                </a:lnTo>
                <a:lnTo>
                  <a:pt x="426339" y="89757"/>
                </a:lnTo>
                <a:lnTo>
                  <a:pt x="433043" y="107116"/>
                </a:lnTo>
                <a:lnTo>
                  <a:pt x="437564" y="125936"/>
                </a:lnTo>
                <a:lnTo>
                  <a:pt x="439746" y="144757"/>
                </a:lnTo>
                <a:lnTo>
                  <a:pt x="439746" y="163577"/>
                </a:lnTo>
                <a:lnTo>
                  <a:pt x="438655" y="182398"/>
                </a:lnTo>
                <a:lnTo>
                  <a:pt x="435381" y="188184"/>
                </a:lnTo>
                <a:lnTo>
                  <a:pt x="431952" y="195412"/>
                </a:lnTo>
                <a:lnTo>
                  <a:pt x="428522" y="204101"/>
                </a:lnTo>
                <a:lnTo>
                  <a:pt x="425248" y="211349"/>
                </a:lnTo>
                <a:lnTo>
                  <a:pt x="420727" y="217136"/>
                </a:lnTo>
                <a:lnTo>
                  <a:pt x="415115" y="221480"/>
                </a:lnTo>
                <a:lnTo>
                  <a:pt x="409503" y="224363"/>
                </a:lnTo>
                <a:lnTo>
                  <a:pt x="401552" y="222922"/>
                </a:lnTo>
                <a:lnTo>
                  <a:pt x="397031" y="214232"/>
                </a:lnTo>
                <a:lnTo>
                  <a:pt x="399370" y="207005"/>
                </a:lnTo>
                <a:lnTo>
                  <a:pt x="404982" y="199757"/>
                </a:lnTo>
                <a:lnTo>
                  <a:pt x="409503" y="192529"/>
                </a:lnTo>
                <a:lnTo>
                  <a:pt x="412777" y="176612"/>
                </a:lnTo>
                <a:lnTo>
                  <a:pt x="412777" y="160674"/>
                </a:lnTo>
                <a:lnTo>
                  <a:pt x="409503" y="144757"/>
                </a:lnTo>
                <a:lnTo>
                  <a:pt x="404982" y="130281"/>
                </a:lnTo>
                <a:lnTo>
                  <a:pt x="401552" y="121592"/>
                </a:lnTo>
                <a:lnTo>
                  <a:pt x="397031" y="111461"/>
                </a:lnTo>
                <a:lnTo>
                  <a:pt x="392510" y="102771"/>
                </a:lnTo>
                <a:lnTo>
                  <a:pt x="386945" y="95543"/>
                </a:lnTo>
                <a:lnTo>
                  <a:pt x="380195" y="89757"/>
                </a:lnTo>
                <a:lnTo>
                  <a:pt x="373444" y="85412"/>
                </a:lnTo>
                <a:lnTo>
                  <a:pt x="365572" y="83971"/>
                </a:lnTo>
                <a:lnTo>
                  <a:pt x="356577" y="86854"/>
                </a:lnTo>
                <a:lnTo>
                  <a:pt x="348704" y="95543"/>
                </a:lnTo>
                <a:lnTo>
                  <a:pt x="344199" y="105674"/>
                </a:lnTo>
                <a:lnTo>
                  <a:pt x="341954" y="120150"/>
                </a:lnTo>
                <a:lnTo>
                  <a:pt x="341954" y="137529"/>
                </a:lnTo>
                <a:lnTo>
                  <a:pt x="336326" y="143315"/>
                </a:lnTo>
                <a:lnTo>
                  <a:pt x="329576" y="140412"/>
                </a:lnTo>
                <a:lnTo>
                  <a:pt x="325086" y="134626"/>
                </a:lnTo>
                <a:lnTo>
                  <a:pt x="322825" y="130281"/>
                </a:lnTo>
                <a:lnTo>
                  <a:pt x="312708" y="147660"/>
                </a:lnTo>
                <a:lnTo>
                  <a:pt x="301452" y="165019"/>
                </a:lnTo>
                <a:lnTo>
                  <a:pt x="290212" y="182398"/>
                </a:lnTo>
                <a:lnTo>
                  <a:pt x="278957" y="199757"/>
                </a:lnTo>
                <a:lnTo>
                  <a:pt x="266594" y="217136"/>
                </a:lnTo>
                <a:lnTo>
                  <a:pt x="255339" y="234494"/>
                </a:lnTo>
                <a:lnTo>
                  <a:pt x="244099" y="251873"/>
                </a:lnTo>
                <a:lnTo>
                  <a:pt x="233966" y="269252"/>
                </a:lnTo>
                <a:lnTo>
                  <a:pt x="242961" y="318466"/>
                </a:lnTo>
                <a:lnTo>
                  <a:pt x="241838" y="331480"/>
                </a:lnTo>
                <a:lnTo>
                  <a:pt x="238471" y="344514"/>
                </a:lnTo>
                <a:lnTo>
                  <a:pt x="235088" y="356087"/>
                </a:lnTo>
                <a:lnTo>
                  <a:pt x="230598" y="367679"/>
                </a:lnTo>
                <a:lnTo>
                  <a:pt x="224971" y="377810"/>
                </a:lnTo>
                <a:lnTo>
                  <a:pt x="218220" y="389383"/>
                </a:lnTo>
                <a:lnTo>
                  <a:pt x="211470" y="399514"/>
                </a:lnTo>
                <a:lnTo>
                  <a:pt x="204720" y="409645"/>
                </a:lnTo>
                <a:lnTo>
                  <a:pt x="166479" y="431369"/>
                </a:lnTo>
                <a:lnTo>
                  <a:pt x="158606" y="432810"/>
                </a:lnTo>
                <a:lnTo>
                  <a:pt x="150734" y="432810"/>
                </a:lnTo>
                <a:lnTo>
                  <a:pt x="142861" y="431369"/>
                </a:lnTo>
                <a:lnTo>
                  <a:pt x="134988" y="428465"/>
                </a:lnTo>
                <a:lnTo>
                  <a:pt x="127116" y="424121"/>
                </a:lnTo>
                <a:lnTo>
                  <a:pt x="120366" y="419776"/>
                </a:lnTo>
                <a:lnTo>
                  <a:pt x="114738" y="412548"/>
                </a:lnTo>
                <a:lnTo>
                  <a:pt x="109110" y="405320"/>
                </a:lnTo>
                <a:lnTo>
                  <a:pt x="114738" y="502286"/>
                </a:lnTo>
                <a:lnTo>
                  <a:pt x="120366" y="497961"/>
                </a:lnTo>
                <a:lnTo>
                  <a:pt x="124855" y="493616"/>
                </a:lnTo>
                <a:lnTo>
                  <a:pt x="130483" y="487810"/>
                </a:lnTo>
                <a:lnTo>
                  <a:pt x="136111" y="482024"/>
                </a:lnTo>
                <a:lnTo>
                  <a:pt x="140601" y="477679"/>
                </a:lnTo>
                <a:lnTo>
                  <a:pt x="146228" y="474796"/>
                </a:lnTo>
                <a:lnTo>
                  <a:pt x="151856" y="476237"/>
                </a:lnTo>
                <a:lnTo>
                  <a:pt x="157484" y="480582"/>
                </a:lnTo>
                <a:lnTo>
                  <a:pt x="152979" y="490713"/>
                </a:lnTo>
                <a:lnTo>
                  <a:pt x="147351" y="499403"/>
                </a:lnTo>
                <a:lnTo>
                  <a:pt x="140601" y="508092"/>
                </a:lnTo>
                <a:lnTo>
                  <a:pt x="132728" y="515320"/>
                </a:lnTo>
                <a:lnTo>
                  <a:pt x="124855" y="522568"/>
                </a:lnTo>
                <a:lnTo>
                  <a:pt x="116983" y="529796"/>
                </a:lnTo>
                <a:lnTo>
                  <a:pt x="109110" y="535582"/>
                </a:lnTo>
                <a:lnTo>
                  <a:pt x="101237" y="542830"/>
                </a:lnTo>
                <a:lnTo>
                  <a:pt x="86614" y="519665"/>
                </a:lnTo>
                <a:lnTo>
                  <a:pt x="82109" y="487810"/>
                </a:lnTo>
                <a:lnTo>
                  <a:pt x="82109" y="451631"/>
                </a:lnTo>
                <a:lnTo>
                  <a:pt x="79864" y="418334"/>
                </a:lnTo>
                <a:lnTo>
                  <a:pt x="74236" y="432810"/>
                </a:lnTo>
                <a:lnTo>
                  <a:pt x="65241" y="444403"/>
                </a:lnTo>
                <a:lnTo>
                  <a:pt x="55124" y="454534"/>
                </a:lnTo>
                <a:close/>
              </a:path>
            </a:pathLst>
          </a:custGeom>
          <a:solidFill>
            <a:srgbClr val="F1CCB1"/>
          </a:solidFill>
        </p:spPr>
        <p:txBody>
          <a:bodyPr wrap="square" lIns="0" tIns="0" rIns="0" bIns="0" rtlCol="0">
            <a:noAutofit/>
          </a:bodyPr>
          <a:lstStyle/>
          <a:p>
            <a:endParaRPr/>
          </a:p>
        </p:txBody>
      </p:sp>
      <p:sp>
        <p:nvSpPr>
          <p:cNvPr id="24" name="object 24"/>
          <p:cNvSpPr/>
          <p:nvPr/>
        </p:nvSpPr>
        <p:spPr>
          <a:xfrm>
            <a:off x="8894359" y="2510798"/>
            <a:ext cx="106849" cy="94102"/>
          </a:xfrm>
          <a:custGeom>
            <a:avLst/>
            <a:gdLst/>
            <a:ahLst/>
            <a:cxnLst/>
            <a:rect l="l" t="t" r="r" b="b"/>
            <a:pathLst>
              <a:path w="106849" h="94102">
                <a:moveTo>
                  <a:pt x="101222" y="1461"/>
                </a:moveTo>
                <a:lnTo>
                  <a:pt x="88859" y="0"/>
                </a:lnTo>
                <a:lnTo>
                  <a:pt x="76481" y="0"/>
                </a:lnTo>
                <a:lnTo>
                  <a:pt x="64103" y="1461"/>
                </a:lnTo>
                <a:lnTo>
                  <a:pt x="51741" y="4344"/>
                </a:lnTo>
                <a:lnTo>
                  <a:pt x="38240" y="7247"/>
                </a:lnTo>
                <a:lnTo>
                  <a:pt x="25862" y="11592"/>
                </a:lnTo>
                <a:lnTo>
                  <a:pt x="13484" y="14475"/>
                </a:lnTo>
                <a:lnTo>
                  <a:pt x="1122" y="17378"/>
                </a:lnTo>
                <a:lnTo>
                  <a:pt x="0" y="30393"/>
                </a:lnTo>
                <a:lnTo>
                  <a:pt x="2244" y="40544"/>
                </a:lnTo>
                <a:lnTo>
                  <a:pt x="5612" y="49213"/>
                </a:lnTo>
                <a:lnTo>
                  <a:pt x="6750" y="60806"/>
                </a:lnTo>
                <a:lnTo>
                  <a:pt x="10117" y="68033"/>
                </a:lnTo>
                <a:lnTo>
                  <a:pt x="13484" y="73820"/>
                </a:lnTo>
                <a:lnTo>
                  <a:pt x="19112" y="79626"/>
                </a:lnTo>
                <a:lnTo>
                  <a:pt x="23617" y="83951"/>
                </a:lnTo>
                <a:lnTo>
                  <a:pt x="29245" y="88296"/>
                </a:lnTo>
                <a:lnTo>
                  <a:pt x="34857" y="91199"/>
                </a:lnTo>
                <a:lnTo>
                  <a:pt x="41608" y="92640"/>
                </a:lnTo>
                <a:lnTo>
                  <a:pt x="48358" y="94102"/>
                </a:lnTo>
                <a:lnTo>
                  <a:pt x="55108" y="94102"/>
                </a:lnTo>
                <a:lnTo>
                  <a:pt x="62981" y="92640"/>
                </a:lnTo>
                <a:lnTo>
                  <a:pt x="69731" y="89757"/>
                </a:lnTo>
                <a:lnTo>
                  <a:pt x="76481" y="85412"/>
                </a:lnTo>
                <a:lnTo>
                  <a:pt x="82109" y="81068"/>
                </a:lnTo>
                <a:lnTo>
                  <a:pt x="87737" y="75281"/>
                </a:lnTo>
                <a:lnTo>
                  <a:pt x="93349" y="69475"/>
                </a:lnTo>
                <a:lnTo>
                  <a:pt x="97854" y="60806"/>
                </a:lnTo>
                <a:lnTo>
                  <a:pt x="102360" y="46330"/>
                </a:lnTo>
                <a:lnTo>
                  <a:pt x="106849" y="30393"/>
                </a:lnTo>
                <a:lnTo>
                  <a:pt x="106849" y="15917"/>
                </a:lnTo>
                <a:lnTo>
                  <a:pt x="101222" y="1461"/>
                </a:lnTo>
                <a:close/>
              </a:path>
            </a:pathLst>
          </a:custGeom>
          <a:solidFill>
            <a:srgbClr val="E4E4E4"/>
          </a:solidFill>
        </p:spPr>
        <p:txBody>
          <a:bodyPr wrap="square" lIns="0" tIns="0" rIns="0" bIns="0" rtlCol="0">
            <a:noAutofit/>
          </a:bodyPr>
          <a:lstStyle/>
          <a:p>
            <a:endParaRPr/>
          </a:p>
        </p:txBody>
      </p:sp>
      <p:sp>
        <p:nvSpPr>
          <p:cNvPr id="25" name="object 25"/>
          <p:cNvSpPr/>
          <p:nvPr/>
        </p:nvSpPr>
        <p:spPr>
          <a:xfrm>
            <a:off x="8780743" y="2544095"/>
            <a:ext cx="75359" cy="102771"/>
          </a:xfrm>
          <a:custGeom>
            <a:avLst/>
            <a:gdLst/>
            <a:ahLst/>
            <a:cxnLst/>
            <a:rect l="l" t="t" r="r" b="b"/>
            <a:pathLst>
              <a:path w="75359" h="102771">
                <a:moveTo>
                  <a:pt x="61858" y="79606"/>
                </a:moveTo>
                <a:lnTo>
                  <a:pt x="68609" y="60806"/>
                </a:lnTo>
                <a:lnTo>
                  <a:pt x="74236" y="39082"/>
                </a:lnTo>
                <a:lnTo>
                  <a:pt x="75359" y="18820"/>
                </a:lnTo>
                <a:lnTo>
                  <a:pt x="71992" y="0"/>
                </a:lnTo>
                <a:lnTo>
                  <a:pt x="61858" y="2903"/>
                </a:lnTo>
                <a:lnTo>
                  <a:pt x="50618" y="7247"/>
                </a:lnTo>
                <a:lnTo>
                  <a:pt x="39363" y="11572"/>
                </a:lnTo>
                <a:lnTo>
                  <a:pt x="29245" y="15917"/>
                </a:lnTo>
                <a:lnTo>
                  <a:pt x="19128" y="21723"/>
                </a:lnTo>
                <a:lnTo>
                  <a:pt x="11255" y="28951"/>
                </a:lnTo>
                <a:lnTo>
                  <a:pt x="4505" y="39082"/>
                </a:lnTo>
                <a:lnTo>
                  <a:pt x="0" y="52116"/>
                </a:lnTo>
                <a:lnTo>
                  <a:pt x="3367" y="63689"/>
                </a:lnTo>
                <a:lnTo>
                  <a:pt x="6750" y="78164"/>
                </a:lnTo>
                <a:lnTo>
                  <a:pt x="12378" y="92640"/>
                </a:lnTo>
                <a:lnTo>
                  <a:pt x="20250" y="99888"/>
                </a:lnTo>
                <a:lnTo>
                  <a:pt x="25878" y="101330"/>
                </a:lnTo>
                <a:lnTo>
                  <a:pt x="31490" y="102771"/>
                </a:lnTo>
                <a:lnTo>
                  <a:pt x="37118" y="101330"/>
                </a:lnTo>
                <a:lnTo>
                  <a:pt x="42746" y="99888"/>
                </a:lnTo>
                <a:lnTo>
                  <a:pt x="48374" y="95543"/>
                </a:lnTo>
                <a:lnTo>
                  <a:pt x="53986" y="91199"/>
                </a:lnTo>
                <a:lnTo>
                  <a:pt x="58491" y="86854"/>
                </a:lnTo>
                <a:lnTo>
                  <a:pt x="61858" y="79606"/>
                </a:lnTo>
                <a:close/>
              </a:path>
            </a:pathLst>
          </a:custGeom>
          <a:solidFill>
            <a:srgbClr val="E4E4E4"/>
          </a:solidFill>
        </p:spPr>
        <p:txBody>
          <a:bodyPr wrap="square" lIns="0" tIns="0" rIns="0" bIns="0" rtlCol="0">
            <a:noAutofit/>
          </a:bodyPr>
          <a:lstStyle/>
          <a:p>
            <a:endParaRPr/>
          </a:p>
        </p:txBody>
      </p:sp>
      <p:sp>
        <p:nvSpPr>
          <p:cNvPr id="26" name="object 26"/>
          <p:cNvSpPr/>
          <p:nvPr/>
        </p:nvSpPr>
        <p:spPr>
          <a:xfrm>
            <a:off x="8586139" y="2625163"/>
            <a:ext cx="1120350" cy="1105902"/>
          </a:xfrm>
          <a:custGeom>
            <a:avLst/>
            <a:gdLst/>
            <a:ahLst/>
            <a:cxnLst/>
            <a:rect l="l" t="t" r="r" b="b"/>
            <a:pathLst>
              <a:path w="1120350" h="1105902">
                <a:moveTo>
                  <a:pt x="305958" y="875752"/>
                </a:moveTo>
                <a:lnTo>
                  <a:pt x="319458" y="877193"/>
                </a:lnTo>
                <a:lnTo>
                  <a:pt x="332959" y="880077"/>
                </a:lnTo>
                <a:lnTo>
                  <a:pt x="346459" y="882980"/>
                </a:lnTo>
                <a:lnTo>
                  <a:pt x="358837" y="887324"/>
                </a:lnTo>
                <a:lnTo>
                  <a:pt x="372322" y="890228"/>
                </a:lnTo>
                <a:lnTo>
                  <a:pt x="384700" y="896014"/>
                </a:lnTo>
                <a:lnTo>
                  <a:pt x="397078" y="901800"/>
                </a:lnTo>
                <a:lnTo>
                  <a:pt x="409440" y="907586"/>
                </a:lnTo>
                <a:lnTo>
                  <a:pt x="420696" y="914834"/>
                </a:lnTo>
                <a:lnTo>
                  <a:pt x="429691" y="909028"/>
                </a:lnTo>
                <a:lnTo>
                  <a:pt x="446574" y="900359"/>
                </a:lnTo>
                <a:lnTo>
                  <a:pt x="469070" y="888766"/>
                </a:lnTo>
                <a:lnTo>
                  <a:pt x="496055" y="875752"/>
                </a:lnTo>
                <a:lnTo>
                  <a:pt x="528684" y="861276"/>
                </a:lnTo>
                <a:lnTo>
                  <a:pt x="563558" y="845339"/>
                </a:lnTo>
                <a:lnTo>
                  <a:pt x="601845" y="829421"/>
                </a:lnTo>
                <a:lnTo>
                  <a:pt x="640039" y="813504"/>
                </a:lnTo>
                <a:lnTo>
                  <a:pt x="679481" y="799028"/>
                </a:lnTo>
                <a:lnTo>
                  <a:pt x="717675" y="784553"/>
                </a:lnTo>
                <a:lnTo>
                  <a:pt x="754778" y="771518"/>
                </a:lnTo>
                <a:lnTo>
                  <a:pt x="788451" y="759946"/>
                </a:lnTo>
                <a:lnTo>
                  <a:pt x="818850" y="751256"/>
                </a:lnTo>
                <a:lnTo>
                  <a:pt x="844729" y="745470"/>
                </a:lnTo>
                <a:lnTo>
                  <a:pt x="866086" y="744029"/>
                </a:lnTo>
                <a:lnTo>
                  <a:pt x="879649" y="745470"/>
                </a:lnTo>
                <a:lnTo>
                  <a:pt x="885261" y="746912"/>
                </a:lnTo>
                <a:lnTo>
                  <a:pt x="889782" y="748353"/>
                </a:lnTo>
                <a:lnTo>
                  <a:pt x="895394" y="751256"/>
                </a:lnTo>
                <a:lnTo>
                  <a:pt x="899915" y="754160"/>
                </a:lnTo>
                <a:lnTo>
                  <a:pt x="904436" y="757043"/>
                </a:lnTo>
                <a:lnTo>
                  <a:pt x="908957" y="761387"/>
                </a:lnTo>
                <a:lnTo>
                  <a:pt x="911140" y="765732"/>
                </a:lnTo>
                <a:lnTo>
                  <a:pt x="913322" y="771518"/>
                </a:lnTo>
                <a:lnTo>
                  <a:pt x="905527" y="777305"/>
                </a:lnTo>
                <a:lnTo>
                  <a:pt x="897577" y="780208"/>
                </a:lnTo>
                <a:lnTo>
                  <a:pt x="888691" y="783111"/>
                </a:lnTo>
                <a:lnTo>
                  <a:pt x="880740" y="784553"/>
                </a:lnTo>
                <a:lnTo>
                  <a:pt x="871698" y="785994"/>
                </a:lnTo>
                <a:lnTo>
                  <a:pt x="863904" y="785994"/>
                </a:lnTo>
                <a:lnTo>
                  <a:pt x="854862" y="787436"/>
                </a:lnTo>
                <a:lnTo>
                  <a:pt x="847067" y="790339"/>
                </a:lnTo>
                <a:lnTo>
                  <a:pt x="843637" y="791780"/>
                </a:lnTo>
                <a:lnTo>
                  <a:pt x="833504" y="794684"/>
                </a:lnTo>
                <a:lnTo>
                  <a:pt x="816668" y="800470"/>
                </a:lnTo>
                <a:lnTo>
                  <a:pt x="796401" y="809159"/>
                </a:lnTo>
                <a:lnTo>
                  <a:pt x="770523" y="817849"/>
                </a:lnTo>
                <a:lnTo>
                  <a:pt x="742462" y="827980"/>
                </a:lnTo>
                <a:lnTo>
                  <a:pt x="712062" y="840994"/>
                </a:lnTo>
                <a:lnTo>
                  <a:pt x="679481" y="852587"/>
                </a:lnTo>
                <a:lnTo>
                  <a:pt x="646743" y="865601"/>
                </a:lnTo>
                <a:lnTo>
                  <a:pt x="613070" y="880077"/>
                </a:lnTo>
                <a:lnTo>
                  <a:pt x="581548" y="893111"/>
                </a:lnTo>
                <a:lnTo>
                  <a:pt x="551180" y="906145"/>
                </a:lnTo>
                <a:lnTo>
                  <a:pt x="524179" y="919159"/>
                </a:lnTo>
                <a:lnTo>
                  <a:pt x="499438" y="930752"/>
                </a:lnTo>
                <a:lnTo>
                  <a:pt x="480310" y="942324"/>
                </a:lnTo>
                <a:lnTo>
                  <a:pt x="465687" y="952455"/>
                </a:lnTo>
                <a:lnTo>
                  <a:pt x="478065" y="988655"/>
                </a:lnTo>
                <a:lnTo>
                  <a:pt x="484815" y="1027737"/>
                </a:lnTo>
                <a:lnTo>
                  <a:pt x="484815" y="1068261"/>
                </a:lnTo>
                <a:lnTo>
                  <a:pt x="480310" y="1104461"/>
                </a:lnTo>
                <a:lnTo>
                  <a:pt x="924702" y="1105902"/>
                </a:lnTo>
                <a:lnTo>
                  <a:pt x="947151" y="1102999"/>
                </a:lnTo>
                <a:lnTo>
                  <a:pt x="970691" y="1101557"/>
                </a:lnTo>
                <a:lnTo>
                  <a:pt x="993296" y="1100116"/>
                </a:lnTo>
                <a:lnTo>
                  <a:pt x="1039285" y="1095771"/>
                </a:lnTo>
                <a:lnTo>
                  <a:pt x="1082156" y="1081295"/>
                </a:lnTo>
                <a:lnTo>
                  <a:pt x="1120350" y="945227"/>
                </a:lnTo>
                <a:lnTo>
                  <a:pt x="1120350" y="835208"/>
                </a:lnTo>
                <a:lnTo>
                  <a:pt x="1115829" y="726650"/>
                </a:lnTo>
                <a:lnTo>
                  <a:pt x="1106787" y="620975"/>
                </a:lnTo>
                <a:lnTo>
                  <a:pt x="1092289" y="516761"/>
                </a:lnTo>
                <a:lnTo>
                  <a:pt x="1074205" y="413990"/>
                </a:lnTo>
                <a:lnTo>
                  <a:pt x="1050665" y="312659"/>
                </a:lnTo>
                <a:lnTo>
                  <a:pt x="1022448" y="214232"/>
                </a:lnTo>
                <a:lnTo>
                  <a:pt x="988775" y="118689"/>
                </a:lnTo>
                <a:lnTo>
                  <a:pt x="931406" y="24606"/>
                </a:lnTo>
                <a:lnTo>
                  <a:pt x="895394" y="8669"/>
                </a:lnTo>
                <a:lnTo>
                  <a:pt x="859383" y="1441"/>
                </a:lnTo>
                <a:lnTo>
                  <a:pt x="840208" y="0"/>
                </a:lnTo>
                <a:lnTo>
                  <a:pt x="822280" y="0"/>
                </a:lnTo>
                <a:lnTo>
                  <a:pt x="804196" y="2883"/>
                </a:lnTo>
                <a:lnTo>
                  <a:pt x="786268" y="5786"/>
                </a:lnTo>
                <a:lnTo>
                  <a:pt x="778473" y="7227"/>
                </a:lnTo>
                <a:lnTo>
                  <a:pt x="767093" y="13014"/>
                </a:lnTo>
                <a:lnTo>
                  <a:pt x="753686" y="18820"/>
                </a:lnTo>
                <a:lnTo>
                  <a:pt x="735602" y="28951"/>
                </a:lnTo>
                <a:lnTo>
                  <a:pt x="716583" y="39082"/>
                </a:lnTo>
                <a:lnTo>
                  <a:pt x="695226" y="52096"/>
                </a:lnTo>
                <a:lnTo>
                  <a:pt x="672621" y="68033"/>
                </a:lnTo>
                <a:lnTo>
                  <a:pt x="649081" y="83951"/>
                </a:lnTo>
                <a:lnTo>
                  <a:pt x="624294" y="102771"/>
                </a:lnTo>
                <a:lnTo>
                  <a:pt x="600598" y="121592"/>
                </a:lnTo>
                <a:lnTo>
                  <a:pt x="575920" y="141854"/>
                </a:lnTo>
                <a:lnTo>
                  <a:pt x="553424" y="163557"/>
                </a:lnTo>
                <a:lnTo>
                  <a:pt x="530929" y="186723"/>
                </a:lnTo>
                <a:lnTo>
                  <a:pt x="510678" y="209888"/>
                </a:lnTo>
                <a:lnTo>
                  <a:pt x="492688" y="234494"/>
                </a:lnTo>
                <a:lnTo>
                  <a:pt x="476943" y="259101"/>
                </a:lnTo>
                <a:lnTo>
                  <a:pt x="460059" y="262004"/>
                </a:lnTo>
                <a:lnTo>
                  <a:pt x="442069" y="262004"/>
                </a:lnTo>
                <a:lnTo>
                  <a:pt x="424079" y="259101"/>
                </a:lnTo>
                <a:lnTo>
                  <a:pt x="404951" y="256198"/>
                </a:lnTo>
                <a:lnTo>
                  <a:pt x="386945" y="250412"/>
                </a:lnTo>
                <a:lnTo>
                  <a:pt x="368955" y="244626"/>
                </a:lnTo>
                <a:lnTo>
                  <a:pt x="352087" y="238839"/>
                </a:lnTo>
                <a:lnTo>
                  <a:pt x="336326" y="231591"/>
                </a:lnTo>
                <a:lnTo>
                  <a:pt x="319458" y="244626"/>
                </a:lnTo>
                <a:lnTo>
                  <a:pt x="302590" y="260543"/>
                </a:lnTo>
                <a:lnTo>
                  <a:pt x="286845" y="276460"/>
                </a:lnTo>
                <a:lnTo>
                  <a:pt x="271084" y="292397"/>
                </a:lnTo>
                <a:lnTo>
                  <a:pt x="255339" y="309756"/>
                </a:lnTo>
                <a:lnTo>
                  <a:pt x="240716" y="327135"/>
                </a:lnTo>
                <a:lnTo>
                  <a:pt x="224971" y="345956"/>
                </a:lnTo>
                <a:lnTo>
                  <a:pt x="209225" y="363315"/>
                </a:lnTo>
                <a:lnTo>
                  <a:pt x="197970" y="380693"/>
                </a:lnTo>
                <a:lnTo>
                  <a:pt x="186730" y="399514"/>
                </a:lnTo>
                <a:lnTo>
                  <a:pt x="175474" y="416873"/>
                </a:lnTo>
                <a:lnTo>
                  <a:pt x="165357" y="435693"/>
                </a:lnTo>
                <a:lnTo>
                  <a:pt x="155239" y="453072"/>
                </a:lnTo>
                <a:lnTo>
                  <a:pt x="143984" y="471893"/>
                </a:lnTo>
                <a:lnTo>
                  <a:pt x="133866" y="487810"/>
                </a:lnTo>
                <a:lnTo>
                  <a:pt x="122610" y="505169"/>
                </a:lnTo>
                <a:lnTo>
                  <a:pt x="107988" y="503727"/>
                </a:lnTo>
                <a:lnTo>
                  <a:pt x="94487" y="497941"/>
                </a:lnTo>
                <a:lnTo>
                  <a:pt x="82125" y="489252"/>
                </a:lnTo>
                <a:lnTo>
                  <a:pt x="70869" y="477679"/>
                </a:lnTo>
                <a:lnTo>
                  <a:pt x="60752" y="464645"/>
                </a:lnTo>
                <a:lnTo>
                  <a:pt x="49496" y="450169"/>
                </a:lnTo>
                <a:lnTo>
                  <a:pt x="39378" y="435693"/>
                </a:lnTo>
                <a:lnTo>
                  <a:pt x="28123" y="422679"/>
                </a:lnTo>
                <a:lnTo>
                  <a:pt x="29245" y="445824"/>
                </a:lnTo>
                <a:lnTo>
                  <a:pt x="28123" y="467548"/>
                </a:lnTo>
                <a:lnTo>
                  <a:pt x="25878" y="489252"/>
                </a:lnTo>
                <a:lnTo>
                  <a:pt x="22495" y="509514"/>
                </a:lnTo>
                <a:lnTo>
                  <a:pt x="18005" y="529796"/>
                </a:lnTo>
                <a:lnTo>
                  <a:pt x="12378" y="548596"/>
                </a:lnTo>
                <a:lnTo>
                  <a:pt x="6750" y="567417"/>
                </a:lnTo>
                <a:lnTo>
                  <a:pt x="0" y="586237"/>
                </a:lnTo>
                <a:lnTo>
                  <a:pt x="13500" y="587679"/>
                </a:lnTo>
                <a:lnTo>
                  <a:pt x="27000" y="587679"/>
                </a:lnTo>
                <a:lnTo>
                  <a:pt x="40501" y="586237"/>
                </a:lnTo>
                <a:lnTo>
                  <a:pt x="54001" y="584795"/>
                </a:lnTo>
                <a:lnTo>
                  <a:pt x="67502" y="584795"/>
                </a:lnTo>
                <a:lnTo>
                  <a:pt x="78742" y="587679"/>
                </a:lnTo>
                <a:lnTo>
                  <a:pt x="89997" y="594926"/>
                </a:lnTo>
                <a:lnTo>
                  <a:pt x="100115" y="607961"/>
                </a:lnTo>
                <a:lnTo>
                  <a:pt x="212593" y="856931"/>
                </a:lnTo>
                <a:lnTo>
                  <a:pt x="224971" y="859814"/>
                </a:lnTo>
                <a:lnTo>
                  <a:pt x="238471" y="864159"/>
                </a:lnTo>
                <a:lnTo>
                  <a:pt x="250849" y="865601"/>
                </a:lnTo>
                <a:lnTo>
                  <a:pt x="264350" y="868504"/>
                </a:lnTo>
                <a:lnTo>
                  <a:pt x="277834" y="871407"/>
                </a:lnTo>
                <a:lnTo>
                  <a:pt x="291335" y="872849"/>
                </a:lnTo>
                <a:lnTo>
                  <a:pt x="305958" y="875752"/>
                </a:lnTo>
                <a:close/>
              </a:path>
            </a:pathLst>
          </a:custGeom>
          <a:solidFill>
            <a:srgbClr val="6FD1FF"/>
          </a:solidFill>
        </p:spPr>
        <p:txBody>
          <a:bodyPr wrap="square" lIns="0" tIns="0" rIns="0" bIns="0" rtlCol="0">
            <a:noAutofit/>
          </a:bodyPr>
          <a:lstStyle/>
          <a:p>
            <a:endParaRPr/>
          </a:p>
        </p:txBody>
      </p:sp>
      <p:sp>
        <p:nvSpPr>
          <p:cNvPr id="27" name="object 27"/>
          <p:cNvSpPr/>
          <p:nvPr/>
        </p:nvSpPr>
        <p:spPr>
          <a:xfrm>
            <a:off x="8148576" y="2710555"/>
            <a:ext cx="83247" cy="311218"/>
          </a:xfrm>
          <a:custGeom>
            <a:avLst/>
            <a:gdLst/>
            <a:ahLst/>
            <a:cxnLst/>
            <a:rect l="l" t="t" r="r" b="b"/>
            <a:pathLst>
              <a:path w="83247" h="311218">
                <a:moveTo>
                  <a:pt x="79864" y="263446"/>
                </a:moveTo>
                <a:lnTo>
                  <a:pt x="83247" y="0"/>
                </a:lnTo>
                <a:lnTo>
                  <a:pt x="73114" y="0"/>
                </a:lnTo>
                <a:lnTo>
                  <a:pt x="61874" y="1461"/>
                </a:lnTo>
                <a:lnTo>
                  <a:pt x="0" y="1461"/>
                </a:lnTo>
                <a:lnTo>
                  <a:pt x="0" y="311218"/>
                </a:lnTo>
                <a:lnTo>
                  <a:pt x="79864" y="263446"/>
                </a:lnTo>
                <a:close/>
              </a:path>
            </a:pathLst>
          </a:custGeom>
          <a:solidFill>
            <a:srgbClr val="FFEE7B"/>
          </a:solidFill>
        </p:spPr>
        <p:txBody>
          <a:bodyPr wrap="square" lIns="0" tIns="0" rIns="0" bIns="0" rtlCol="0">
            <a:noAutofit/>
          </a:bodyPr>
          <a:lstStyle/>
          <a:p>
            <a:endParaRPr/>
          </a:p>
        </p:txBody>
      </p:sp>
      <p:sp>
        <p:nvSpPr>
          <p:cNvPr id="28" name="object 28"/>
          <p:cNvSpPr/>
          <p:nvPr/>
        </p:nvSpPr>
        <p:spPr>
          <a:xfrm>
            <a:off x="9609679" y="2890051"/>
            <a:ext cx="185670" cy="1050902"/>
          </a:xfrm>
          <a:custGeom>
            <a:avLst/>
            <a:gdLst/>
            <a:ahLst/>
            <a:cxnLst/>
            <a:rect l="l" t="t" r="r" b="b"/>
            <a:pathLst>
              <a:path w="185670" h="1050902">
                <a:moveTo>
                  <a:pt x="122688" y="296742"/>
                </a:moveTo>
                <a:lnTo>
                  <a:pt x="132821" y="357548"/>
                </a:lnTo>
                <a:lnTo>
                  <a:pt x="139525" y="421238"/>
                </a:lnTo>
                <a:lnTo>
                  <a:pt x="145137" y="487810"/>
                </a:lnTo>
                <a:lnTo>
                  <a:pt x="148567" y="552961"/>
                </a:lnTo>
                <a:lnTo>
                  <a:pt x="147476" y="620995"/>
                </a:lnTo>
                <a:lnTo>
                  <a:pt x="142955" y="687567"/>
                </a:lnTo>
                <a:lnTo>
                  <a:pt x="135004" y="752718"/>
                </a:lnTo>
                <a:lnTo>
                  <a:pt x="122688" y="817849"/>
                </a:lnTo>
                <a:lnTo>
                  <a:pt x="117076" y="838111"/>
                </a:lnTo>
                <a:lnTo>
                  <a:pt x="96810" y="864179"/>
                </a:lnTo>
                <a:lnTo>
                  <a:pt x="68749" y="877193"/>
                </a:lnTo>
                <a:lnTo>
                  <a:pt x="54095" y="881538"/>
                </a:lnTo>
                <a:lnTo>
                  <a:pt x="39441" y="885883"/>
                </a:lnTo>
                <a:lnTo>
                  <a:pt x="25878" y="890228"/>
                </a:lnTo>
                <a:lnTo>
                  <a:pt x="21513" y="926407"/>
                </a:lnTo>
                <a:lnTo>
                  <a:pt x="16992" y="965497"/>
                </a:lnTo>
                <a:lnTo>
                  <a:pt x="10133" y="1006027"/>
                </a:lnTo>
                <a:lnTo>
                  <a:pt x="0" y="1050902"/>
                </a:lnTo>
                <a:lnTo>
                  <a:pt x="183487" y="1049455"/>
                </a:lnTo>
                <a:lnTo>
                  <a:pt x="185670" y="34737"/>
                </a:lnTo>
                <a:lnTo>
                  <a:pt x="177875" y="26048"/>
                </a:lnTo>
                <a:lnTo>
                  <a:pt x="168833" y="18820"/>
                </a:lnTo>
                <a:lnTo>
                  <a:pt x="158700" y="11572"/>
                </a:lnTo>
                <a:lnTo>
                  <a:pt x="147476" y="7247"/>
                </a:lnTo>
                <a:lnTo>
                  <a:pt x="136251" y="2903"/>
                </a:lnTo>
                <a:lnTo>
                  <a:pt x="124871" y="1441"/>
                </a:lnTo>
                <a:lnTo>
                  <a:pt x="114738" y="0"/>
                </a:lnTo>
                <a:lnTo>
                  <a:pt x="104760" y="1441"/>
                </a:lnTo>
                <a:lnTo>
                  <a:pt x="100240" y="5786"/>
                </a:lnTo>
                <a:lnTo>
                  <a:pt x="93380" y="8689"/>
                </a:lnTo>
                <a:lnTo>
                  <a:pt x="87768" y="10131"/>
                </a:lnTo>
                <a:lnTo>
                  <a:pt x="81065" y="11572"/>
                </a:lnTo>
                <a:lnTo>
                  <a:pt x="75452" y="14475"/>
                </a:lnTo>
                <a:lnTo>
                  <a:pt x="72023" y="17378"/>
                </a:lnTo>
                <a:lnTo>
                  <a:pt x="69840" y="23165"/>
                </a:lnTo>
                <a:lnTo>
                  <a:pt x="70931" y="30393"/>
                </a:lnTo>
                <a:lnTo>
                  <a:pt x="122688" y="296742"/>
                </a:lnTo>
                <a:close/>
              </a:path>
            </a:pathLst>
          </a:custGeom>
          <a:solidFill>
            <a:srgbClr val="FF5800"/>
          </a:solidFill>
        </p:spPr>
        <p:txBody>
          <a:bodyPr wrap="square" lIns="0" tIns="0" rIns="0" bIns="0" rtlCol="0">
            <a:noAutofit/>
          </a:bodyPr>
          <a:lstStyle/>
          <a:p>
            <a:endParaRPr/>
          </a:p>
        </p:txBody>
      </p:sp>
      <p:sp>
        <p:nvSpPr>
          <p:cNvPr id="29" name="object 29"/>
          <p:cNvSpPr/>
          <p:nvPr/>
        </p:nvSpPr>
        <p:spPr>
          <a:xfrm>
            <a:off x="8171071" y="2905969"/>
            <a:ext cx="393695" cy="580471"/>
          </a:xfrm>
          <a:custGeom>
            <a:avLst/>
            <a:gdLst/>
            <a:ahLst/>
            <a:cxnLst/>
            <a:rect l="l" t="t" r="r" b="b"/>
            <a:pathLst>
              <a:path w="393695" h="580471">
                <a:moveTo>
                  <a:pt x="271084" y="185281"/>
                </a:moveTo>
                <a:lnTo>
                  <a:pt x="272222" y="172267"/>
                </a:lnTo>
                <a:lnTo>
                  <a:pt x="278972" y="165019"/>
                </a:lnTo>
                <a:lnTo>
                  <a:pt x="286845" y="159233"/>
                </a:lnTo>
                <a:lnTo>
                  <a:pt x="293595" y="156329"/>
                </a:lnTo>
                <a:lnTo>
                  <a:pt x="301468" y="152005"/>
                </a:lnTo>
                <a:lnTo>
                  <a:pt x="295840" y="133184"/>
                </a:lnTo>
                <a:lnTo>
                  <a:pt x="289090" y="114364"/>
                </a:lnTo>
                <a:lnTo>
                  <a:pt x="282340" y="95543"/>
                </a:lnTo>
                <a:lnTo>
                  <a:pt x="275590" y="75281"/>
                </a:lnTo>
                <a:lnTo>
                  <a:pt x="268839" y="56461"/>
                </a:lnTo>
                <a:lnTo>
                  <a:pt x="262089" y="37640"/>
                </a:lnTo>
                <a:lnTo>
                  <a:pt x="255339" y="18820"/>
                </a:lnTo>
                <a:lnTo>
                  <a:pt x="248589" y="0"/>
                </a:lnTo>
                <a:lnTo>
                  <a:pt x="0" y="150543"/>
                </a:lnTo>
                <a:lnTo>
                  <a:pt x="146228" y="580471"/>
                </a:lnTo>
                <a:lnTo>
                  <a:pt x="393695" y="402417"/>
                </a:lnTo>
                <a:lnTo>
                  <a:pt x="388083" y="382155"/>
                </a:lnTo>
                <a:lnTo>
                  <a:pt x="381333" y="361893"/>
                </a:lnTo>
                <a:lnTo>
                  <a:pt x="374582" y="343073"/>
                </a:lnTo>
                <a:lnTo>
                  <a:pt x="367832" y="322811"/>
                </a:lnTo>
                <a:lnTo>
                  <a:pt x="361082" y="302548"/>
                </a:lnTo>
                <a:lnTo>
                  <a:pt x="353209" y="283728"/>
                </a:lnTo>
                <a:lnTo>
                  <a:pt x="346459" y="263446"/>
                </a:lnTo>
                <a:lnTo>
                  <a:pt x="339709" y="243184"/>
                </a:lnTo>
                <a:lnTo>
                  <a:pt x="331836" y="241742"/>
                </a:lnTo>
                <a:lnTo>
                  <a:pt x="323964" y="241742"/>
                </a:lnTo>
                <a:lnTo>
                  <a:pt x="316091" y="240301"/>
                </a:lnTo>
                <a:lnTo>
                  <a:pt x="308218" y="238839"/>
                </a:lnTo>
                <a:lnTo>
                  <a:pt x="300346" y="237398"/>
                </a:lnTo>
                <a:lnTo>
                  <a:pt x="293595" y="233053"/>
                </a:lnTo>
                <a:lnTo>
                  <a:pt x="286845" y="227267"/>
                </a:lnTo>
                <a:lnTo>
                  <a:pt x="282340" y="218577"/>
                </a:lnTo>
                <a:lnTo>
                  <a:pt x="276712" y="208446"/>
                </a:lnTo>
                <a:lnTo>
                  <a:pt x="273345" y="196874"/>
                </a:lnTo>
                <a:lnTo>
                  <a:pt x="271084" y="185281"/>
                </a:lnTo>
                <a:close/>
              </a:path>
            </a:pathLst>
          </a:custGeom>
          <a:solidFill>
            <a:srgbClr val="FFFFFF"/>
          </a:solidFill>
        </p:spPr>
        <p:txBody>
          <a:bodyPr wrap="square" lIns="0" tIns="0" rIns="0" bIns="0" rtlCol="0">
            <a:noAutofit/>
          </a:bodyPr>
          <a:lstStyle/>
          <a:p>
            <a:endParaRPr/>
          </a:p>
        </p:txBody>
      </p:sp>
      <p:sp>
        <p:nvSpPr>
          <p:cNvPr id="30" name="object 30"/>
          <p:cNvSpPr/>
          <p:nvPr/>
        </p:nvSpPr>
        <p:spPr>
          <a:xfrm>
            <a:off x="8470279" y="2997167"/>
            <a:ext cx="116983" cy="189626"/>
          </a:xfrm>
          <a:custGeom>
            <a:avLst/>
            <a:gdLst/>
            <a:ahLst/>
            <a:cxnLst/>
            <a:rect l="l" t="t" r="r" b="b"/>
            <a:pathLst>
              <a:path w="116983" h="189626">
                <a:moveTo>
                  <a:pt x="6750" y="86854"/>
                </a:moveTo>
                <a:lnTo>
                  <a:pt x="0" y="92640"/>
                </a:lnTo>
                <a:lnTo>
                  <a:pt x="9010" y="104233"/>
                </a:lnTo>
                <a:lnTo>
                  <a:pt x="19128" y="112902"/>
                </a:lnTo>
                <a:lnTo>
                  <a:pt x="30383" y="115805"/>
                </a:lnTo>
                <a:lnTo>
                  <a:pt x="41623" y="117247"/>
                </a:lnTo>
                <a:lnTo>
                  <a:pt x="52879" y="115805"/>
                </a:lnTo>
                <a:lnTo>
                  <a:pt x="65241" y="114364"/>
                </a:lnTo>
                <a:lnTo>
                  <a:pt x="76497" y="111461"/>
                </a:lnTo>
                <a:lnTo>
                  <a:pt x="87737" y="108558"/>
                </a:lnTo>
                <a:lnTo>
                  <a:pt x="91120" y="112902"/>
                </a:lnTo>
                <a:lnTo>
                  <a:pt x="92242" y="118689"/>
                </a:lnTo>
                <a:lnTo>
                  <a:pt x="92242" y="123033"/>
                </a:lnTo>
                <a:lnTo>
                  <a:pt x="91120" y="128840"/>
                </a:lnTo>
                <a:lnTo>
                  <a:pt x="85492" y="133164"/>
                </a:lnTo>
                <a:lnTo>
                  <a:pt x="79864" y="136067"/>
                </a:lnTo>
                <a:lnTo>
                  <a:pt x="74252" y="137509"/>
                </a:lnTo>
                <a:lnTo>
                  <a:pt x="68624" y="138971"/>
                </a:lnTo>
                <a:lnTo>
                  <a:pt x="87737" y="189626"/>
                </a:lnTo>
                <a:lnTo>
                  <a:pt x="93365" y="170805"/>
                </a:lnTo>
                <a:lnTo>
                  <a:pt x="100115" y="150543"/>
                </a:lnTo>
                <a:lnTo>
                  <a:pt x="104620" y="131723"/>
                </a:lnTo>
                <a:lnTo>
                  <a:pt x="110232" y="110019"/>
                </a:lnTo>
                <a:lnTo>
                  <a:pt x="113615" y="89757"/>
                </a:lnTo>
                <a:lnTo>
                  <a:pt x="115860" y="68033"/>
                </a:lnTo>
                <a:lnTo>
                  <a:pt x="116983" y="46330"/>
                </a:lnTo>
                <a:lnTo>
                  <a:pt x="115860" y="23165"/>
                </a:lnTo>
                <a:lnTo>
                  <a:pt x="105743" y="15917"/>
                </a:lnTo>
                <a:lnTo>
                  <a:pt x="94487" y="10131"/>
                </a:lnTo>
                <a:lnTo>
                  <a:pt x="82125" y="5786"/>
                </a:lnTo>
                <a:lnTo>
                  <a:pt x="69747" y="1441"/>
                </a:lnTo>
                <a:lnTo>
                  <a:pt x="57369" y="0"/>
                </a:lnTo>
                <a:lnTo>
                  <a:pt x="32628" y="0"/>
                </a:lnTo>
                <a:lnTo>
                  <a:pt x="20250" y="2903"/>
                </a:lnTo>
                <a:lnTo>
                  <a:pt x="21373" y="13034"/>
                </a:lnTo>
                <a:lnTo>
                  <a:pt x="24756" y="23165"/>
                </a:lnTo>
                <a:lnTo>
                  <a:pt x="29245" y="33296"/>
                </a:lnTo>
                <a:lnTo>
                  <a:pt x="32628" y="43427"/>
                </a:lnTo>
                <a:lnTo>
                  <a:pt x="38256" y="37640"/>
                </a:lnTo>
                <a:lnTo>
                  <a:pt x="45006" y="37640"/>
                </a:lnTo>
                <a:lnTo>
                  <a:pt x="51741" y="39082"/>
                </a:lnTo>
                <a:lnTo>
                  <a:pt x="58491" y="41985"/>
                </a:lnTo>
                <a:lnTo>
                  <a:pt x="55124" y="53558"/>
                </a:lnTo>
                <a:lnTo>
                  <a:pt x="48374" y="60806"/>
                </a:lnTo>
                <a:lnTo>
                  <a:pt x="41623" y="68033"/>
                </a:lnTo>
                <a:lnTo>
                  <a:pt x="32628" y="73820"/>
                </a:lnTo>
                <a:lnTo>
                  <a:pt x="23633" y="78164"/>
                </a:lnTo>
                <a:lnTo>
                  <a:pt x="15760" y="82509"/>
                </a:lnTo>
                <a:lnTo>
                  <a:pt x="6750" y="86854"/>
                </a:lnTo>
                <a:close/>
              </a:path>
            </a:pathLst>
          </a:custGeom>
          <a:solidFill>
            <a:srgbClr val="F1CCB1"/>
          </a:solidFill>
        </p:spPr>
        <p:txBody>
          <a:bodyPr wrap="square" lIns="0" tIns="0" rIns="0" bIns="0" rtlCol="0">
            <a:noAutofit/>
          </a:bodyPr>
          <a:lstStyle/>
          <a:p>
            <a:endParaRPr/>
          </a:p>
        </p:txBody>
      </p:sp>
      <p:sp>
        <p:nvSpPr>
          <p:cNvPr id="31" name="object 31"/>
          <p:cNvSpPr/>
          <p:nvPr/>
        </p:nvSpPr>
        <p:spPr>
          <a:xfrm>
            <a:off x="8041726" y="3105726"/>
            <a:ext cx="160851" cy="253315"/>
          </a:xfrm>
          <a:custGeom>
            <a:avLst/>
            <a:gdLst/>
            <a:ahLst/>
            <a:cxnLst/>
            <a:rect l="l" t="t" r="r" b="b"/>
            <a:pathLst>
              <a:path w="160851" h="253315">
                <a:moveTo>
                  <a:pt x="0" y="253315"/>
                </a:moveTo>
                <a:lnTo>
                  <a:pt x="160851" y="156350"/>
                </a:lnTo>
                <a:lnTo>
                  <a:pt x="105727" y="0"/>
                </a:lnTo>
                <a:lnTo>
                  <a:pt x="0" y="253315"/>
                </a:lnTo>
                <a:close/>
              </a:path>
            </a:pathLst>
          </a:custGeom>
          <a:solidFill>
            <a:srgbClr val="D7D7D7"/>
          </a:solidFill>
        </p:spPr>
        <p:txBody>
          <a:bodyPr wrap="square" lIns="0" tIns="0" rIns="0" bIns="0" rtlCol="0">
            <a:noAutofit/>
          </a:bodyPr>
          <a:lstStyle/>
          <a:p>
            <a:endParaRPr/>
          </a:p>
        </p:txBody>
      </p:sp>
      <p:sp>
        <p:nvSpPr>
          <p:cNvPr id="32" name="object 32"/>
          <p:cNvSpPr/>
          <p:nvPr/>
        </p:nvSpPr>
        <p:spPr>
          <a:xfrm>
            <a:off x="7703139" y="3251924"/>
            <a:ext cx="1267701" cy="686134"/>
          </a:xfrm>
          <a:custGeom>
            <a:avLst/>
            <a:gdLst/>
            <a:ahLst/>
            <a:cxnLst/>
            <a:rect l="l" t="t" r="r" b="b"/>
            <a:pathLst>
              <a:path w="1267701" h="686134">
                <a:moveTo>
                  <a:pt x="954993" y="314121"/>
                </a:moveTo>
                <a:lnTo>
                  <a:pt x="957237" y="298204"/>
                </a:lnTo>
                <a:lnTo>
                  <a:pt x="966248" y="286611"/>
                </a:lnTo>
                <a:lnTo>
                  <a:pt x="976366" y="279383"/>
                </a:lnTo>
                <a:lnTo>
                  <a:pt x="988744" y="275039"/>
                </a:lnTo>
                <a:lnTo>
                  <a:pt x="1001106" y="272135"/>
                </a:lnTo>
                <a:lnTo>
                  <a:pt x="1014607" y="270694"/>
                </a:lnTo>
                <a:lnTo>
                  <a:pt x="1028107" y="269252"/>
                </a:lnTo>
                <a:lnTo>
                  <a:pt x="1041607" y="267791"/>
                </a:lnTo>
                <a:lnTo>
                  <a:pt x="1053985" y="264908"/>
                </a:lnTo>
                <a:lnTo>
                  <a:pt x="1067486" y="250432"/>
                </a:lnTo>
                <a:lnTo>
                  <a:pt x="976366" y="50675"/>
                </a:lnTo>
                <a:lnTo>
                  <a:pt x="971860" y="28951"/>
                </a:lnTo>
                <a:lnTo>
                  <a:pt x="963988" y="14475"/>
                </a:lnTo>
                <a:lnTo>
                  <a:pt x="952748" y="5806"/>
                </a:lnTo>
                <a:lnTo>
                  <a:pt x="939247" y="1461"/>
                </a:lnTo>
                <a:lnTo>
                  <a:pt x="924624" y="0"/>
                </a:lnTo>
                <a:lnTo>
                  <a:pt x="908879" y="1461"/>
                </a:lnTo>
                <a:lnTo>
                  <a:pt x="879633" y="1461"/>
                </a:lnTo>
                <a:lnTo>
                  <a:pt x="880756" y="4344"/>
                </a:lnTo>
                <a:lnTo>
                  <a:pt x="884123" y="13034"/>
                </a:lnTo>
                <a:lnTo>
                  <a:pt x="889751" y="24606"/>
                </a:lnTo>
                <a:lnTo>
                  <a:pt x="894256" y="39082"/>
                </a:lnTo>
                <a:lnTo>
                  <a:pt x="898746" y="53558"/>
                </a:lnTo>
                <a:lnTo>
                  <a:pt x="901006" y="66592"/>
                </a:lnTo>
                <a:lnTo>
                  <a:pt x="901006" y="75281"/>
                </a:lnTo>
                <a:lnTo>
                  <a:pt x="897623" y="81068"/>
                </a:lnTo>
                <a:lnTo>
                  <a:pt x="604043" y="295301"/>
                </a:lnTo>
                <a:lnTo>
                  <a:pt x="598415" y="285170"/>
                </a:lnTo>
                <a:lnTo>
                  <a:pt x="587176" y="256218"/>
                </a:lnTo>
                <a:lnTo>
                  <a:pt x="572553" y="217136"/>
                </a:lnTo>
                <a:lnTo>
                  <a:pt x="556792" y="172267"/>
                </a:lnTo>
                <a:lnTo>
                  <a:pt x="541046" y="127398"/>
                </a:lnTo>
                <a:lnTo>
                  <a:pt x="527546" y="88316"/>
                </a:lnTo>
                <a:lnTo>
                  <a:pt x="517428" y="59364"/>
                </a:lnTo>
                <a:lnTo>
                  <a:pt x="514061" y="49233"/>
                </a:lnTo>
                <a:lnTo>
                  <a:pt x="311586" y="170825"/>
                </a:lnTo>
                <a:lnTo>
                  <a:pt x="303713" y="173708"/>
                </a:lnTo>
                <a:lnTo>
                  <a:pt x="295840" y="172267"/>
                </a:lnTo>
                <a:lnTo>
                  <a:pt x="289090" y="167922"/>
                </a:lnTo>
                <a:lnTo>
                  <a:pt x="282340" y="162136"/>
                </a:lnTo>
                <a:lnTo>
                  <a:pt x="287968" y="143315"/>
                </a:lnTo>
                <a:lnTo>
                  <a:pt x="294702" y="123053"/>
                </a:lnTo>
                <a:lnTo>
                  <a:pt x="300330" y="104233"/>
                </a:lnTo>
                <a:lnTo>
                  <a:pt x="307080" y="85412"/>
                </a:lnTo>
                <a:lnTo>
                  <a:pt x="313830" y="66592"/>
                </a:lnTo>
                <a:lnTo>
                  <a:pt x="320581" y="49233"/>
                </a:lnTo>
                <a:lnTo>
                  <a:pt x="327331" y="30413"/>
                </a:lnTo>
                <a:lnTo>
                  <a:pt x="334081" y="11592"/>
                </a:lnTo>
                <a:lnTo>
                  <a:pt x="312708" y="14475"/>
                </a:lnTo>
                <a:lnTo>
                  <a:pt x="290212" y="13034"/>
                </a:lnTo>
                <a:lnTo>
                  <a:pt x="266594" y="10151"/>
                </a:lnTo>
                <a:lnTo>
                  <a:pt x="242961" y="8689"/>
                </a:lnTo>
                <a:lnTo>
                  <a:pt x="220465" y="8689"/>
                </a:lnTo>
                <a:lnTo>
                  <a:pt x="200230" y="15937"/>
                </a:lnTo>
                <a:lnTo>
                  <a:pt x="181102" y="30413"/>
                </a:lnTo>
                <a:lnTo>
                  <a:pt x="165357" y="53558"/>
                </a:lnTo>
                <a:lnTo>
                  <a:pt x="219343" y="53558"/>
                </a:lnTo>
                <a:lnTo>
                  <a:pt x="231721" y="85412"/>
                </a:lnTo>
                <a:lnTo>
                  <a:pt x="242961" y="124495"/>
                </a:lnTo>
                <a:lnTo>
                  <a:pt x="249711" y="157791"/>
                </a:lnTo>
                <a:lnTo>
                  <a:pt x="251972" y="170825"/>
                </a:lnTo>
                <a:lnTo>
                  <a:pt x="244099" y="172267"/>
                </a:lnTo>
                <a:lnTo>
                  <a:pt x="235088" y="173708"/>
                </a:lnTo>
                <a:lnTo>
                  <a:pt x="222726" y="175150"/>
                </a:lnTo>
                <a:lnTo>
                  <a:pt x="210348" y="176612"/>
                </a:lnTo>
                <a:lnTo>
                  <a:pt x="195725" y="178053"/>
                </a:lnTo>
                <a:lnTo>
                  <a:pt x="181102" y="178053"/>
                </a:lnTo>
                <a:lnTo>
                  <a:pt x="166479" y="179495"/>
                </a:lnTo>
                <a:lnTo>
                  <a:pt x="120366" y="179495"/>
                </a:lnTo>
                <a:lnTo>
                  <a:pt x="106865" y="178053"/>
                </a:lnTo>
                <a:lnTo>
                  <a:pt x="93365" y="178053"/>
                </a:lnTo>
                <a:lnTo>
                  <a:pt x="82109" y="176612"/>
                </a:lnTo>
                <a:lnTo>
                  <a:pt x="71990" y="173708"/>
                </a:lnTo>
                <a:lnTo>
                  <a:pt x="64116" y="172267"/>
                </a:lnTo>
                <a:lnTo>
                  <a:pt x="58491" y="169364"/>
                </a:lnTo>
                <a:lnTo>
                  <a:pt x="74236" y="70937"/>
                </a:lnTo>
                <a:lnTo>
                  <a:pt x="77619" y="60806"/>
                </a:lnTo>
                <a:lnTo>
                  <a:pt x="84370" y="53558"/>
                </a:lnTo>
                <a:lnTo>
                  <a:pt x="93365" y="50675"/>
                </a:lnTo>
                <a:lnTo>
                  <a:pt x="103482" y="52116"/>
                </a:lnTo>
                <a:lnTo>
                  <a:pt x="109110" y="46330"/>
                </a:lnTo>
                <a:lnTo>
                  <a:pt x="113615" y="37640"/>
                </a:lnTo>
                <a:lnTo>
                  <a:pt x="116983" y="26068"/>
                </a:lnTo>
                <a:lnTo>
                  <a:pt x="120366" y="17378"/>
                </a:lnTo>
                <a:lnTo>
                  <a:pt x="1125" y="14475"/>
                </a:lnTo>
                <a:lnTo>
                  <a:pt x="0" y="438616"/>
                </a:lnTo>
                <a:lnTo>
                  <a:pt x="164234" y="214232"/>
                </a:lnTo>
                <a:lnTo>
                  <a:pt x="182224" y="212791"/>
                </a:lnTo>
                <a:lnTo>
                  <a:pt x="200230" y="209908"/>
                </a:lnTo>
                <a:lnTo>
                  <a:pt x="218220" y="209908"/>
                </a:lnTo>
                <a:lnTo>
                  <a:pt x="236211" y="208446"/>
                </a:lnTo>
                <a:lnTo>
                  <a:pt x="346459" y="208446"/>
                </a:lnTo>
                <a:lnTo>
                  <a:pt x="364449" y="209908"/>
                </a:lnTo>
                <a:lnTo>
                  <a:pt x="400445" y="209908"/>
                </a:lnTo>
                <a:lnTo>
                  <a:pt x="418435" y="208446"/>
                </a:lnTo>
                <a:lnTo>
                  <a:pt x="436441" y="208446"/>
                </a:lnTo>
                <a:lnTo>
                  <a:pt x="453309" y="207005"/>
                </a:lnTo>
                <a:lnTo>
                  <a:pt x="452187" y="224383"/>
                </a:lnTo>
                <a:lnTo>
                  <a:pt x="448819" y="241742"/>
                </a:lnTo>
                <a:lnTo>
                  <a:pt x="444314" y="257660"/>
                </a:lnTo>
                <a:lnTo>
                  <a:pt x="439809" y="275039"/>
                </a:lnTo>
                <a:lnTo>
                  <a:pt x="434196" y="292397"/>
                </a:lnTo>
                <a:lnTo>
                  <a:pt x="428569" y="308335"/>
                </a:lnTo>
                <a:lnTo>
                  <a:pt x="424063" y="325694"/>
                </a:lnTo>
                <a:lnTo>
                  <a:pt x="419574" y="343073"/>
                </a:lnTo>
                <a:lnTo>
                  <a:pt x="509556" y="590596"/>
                </a:lnTo>
                <a:lnTo>
                  <a:pt x="502805" y="596386"/>
                </a:lnTo>
                <a:lnTo>
                  <a:pt x="496055" y="600729"/>
                </a:lnTo>
                <a:lnTo>
                  <a:pt x="488183" y="602176"/>
                </a:lnTo>
                <a:lnTo>
                  <a:pt x="480310" y="603624"/>
                </a:lnTo>
                <a:lnTo>
                  <a:pt x="472437" y="605071"/>
                </a:lnTo>
                <a:lnTo>
                  <a:pt x="464565" y="606519"/>
                </a:lnTo>
                <a:lnTo>
                  <a:pt x="456692" y="607967"/>
                </a:lnTo>
                <a:lnTo>
                  <a:pt x="448819" y="609414"/>
                </a:lnTo>
                <a:lnTo>
                  <a:pt x="474682" y="686134"/>
                </a:lnTo>
                <a:lnTo>
                  <a:pt x="1267701" y="684686"/>
                </a:lnTo>
                <a:lnTo>
                  <a:pt x="1258706" y="667315"/>
                </a:lnTo>
                <a:lnTo>
                  <a:pt x="1249711" y="649944"/>
                </a:lnTo>
                <a:lnTo>
                  <a:pt x="1241838" y="632575"/>
                </a:lnTo>
                <a:lnTo>
                  <a:pt x="1233950" y="615204"/>
                </a:lnTo>
                <a:lnTo>
                  <a:pt x="1226077" y="599281"/>
                </a:lnTo>
                <a:lnTo>
                  <a:pt x="1218205" y="581912"/>
                </a:lnTo>
                <a:lnTo>
                  <a:pt x="1210332" y="564533"/>
                </a:lnTo>
                <a:lnTo>
                  <a:pt x="1202459" y="547175"/>
                </a:lnTo>
                <a:lnTo>
                  <a:pt x="1196831" y="552961"/>
                </a:lnTo>
                <a:lnTo>
                  <a:pt x="1191219" y="557306"/>
                </a:lnTo>
                <a:lnTo>
                  <a:pt x="1185591" y="560189"/>
                </a:lnTo>
                <a:lnTo>
                  <a:pt x="1179964" y="563092"/>
                </a:lnTo>
                <a:lnTo>
                  <a:pt x="1173213" y="565995"/>
                </a:lnTo>
                <a:lnTo>
                  <a:pt x="1160835" y="565995"/>
                </a:lnTo>
                <a:lnTo>
                  <a:pt x="1155223" y="564533"/>
                </a:lnTo>
                <a:lnTo>
                  <a:pt x="1156346" y="583354"/>
                </a:lnTo>
                <a:lnTo>
                  <a:pt x="1155223" y="603624"/>
                </a:lnTo>
                <a:lnTo>
                  <a:pt x="1152963" y="623890"/>
                </a:lnTo>
                <a:lnTo>
                  <a:pt x="1148473" y="642706"/>
                </a:lnTo>
                <a:lnTo>
                  <a:pt x="735649" y="665868"/>
                </a:lnTo>
                <a:lnTo>
                  <a:pt x="724394" y="654287"/>
                </a:lnTo>
                <a:lnTo>
                  <a:pt x="709771" y="634023"/>
                </a:lnTo>
                <a:lnTo>
                  <a:pt x="691781" y="606519"/>
                </a:lnTo>
                <a:lnTo>
                  <a:pt x="673790" y="576126"/>
                </a:lnTo>
                <a:lnTo>
                  <a:pt x="656907" y="542830"/>
                </a:lnTo>
                <a:lnTo>
                  <a:pt x="642284" y="510975"/>
                </a:lnTo>
                <a:lnTo>
                  <a:pt x="631044" y="483485"/>
                </a:lnTo>
                <a:lnTo>
                  <a:pt x="625416" y="460320"/>
                </a:lnTo>
                <a:lnTo>
                  <a:pt x="623172" y="431369"/>
                </a:lnTo>
                <a:lnTo>
                  <a:pt x="622033" y="400976"/>
                </a:lnTo>
                <a:lnTo>
                  <a:pt x="624294" y="373466"/>
                </a:lnTo>
                <a:lnTo>
                  <a:pt x="633289" y="348859"/>
                </a:lnTo>
                <a:lnTo>
                  <a:pt x="952748" y="374907"/>
                </a:lnTo>
                <a:lnTo>
                  <a:pt x="970738" y="354645"/>
                </a:lnTo>
                <a:lnTo>
                  <a:pt x="962865" y="343073"/>
                </a:lnTo>
                <a:lnTo>
                  <a:pt x="957237" y="330038"/>
                </a:lnTo>
                <a:lnTo>
                  <a:pt x="954993" y="314121"/>
                </a:lnTo>
                <a:close/>
              </a:path>
            </a:pathLst>
          </a:custGeom>
          <a:solidFill>
            <a:srgbClr val="A8B97B"/>
          </a:solidFill>
        </p:spPr>
        <p:txBody>
          <a:bodyPr wrap="square" lIns="0" tIns="0" rIns="0" bIns="0" rtlCol="0">
            <a:noAutofit/>
          </a:bodyPr>
          <a:lstStyle/>
          <a:p>
            <a:endParaRPr/>
          </a:p>
        </p:txBody>
      </p:sp>
      <p:sp>
        <p:nvSpPr>
          <p:cNvPr id="33" name="object 33"/>
          <p:cNvSpPr/>
          <p:nvPr/>
        </p:nvSpPr>
        <p:spPr>
          <a:xfrm>
            <a:off x="7839250" y="3225876"/>
            <a:ext cx="47235" cy="66592"/>
          </a:xfrm>
          <a:custGeom>
            <a:avLst/>
            <a:gdLst/>
            <a:ahLst/>
            <a:cxnLst/>
            <a:rect l="l" t="t" r="r" b="b"/>
            <a:pathLst>
              <a:path w="47235" h="66592">
                <a:moveTo>
                  <a:pt x="47235" y="7247"/>
                </a:moveTo>
                <a:lnTo>
                  <a:pt x="35996" y="0"/>
                </a:lnTo>
                <a:lnTo>
                  <a:pt x="26985" y="1441"/>
                </a:lnTo>
                <a:lnTo>
                  <a:pt x="20235" y="7247"/>
                </a:lnTo>
                <a:lnTo>
                  <a:pt x="15745" y="18820"/>
                </a:lnTo>
                <a:lnTo>
                  <a:pt x="11239" y="31854"/>
                </a:lnTo>
                <a:lnTo>
                  <a:pt x="7872" y="44868"/>
                </a:lnTo>
                <a:lnTo>
                  <a:pt x="4489" y="56461"/>
                </a:lnTo>
                <a:lnTo>
                  <a:pt x="0" y="66592"/>
                </a:lnTo>
                <a:lnTo>
                  <a:pt x="8995" y="60806"/>
                </a:lnTo>
                <a:lnTo>
                  <a:pt x="16867" y="54999"/>
                </a:lnTo>
                <a:lnTo>
                  <a:pt x="24740" y="50655"/>
                </a:lnTo>
                <a:lnTo>
                  <a:pt x="31490" y="43427"/>
                </a:lnTo>
                <a:lnTo>
                  <a:pt x="37118" y="37640"/>
                </a:lnTo>
                <a:lnTo>
                  <a:pt x="42746" y="28951"/>
                </a:lnTo>
                <a:lnTo>
                  <a:pt x="44991" y="18820"/>
                </a:lnTo>
                <a:lnTo>
                  <a:pt x="47235" y="7247"/>
                </a:lnTo>
                <a:close/>
              </a:path>
            </a:pathLst>
          </a:custGeom>
          <a:solidFill>
            <a:srgbClr val="FFEE7B"/>
          </a:solidFill>
        </p:spPr>
        <p:txBody>
          <a:bodyPr wrap="square" lIns="0" tIns="0" rIns="0" bIns="0" rtlCol="0">
            <a:noAutofit/>
          </a:bodyPr>
          <a:lstStyle/>
          <a:p>
            <a:endParaRPr/>
          </a:p>
        </p:txBody>
      </p:sp>
      <p:sp>
        <p:nvSpPr>
          <p:cNvPr id="34" name="object 34"/>
          <p:cNvSpPr/>
          <p:nvPr/>
        </p:nvSpPr>
        <p:spPr>
          <a:xfrm>
            <a:off x="8668264" y="3522619"/>
            <a:ext cx="366694" cy="266349"/>
          </a:xfrm>
          <a:custGeom>
            <a:avLst/>
            <a:gdLst/>
            <a:ahLst/>
            <a:cxnLst/>
            <a:rect l="l" t="t" r="r" b="b"/>
            <a:pathLst>
              <a:path w="366694" h="266349">
                <a:moveTo>
                  <a:pt x="151841" y="115805"/>
                </a:moveTo>
                <a:lnTo>
                  <a:pt x="159713" y="107116"/>
                </a:lnTo>
                <a:lnTo>
                  <a:pt x="168724" y="101330"/>
                </a:lnTo>
                <a:lnTo>
                  <a:pt x="169846" y="115805"/>
                </a:lnTo>
                <a:lnTo>
                  <a:pt x="166463" y="130281"/>
                </a:lnTo>
                <a:lnTo>
                  <a:pt x="159713" y="141854"/>
                </a:lnTo>
                <a:lnTo>
                  <a:pt x="151841" y="153446"/>
                </a:lnTo>
                <a:lnTo>
                  <a:pt x="142845" y="163577"/>
                </a:lnTo>
                <a:lnTo>
                  <a:pt x="136095" y="175150"/>
                </a:lnTo>
                <a:lnTo>
                  <a:pt x="132728" y="188184"/>
                </a:lnTo>
                <a:lnTo>
                  <a:pt x="133850" y="202660"/>
                </a:lnTo>
                <a:lnTo>
                  <a:pt x="141723" y="202660"/>
                </a:lnTo>
                <a:lnTo>
                  <a:pt x="147351" y="199757"/>
                </a:lnTo>
                <a:lnTo>
                  <a:pt x="154101" y="193970"/>
                </a:lnTo>
                <a:lnTo>
                  <a:pt x="158591" y="185281"/>
                </a:lnTo>
                <a:lnTo>
                  <a:pt x="164219" y="175150"/>
                </a:lnTo>
                <a:lnTo>
                  <a:pt x="168724" y="165019"/>
                </a:lnTo>
                <a:lnTo>
                  <a:pt x="174336" y="156329"/>
                </a:lnTo>
                <a:lnTo>
                  <a:pt x="179964" y="147640"/>
                </a:lnTo>
                <a:lnTo>
                  <a:pt x="190097" y="156329"/>
                </a:lnTo>
                <a:lnTo>
                  <a:pt x="192342" y="166461"/>
                </a:lnTo>
                <a:lnTo>
                  <a:pt x="190097" y="176592"/>
                </a:lnTo>
                <a:lnTo>
                  <a:pt x="185592" y="189626"/>
                </a:lnTo>
                <a:lnTo>
                  <a:pt x="178841" y="202660"/>
                </a:lnTo>
                <a:lnTo>
                  <a:pt x="172091" y="215674"/>
                </a:lnTo>
                <a:lnTo>
                  <a:pt x="167601" y="230150"/>
                </a:lnTo>
                <a:lnTo>
                  <a:pt x="167601" y="243184"/>
                </a:lnTo>
                <a:lnTo>
                  <a:pt x="169846" y="248970"/>
                </a:lnTo>
                <a:lnTo>
                  <a:pt x="173214" y="253315"/>
                </a:lnTo>
                <a:lnTo>
                  <a:pt x="177719" y="257660"/>
                </a:lnTo>
                <a:lnTo>
                  <a:pt x="182224" y="262004"/>
                </a:lnTo>
                <a:lnTo>
                  <a:pt x="186714" y="264888"/>
                </a:lnTo>
                <a:lnTo>
                  <a:pt x="192342" y="266349"/>
                </a:lnTo>
                <a:lnTo>
                  <a:pt x="197970" y="266349"/>
                </a:lnTo>
                <a:lnTo>
                  <a:pt x="203597" y="264888"/>
                </a:lnTo>
                <a:lnTo>
                  <a:pt x="209210" y="262004"/>
                </a:lnTo>
                <a:lnTo>
                  <a:pt x="214837" y="256218"/>
                </a:lnTo>
                <a:lnTo>
                  <a:pt x="219343" y="247529"/>
                </a:lnTo>
                <a:lnTo>
                  <a:pt x="221588" y="238839"/>
                </a:lnTo>
                <a:lnTo>
                  <a:pt x="215960" y="241742"/>
                </a:lnTo>
                <a:lnTo>
                  <a:pt x="210332" y="247529"/>
                </a:lnTo>
                <a:lnTo>
                  <a:pt x="204720" y="250412"/>
                </a:lnTo>
                <a:lnTo>
                  <a:pt x="197970" y="248970"/>
                </a:lnTo>
                <a:lnTo>
                  <a:pt x="194587" y="243184"/>
                </a:lnTo>
                <a:lnTo>
                  <a:pt x="194587" y="228708"/>
                </a:lnTo>
                <a:lnTo>
                  <a:pt x="193464" y="222922"/>
                </a:lnTo>
                <a:lnTo>
                  <a:pt x="214837" y="212791"/>
                </a:lnTo>
                <a:lnTo>
                  <a:pt x="237333" y="208446"/>
                </a:lnTo>
                <a:lnTo>
                  <a:pt x="259829" y="207005"/>
                </a:lnTo>
                <a:lnTo>
                  <a:pt x="303697" y="207005"/>
                </a:lnTo>
                <a:lnTo>
                  <a:pt x="323948" y="205543"/>
                </a:lnTo>
                <a:lnTo>
                  <a:pt x="344199" y="198315"/>
                </a:lnTo>
                <a:lnTo>
                  <a:pt x="362189" y="183839"/>
                </a:lnTo>
                <a:lnTo>
                  <a:pt x="366694" y="157771"/>
                </a:lnTo>
                <a:lnTo>
                  <a:pt x="366694" y="131723"/>
                </a:lnTo>
                <a:lnTo>
                  <a:pt x="363311" y="105674"/>
                </a:lnTo>
                <a:lnTo>
                  <a:pt x="358821" y="81068"/>
                </a:lnTo>
                <a:lnTo>
                  <a:pt x="346443" y="72378"/>
                </a:lnTo>
                <a:lnTo>
                  <a:pt x="334065" y="66592"/>
                </a:lnTo>
                <a:lnTo>
                  <a:pt x="321703" y="59344"/>
                </a:lnTo>
                <a:lnTo>
                  <a:pt x="308203" y="54999"/>
                </a:lnTo>
                <a:lnTo>
                  <a:pt x="294702" y="49213"/>
                </a:lnTo>
                <a:lnTo>
                  <a:pt x="282324" y="44868"/>
                </a:lnTo>
                <a:lnTo>
                  <a:pt x="268824" y="39082"/>
                </a:lnTo>
                <a:lnTo>
                  <a:pt x="255339" y="33296"/>
                </a:lnTo>
                <a:lnTo>
                  <a:pt x="239578" y="27509"/>
                </a:lnTo>
                <a:lnTo>
                  <a:pt x="223833" y="21703"/>
                </a:lnTo>
                <a:lnTo>
                  <a:pt x="208087" y="15917"/>
                </a:lnTo>
                <a:lnTo>
                  <a:pt x="191219" y="10131"/>
                </a:lnTo>
                <a:lnTo>
                  <a:pt x="174336" y="5786"/>
                </a:lnTo>
                <a:lnTo>
                  <a:pt x="158591" y="2903"/>
                </a:lnTo>
                <a:lnTo>
                  <a:pt x="142845" y="0"/>
                </a:lnTo>
                <a:lnTo>
                  <a:pt x="127100" y="0"/>
                </a:lnTo>
                <a:lnTo>
                  <a:pt x="0" y="140412"/>
                </a:lnTo>
                <a:lnTo>
                  <a:pt x="6734" y="144757"/>
                </a:lnTo>
                <a:lnTo>
                  <a:pt x="13484" y="146198"/>
                </a:lnTo>
                <a:lnTo>
                  <a:pt x="21357" y="146198"/>
                </a:lnTo>
                <a:lnTo>
                  <a:pt x="28107" y="144757"/>
                </a:lnTo>
                <a:lnTo>
                  <a:pt x="34857" y="141854"/>
                </a:lnTo>
                <a:lnTo>
                  <a:pt x="41608" y="140412"/>
                </a:lnTo>
                <a:lnTo>
                  <a:pt x="48358" y="137509"/>
                </a:lnTo>
                <a:lnTo>
                  <a:pt x="55108" y="134626"/>
                </a:lnTo>
                <a:lnTo>
                  <a:pt x="67486" y="124495"/>
                </a:lnTo>
                <a:lnTo>
                  <a:pt x="78726" y="114364"/>
                </a:lnTo>
                <a:lnTo>
                  <a:pt x="89982" y="102771"/>
                </a:lnTo>
                <a:lnTo>
                  <a:pt x="101222" y="89737"/>
                </a:lnTo>
                <a:lnTo>
                  <a:pt x="112477" y="79606"/>
                </a:lnTo>
                <a:lnTo>
                  <a:pt x="124855" y="68033"/>
                </a:lnTo>
                <a:lnTo>
                  <a:pt x="137218" y="59344"/>
                </a:lnTo>
                <a:lnTo>
                  <a:pt x="149596" y="50655"/>
                </a:lnTo>
                <a:lnTo>
                  <a:pt x="152979" y="54999"/>
                </a:lnTo>
                <a:lnTo>
                  <a:pt x="154101" y="60806"/>
                </a:lnTo>
                <a:lnTo>
                  <a:pt x="154101" y="65130"/>
                </a:lnTo>
                <a:lnTo>
                  <a:pt x="152979" y="70937"/>
                </a:lnTo>
                <a:lnTo>
                  <a:pt x="142845" y="79606"/>
                </a:lnTo>
                <a:lnTo>
                  <a:pt x="132728" y="89737"/>
                </a:lnTo>
                <a:lnTo>
                  <a:pt x="123733" y="99888"/>
                </a:lnTo>
                <a:lnTo>
                  <a:pt x="115845" y="111461"/>
                </a:lnTo>
                <a:lnTo>
                  <a:pt x="109110" y="124495"/>
                </a:lnTo>
                <a:lnTo>
                  <a:pt x="103482" y="136067"/>
                </a:lnTo>
                <a:lnTo>
                  <a:pt x="98977" y="149102"/>
                </a:lnTo>
                <a:lnTo>
                  <a:pt x="97854" y="163577"/>
                </a:lnTo>
                <a:lnTo>
                  <a:pt x="109110" y="162116"/>
                </a:lnTo>
                <a:lnTo>
                  <a:pt x="119227" y="157771"/>
                </a:lnTo>
                <a:lnTo>
                  <a:pt x="128223" y="149102"/>
                </a:lnTo>
                <a:lnTo>
                  <a:pt x="136095" y="137509"/>
                </a:lnTo>
                <a:lnTo>
                  <a:pt x="143968" y="125936"/>
                </a:lnTo>
                <a:lnTo>
                  <a:pt x="151841" y="115805"/>
                </a:lnTo>
                <a:close/>
              </a:path>
            </a:pathLst>
          </a:custGeom>
          <a:solidFill>
            <a:srgbClr val="F1CCB1"/>
          </a:solidFill>
        </p:spPr>
        <p:txBody>
          <a:bodyPr wrap="square" lIns="0" tIns="0" rIns="0" bIns="0" rtlCol="0">
            <a:noAutofit/>
          </a:bodyPr>
          <a:lstStyle/>
          <a:p>
            <a:endParaRPr/>
          </a:p>
        </p:txBody>
      </p:sp>
      <p:sp>
        <p:nvSpPr>
          <p:cNvPr id="35" name="object 35"/>
          <p:cNvSpPr/>
          <p:nvPr/>
        </p:nvSpPr>
        <p:spPr>
          <a:xfrm>
            <a:off x="8686254" y="3551571"/>
            <a:ext cx="48374" cy="34737"/>
          </a:xfrm>
          <a:custGeom>
            <a:avLst/>
            <a:gdLst/>
            <a:ahLst/>
            <a:cxnLst/>
            <a:rect l="l" t="t" r="r" b="b"/>
            <a:pathLst>
              <a:path w="48374" h="34737">
                <a:moveTo>
                  <a:pt x="48374" y="0"/>
                </a:moveTo>
                <a:lnTo>
                  <a:pt x="37118" y="0"/>
                </a:lnTo>
                <a:lnTo>
                  <a:pt x="30368" y="1441"/>
                </a:lnTo>
                <a:lnTo>
                  <a:pt x="23617" y="2903"/>
                </a:lnTo>
                <a:lnTo>
                  <a:pt x="16867" y="4344"/>
                </a:lnTo>
                <a:lnTo>
                  <a:pt x="10117" y="5786"/>
                </a:lnTo>
                <a:lnTo>
                  <a:pt x="4505" y="8689"/>
                </a:lnTo>
                <a:lnTo>
                  <a:pt x="0" y="10131"/>
                </a:lnTo>
                <a:lnTo>
                  <a:pt x="8995" y="34737"/>
                </a:lnTo>
                <a:lnTo>
                  <a:pt x="48374" y="0"/>
                </a:lnTo>
                <a:close/>
              </a:path>
            </a:pathLst>
          </a:custGeom>
          <a:solidFill>
            <a:srgbClr val="F1CCB1"/>
          </a:solidFill>
        </p:spPr>
        <p:txBody>
          <a:bodyPr wrap="square" lIns="0" tIns="0" rIns="0" bIns="0" rtlCol="0">
            <a:noAutofit/>
          </a:bodyPr>
          <a:lstStyle/>
          <a:p>
            <a:endParaRPr/>
          </a:p>
        </p:txBody>
      </p:sp>
      <p:sp>
        <p:nvSpPr>
          <p:cNvPr id="36" name="object 36"/>
          <p:cNvSpPr/>
          <p:nvPr/>
        </p:nvSpPr>
        <p:spPr>
          <a:xfrm>
            <a:off x="7663768" y="3503799"/>
            <a:ext cx="412814" cy="293859"/>
          </a:xfrm>
          <a:custGeom>
            <a:avLst/>
            <a:gdLst/>
            <a:ahLst/>
            <a:cxnLst/>
            <a:rect l="l" t="t" r="r" b="b"/>
            <a:pathLst>
              <a:path w="412814" h="293859">
                <a:moveTo>
                  <a:pt x="269968" y="150543"/>
                </a:moveTo>
                <a:lnTo>
                  <a:pt x="258712" y="128840"/>
                </a:lnTo>
                <a:lnTo>
                  <a:pt x="246334" y="107116"/>
                </a:lnTo>
                <a:lnTo>
                  <a:pt x="250840" y="104233"/>
                </a:lnTo>
                <a:lnTo>
                  <a:pt x="264340" y="94082"/>
                </a:lnTo>
                <a:lnTo>
                  <a:pt x="284591" y="81068"/>
                </a:lnTo>
                <a:lnTo>
                  <a:pt x="308209" y="63689"/>
                </a:lnTo>
                <a:lnTo>
                  <a:pt x="335210" y="46330"/>
                </a:lnTo>
                <a:lnTo>
                  <a:pt x="363317" y="28951"/>
                </a:lnTo>
                <a:lnTo>
                  <a:pt x="389196" y="13034"/>
                </a:lnTo>
                <a:lnTo>
                  <a:pt x="412814" y="1441"/>
                </a:lnTo>
                <a:lnTo>
                  <a:pt x="213721" y="0"/>
                </a:lnTo>
                <a:lnTo>
                  <a:pt x="0" y="293859"/>
                </a:lnTo>
                <a:lnTo>
                  <a:pt x="4499" y="293859"/>
                </a:lnTo>
                <a:lnTo>
                  <a:pt x="15748" y="292397"/>
                </a:lnTo>
                <a:lnTo>
                  <a:pt x="33744" y="292397"/>
                </a:lnTo>
                <a:lnTo>
                  <a:pt x="55118" y="290956"/>
                </a:lnTo>
                <a:lnTo>
                  <a:pt x="80988" y="290956"/>
                </a:lnTo>
                <a:lnTo>
                  <a:pt x="110234" y="289514"/>
                </a:lnTo>
                <a:lnTo>
                  <a:pt x="140607" y="289514"/>
                </a:lnTo>
                <a:lnTo>
                  <a:pt x="173220" y="288053"/>
                </a:lnTo>
                <a:lnTo>
                  <a:pt x="204726" y="288053"/>
                </a:lnTo>
                <a:lnTo>
                  <a:pt x="235094" y="286611"/>
                </a:lnTo>
                <a:lnTo>
                  <a:pt x="263218" y="285170"/>
                </a:lnTo>
                <a:lnTo>
                  <a:pt x="310454" y="285170"/>
                </a:lnTo>
                <a:lnTo>
                  <a:pt x="327337" y="283708"/>
                </a:lnTo>
                <a:lnTo>
                  <a:pt x="341960" y="283708"/>
                </a:lnTo>
                <a:lnTo>
                  <a:pt x="328460" y="262004"/>
                </a:lnTo>
                <a:lnTo>
                  <a:pt x="316081" y="240301"/>
                </a:lnTo>
                <a:lnTo>
                  <a:pt x="304826" y="217136"/>
                </a:lnTo>
                <a:lnTo>
                  <a:pt x="292464" y="195412"/>
                </a:lnTo>
                <a:lnTo>
                  <a:pt x="281208" y="173708"/>
                </a:lnTo>
                <a:lnTo>
                  <a:pt x="269968" y="150543"/>
                </a:lnTo>
                <a:close/>
              </a:path>
            </a:pathLst>
          </a:custGeom>
          <a:solidFill>
            <a:srgbClr val="B9E8FF"/>
          </a:solidFill>
        </p:spPr>
        <p:txBody>
          <a:bodyPr wrap="square" lIns="0" tIns="0" rIns="0" bIns="0" rtlCol="0">
            <a:noAutofit/>
          </a:bodyPr>
          <a:lstStyle/>
          <a:p>
            <a:endParaRPr/>
          </a:p>
        </p:txBody>
      </p:sp>
      <p:sp>
        <p:nvSpPr>
          <p:cNvPr id="37" name="object 37"/>
          <p:cNvSpPr/>
          <p:nvPr/>
        </p:nvSpPr>
        <p:spPr>
          <a:xfrm>
            <a:off x="7949483" y="3513929"/>
            <a:ext cx="160851" cy="250432"/>
          </a:xfrm>
          <a:custGeom>
            <a:avLst/>
            <a:gdLst/>
            <a:ahLst/>
            <a:cxnLst/>
            <a:rect l="l" t="t" r="r" b="b"/>
            <a:pathLst>
              <a:path w="160851" h="250432">
                <a:moveTo>
                  <a:pt x="160851" y="0"/>
                </a:moveTo>
                <a:lnTo>
                  <a:pt x="0" y="101330"/>
                </a:lnTo>
                <a:lnTo>
                  <a:pt x="78742" y="250432"/>
                </a:lnTo>
                <a:lnTo>
                  <a:pt x="80987" y="248970"/>
                </a:lnTo>
                <a:lnTo>
                  <a:pt x="82109" y="246087"/>
                </a:lnTo>
                <a:lnTo>
                  <a:pt x="83231" y="244626"/>
                </a:lnTo>
                <a:lnTo>
                  <a:pt x="160851" y="0"/>
                </a:lnTo>
                <a:close/>
              </a:path>
            </a:pathLst>
          </a:custGeom>
          <a:solidFill>
            <a:srgbClr val="B9E8FF"/>
          </a:solidFill>
        </p:spPr>
        <p:txBody>
          <a:bodyPr wrap="square" lIns="0" tIns="0" rIns="0" bIns="0" rtlCol="0">
            <a:noAutofit/>
          </a:bodyPr>
          <a:lstStyle/>
          <a:p>
            <a:endParaRPr/>
          </a:p>
        </p:txBody>
      </p:sp>
      <p:sp>
        <p:nvSpPr>
          <p:cNvPr id="38" name="object 38"/>
          <p:cNvSpPr/>
          <p:nvPr/>
        </p:nvSpPr>
        <p:spPr>
          <a:xfrm>
            <a:off x="8356678" y="3634081"/>
            <a:ext cx="457814" cy="166461"/>
          </a:xfrm>
          <a:custGeom>
            <a:avLst/>
            <a:gdLst/>
            <a:ahLst/>
            <a:cxnLst/>
            <a:rect l="l" t="t" r="r" b="b"/>
            <a:pathLst>
              <a:path w="457814" h="166461">
                <a:moveTo>
                  <a:pt x="246344" y="54999"/>
                </a:moveTo>
                <a:lnTo>
                  <a:pt x="241838" y="53558"/>
                </a:lnTo>
                <a:lnTo>
                  <a:pt x="244083" y="46310"/>
                </a:lnTo>
                <a:lnTo>
                  <a:pt x="247466" y="41985"/>
                </a:lnTo>
                <a:lnTo>
                  <a:pt x="253094" y="40524"/>
                </a:lnTo>
                <a:lnTo>
                  <a:pt x="264334" y="40524"/>
                </a:lnTo>
                <a:lnTo>
                  <a:pt x="267717" y="39082"/>
                </a:lnTo>
                <a:lnTo>
                  <a:pt x="269962" y="34737"/>
                </a:lnTo>
                <a:lnTo>
                  <a:pt x="268839" y="27509"/>
                </a:lnTo>
                <a:lnTo>
                  <a:pt x="251956" y="24606"/>
                </a:lnTo>
                <a:lnTo>
                  <a:pt x="235088" y="23165"/>
                </a:lnTo>
                <a:lnTo>
                  <a:pt x="217098" y="20262"/>
                </a:lnTo>
                <a:lnTo>
                  <a:pt x="200215" y="18820"/>
                </a:lnTo>
                <a:lnTo>
                  <a:pt x="183347" y="17358"/>
                </a:lnTo>
                <a:lnTo>
                  <a:pt x="166479" y="15917"/>
                </a:lnTo>
                <a:lnTo>
                  <a:pt x="149596" y="14475"/>
                </a:lnTo>
                <a:lnTo>
                  <a:pt x="132728" y="13034"/>
                </a:lnTo>
                <a:lnTo>
                  <a:pt x="115860" y="13034"/>
                </a:lnTo>
                <a:lnTo>
                  <a:pt x="98977" y="11572"/>
                </a:lnTo>
                <a:lnTo>
                  <a:pt x="82109" y="10131"/>
                </a:lnTo>
                <a:lnTo>
                  <a:pt x="65241" y="8689"/>
                </a:lnTo>
                <a:lnTo>
                  <a:pt x="49496" y="7227"/>
                </a:lnTo>
                <a:lnTo>
                  <a:pt x="32613" y="4344"/>
                </a:lnTo>
                <a:lnTo>
                  <a:pt x="15745" y="2903"/>
                </a:lnTo>
                <a:lnTo>
                  <a:pt x="0" y="0"/>
                </a:lnTo>
                <a:lnTo>
                  <a:pt x="62981" y="123033"/>
                </a:lnTo>
                <a:lnTo>
                  <a:pt x="457814" y="166461"/>
                </a:lnTo>
                <a:lnTo>
                  <a:pt x="456676" y="154888"/>
                </a:lnTo>
                <a:lnTo>
                  <a:pt x="453309" y="147640"/>
                </a:lnTo>
                <a:lnTo>
                  <a:pt x="448804" y="140412"/>
                </a:lnTo>
                <a:lnTo>
                  <a:pt x="442053" y="134626"/>
                </a:lnTo>
                <a:lnTo>
                  <a:pt x="436441" y="128820"/>
                </a:lnTo>
                <a:lnTo>
                  <a:pt x="430813" y="121592"/>
                </a:lnTo>
                <a:lnTo>
                  <a:pt x="426308" y="112902"/>
                </a:lnTo>
                <a:lnTo>
                  <a:pt x="422941" y="102771"/>
                </a:lnTo>
                <a:lnTo>
                  <a:pt x="415068" y="99868"/>
                </a:lnTo>
                <a:lnTo>
                  <a:pt x="407195" y="95543"/>
                </a:lnTo>
                <a:lnTo>
                  <a:pt x="400445" y="89737"/>
                </a:lnTo>
                <a:lnTo>
                  <a:pt x="393695" y="83951"/>
                </a:lnTo>
                <a:lnTo>
                  <a:pt x="386945" y="76723"/>
                </a:lnTo>
                <a:lnTo>
                  <a:pt x="382439" y="68033"/>
                </a:lnTo>
                <a:lnTo>
                  <a:pt x="376827" y="59344"/>
                </a:lnTo>
                <a:lnTo>
                  <a:pt x="373444" y="49213"/>
                </a:lnTo>
                <a:lnTo>
                  <a:pt x="362189" y="57902"/>
                </a:lnTo>
                <a:lnTo>
                  <a:pt x="350949" y="65130"/>
                </a:lnTo>
                <a:lnTo>
                  <a:pt x="338571" y="69475"/>
                </a:lnTo>
                <a:lnTo>
                  <a:pt x="326208" y="70937"/>
                </a:lnTo>
                <a:lnTo>
                  <a:pt x="312708" y="72378"/>
                </a:lnTo>
                <a:lnTo>
                  <a:pt x="300330" y="70937"/>
                </a:lnTo>
                <a:lnTo>
                  <a:pt x="287952" y="69475"/>
                </a:lnTo>
                <a:lnTo>
                  <a:pt x="276712" y="66592"/>
                </a:lnTo>
                <a:lnTo>
                  <a:pt x="271084" y="73820"/>
                </a:lnTo>
                <a:lnTo>
                  <a:pt x="266579" y="75261"/>
                </a:lnTo>
                <a:lnTo>
                  <a:pt x="262089" y="73820"/>
                </a:lnTo>
                <a:lnTo>
                  <a:pt x="258706" y="69475"/>
                </a:lnTo>
                <a:lnTo>
                  <a:pt x="254216" y="65130"/>
                </a:lnTo>
                <a:lnTo>
                  <a:pt x="250833" y="59344"/>
                </a:lnTo>
                <a:lnTo>
                  <a:pt x="246344" y="54999"/>
                </a:lnTo>
                <a:close/>
              </a:path>
            </a:pathLst>
          </a:custGeom>
          <a:solidFill>
            <a:srgbClr val="D7D7D7"/>
          </a:solidFill>
        </p:spPr>
        <p:txBody>
          <a:bodyPr wrap="square" lIns="0" tIns="0" rIns="0" bIns="0" rtlCol="0">
            <a:noAutofit/>
          </a:bodyPr>
          <a:lstStyle/>
          <a:p>
            <a:endParaRPr/>
          </a:p>
        </p:txBody>
      </p:sp>
      <p:sp>
        <p:nvSpPr>
          <p:cNvPr id="39" name="object 39"/>
          <p:cNvSpPr/>
          <p:nvPr/>
        </p:nvSpPr>
        <p:spPr>
          <a:xfrm>
            <a:off x="8932600" y="3764361"/>
            <a:ext cx="658061" cy="173696"/>
          </a:xfrm>
          <a:custGeom>
            <a:avLst/>
            <a:gdLst/>
            <a:ahLst/>
            <a:cxnLst/>
            <a:rect l="l" t="t" r="r" b="b"/>
            <a:pathLst>
              <a:path w="658061" h="173696">
                <a:moveTo>
                  <a:pt x="8995" y="4344"/>
                </a:moveTo>
                <a:lnTo>
                  <a:pt x="0" y="4344"/>
                </a:lnTo>
                <a:lnTo>
                  <a:pt x="8995" y="26048"/>
                </a:lnTo>
                <a:lnTo>
                  <a:pt x="19112" y="46310"/>
                </a:lnTo>
                <a:lnTo>
                  <a:pt x="29245" y="68033"/>
                </a:lnTo>
                <a:lnTo>
                  <a:pt x="38240" y="88292"/>
                </a:lnTo>
                <a:lnTo>
                  <a:pt x="48358" y="110005"/>
                </a:lnTo>
                <a:lnTo>
                  <a:pt x="57369" y="130269"/>
                </a:lnTo>
                <a:lnTo>
                  <a:pt x="66364" y="151983"/>
                </a:lnTo>
                <a:lnTo>
                  <a:pt x="75359" y="173696"/>
                </a:lnTo>
                <a:lnTo>
                  <a:pt x="625479" y="173696"/>
                </a:lnTo>
                <a:lnTo>
                  <a:pt x="635612" y="137507"/>
                </a:lnTo>
                <a:lnTo>
                  <a:pt x="645589" y="98425"/>
                </a:lnTo>
                <a:lnTo>
                  <a:pt x="652448" y="57902"/>
                </a:lnTo>
                <a:lnTo>
                  <a:pt x="658061" y="17358"/>
                </a:lnTo>
                <a:lnTo>
                  <a:pt x="89982" y="21703"/>
                </a:lnTo>
                <a:lnTo>
                  <a:pt x="76481" y="0"/>
                </a:lnTo>
                <a:lnTo>
                  <a:pt x="67486" y="2883"/>
                </a:lnTo>
                <a:lnTo>
                  <a:pt x="57369" y="2883"/>
                </a:lnTo>
                <a:lnTo>
                  <a:pt x="47235" y="4344"/>
                </a:lnTo>
                <a:lnTo>
                  <a:pt x="8995" y="4344"/>
                </a:lnTo>
                <a:close/>
              </a:path>
            </a:pathLst>
          </a:custGeom>
          <a:solidFill>
            <a:srgbClr val="6FD1FF"/>
          </a:solidFill>
        </p:spPr>
        <p:txBody>
          <a:bodyPr wrap="square" lIns="0" tIns="0" rIns="0" bIns="0" rtlCol="0">
            <a:noAutofit/>
          </a:bodyPr>
          <a:lstStyle/>
          <a:p>
            <a:endParaRPr/>
          </a:p>
        </p:txBody>
      </p:sp>
      <p:sp>
        <p:nvSpPr>
          <p:cNvPr id="40" name="object 40"/>
          <p:cNvSpPr/>
          <p:nvPr/>
        </p:nvSpPr>
        <p:spPr>
          <a:xfrm>
            <a:off x="8399425" y="3657246"/>
            <a:ext cx="83231" cy="89737"/>
          </a:xfrm>
          <a:custGeom>
            <a:avLst/>
            <a:gdLst/>
            <a:ahLst/>
            <a:cxnLst/>
            <a:rect l="l" t="t" r="r" b="b"/>
            <a:pathLst>
              <a:path w="83231" h="89737">
                <a:moveTo>
                  <a:pt x="12362" y="0"/>
                </a:moveTo>
                <a:lnTo>
                  <a:pt x="5612" y="1441"/>
                </a:lnTo>
                <a:lnTo>
                  <a:pt x="0" y="4344"/>
                </a:lnTo>
                <a:lnTo>
                  <a:pt x="3367" y="15917"/>
                </a:lnTo>
                <a:lnTo>
                  <a:pt x="6750" y="26048"/>
                </a:lnTo>
                <a:lnTo>
                  <a:pt x="10117" y="37620"/>
                </a:lnTo>
                <a:lnTo>
                  <a:pt x="15745" y="47771"/>
                </a:lnTo>
                <a:lnTo>
                  <a:pt x="20235" y="57902"/>
                </a:lnTo>
                <a:lnTo>
                  <a:pt x="26985" y="68033"/>
                </a:lnTo>
                <a:lnTo>
                  <a:pt x="32613" y="76703"/>
                </a:lnTo>
                <a:lnTo>
                  <a:pt x="39363" y="85392"/>
                </a:lnTo>
                <a:lnTo>
                  <a:pt x="43868" y="85392"/>
                </a:lnTo>
                <a:lnTo>
                  <a:pt x="49480" y="86854"/>
                </a:lnTo>
                <a:lnTo>
                  <a:pt x="55108" y="88296"/>
                </a:lnTo>
                <a:lnTo>
                  <a:pt x="61858" y="89737"/>
                </a:lnTo>
                <a:lnTo>
                  <a:pt x="73114" y="89737"/>
                </a:lnTo>
                <a:lnTo>
                  <a:pt x="78726" y="88296"/>
                </a:lnTo>
                <a:lnTo>
                  <a:pt x="83231" y="85392"/>
                </a:lnTo>
                <a:lnTo>
                  <a:pt x="78726" y="65130"/>
                </a:lnTo>
                <a:lnTo>
                  <a:pt x="69731" y="46310"/>
                </a:lnTo>
                <a:lnTo>
                  <a:pt x="61858" y="27489"/>
                </a:lnTo>
                <a:lnTo>
                  <a:pt x="55108" y="7227"/>
                </a:lnTo>
                <a:lnTo>
                  <a:pt x="49480" y="5786"/>
                </a:lnTo>
                <a:lnTo>
                  <a:pt x="42730" y="2883"/>
                </a:lnTo>
                <a:lnTo>
                  <a:pt x="34857" y="1441"/>
                </a:lnTo>
                <a:lnTo>
                  <a:pt x="28107" y="0"/>
                </a:lnTo>
                <a:lnTo>
                  <a:pt x="12362" y="0"/>
                </a:lnTo>
                <a:close/>
              </a:path>
            </a:pathLst>
          </a:custGeom>
          <a:solidFill>
            <a:srgbClr val="000000"/>
          </a:solidFill>
        </p:spPr>
        <p:txBody>
          <a:bodyPr wrap="square" lIns="0" tIns="0" rIns="0" bIns="0" rtlCol="0">
            <a:noAutofit/>
          </a:bodyPr>
          <a:lstStyle/>
          <a:p>
            <a:endParaRPr/>
          </a:p>
        </p:txBody>
      </p:sp>
      <p:sp>
        <p:nvSpPr>
          <p:cNvPr id="41" name="object 41"/>
          <p:cNvSpPr/>
          <p:nvPr/>
        </p:nvSpPr>
        <p:spPr>
          <a:xfrm>
            <a:off x="8540026" y="3668818"/>
            <a:ext cx="41623" cy="30393"/>
          </a:xfrm>
          <a:custGeom>
            <a:avLst/>
            <a:gdLst/>
            <a:ahLst/>
            <a:cxnLst/>
            <a:rect l="l" t="t" r="r" b="b"/>
            <a:pathLst>
              <a:path w="41623" h="30393">
                <a:moveTo>
                  <a:pt x="5627" y="14475"/>
                </a:moveTo>
                <a:lnTo>
                  <a:pt x="10117" y="21723"/>
                </a:lnTo>
                <a:lnTo>
                  <a:pt x="14622" y="27509"/>
                </a:lnTo>
                <a:lnTo>
                  <a:pt x="20250" y="30393"/>
                </a:lnTo>
                <a:lnTo>
                  <a:pt x="22495" y="21723"/>
                </a:lnTo>
                <a:lnTo>
                  <a:pt x="35996" y="21723"/>
                </a:lnTo>
                <a:lnTo>
                  <a:pt x="41623" y="15917"/>
                </a:lnTo>
                <a:lnTo>
                  <a:pt x="38240" y="8689"/>
                </a:lnTo>
                <a:lnTo>
                  <a:pt x="34873" y="4344"/>
                </a:lnTo>
                <a:lnTo>
                  <a:pt x="29245" y="1441"/>
                </a:lnTo>
                <a:lnTo>
                  <a:pt x="22495" y="0"/>
                </a:lnTo>
                <a:lnTo>
                  <a:pt x="16867" y="1441"/>
                </a:lnTo>
                <a:lnTo>
                  <a:pt x="10117" y="2903"/>
                </a:lnTo>
                <a:lnTo>
                  <a:pt x="4505" y="5786"/>
                </a:lnTo>
                <a:lnTo>
                  <a:pt x="0" y="8689"/>
                </a:lnTo>
                <a:lnTo>
                  <a:pt x="5627" y="14475"/>
                </a:lnTo>
                <a:close/>
              </a:path>
            </a:pathLst>
          </a:custGeom>
          <a:solidFill>
            <a:srgbClr val="000000"/>
          </a:solidFill>
        </p:spPr>
        <p:txBody>
          <a:bodyPr wrap="square" lIns="0" tIns="0" rIns="0" bIns="0" rtlCol="0">
            <a:noAutofit/>
          </a:bodyPr>
          <a:lstStyle/>
          <a:p>
            <a:endParaRPr/>
          </a:p>
        </p:txBody>
      </p:sp>
      <p:sp>
        <p:nvSpPr>
          <p:cNvPr id="42" name="object 42"/>
          <p:cNvSpPr/>
          <p:nvPr/>
        </p:nvSpPr>
        <p:spPr>
          <a:xfrm>
            <a:off x="8473662" y="3665914"/>
            <a:ext cx="46113" cy="31854"/>
          </a:xfrm>
          <a:custGeom>
            <a:avLst/>
            <a:gdLst/>
            <a:ahLst/>
            <a:cxnLst/>
            <a:rect l="l" t="t" r="r" b="b"/>
            <a:pathLst>
              <a:path w="46113" h="31854">
                <a:moveTo>
                  <a:pt x="20250" y="14475"/>
                </a:moveTo>
                <a:lnTo>
                  <a:pt x="25862" y="14475"/>
                </a:lnTo>
                <a:lnTo>
                  <a:pt x="30368" y="15937"/>
                </a:lnTo>
                <a:lnTo>
                  <a:pt x="41623" y="15937"/>
                </a:lnTo>
                <a:lnTo>
                  <a:pt x="46113" y="11592"/>
                </a:lnTo>
                <a:lnTo>
                  <a:pt x="42746" y="7247"/>
                </a:lnTo>
                <a:lnTo>
                  <a:pt x="38240" y="2903"/>
                </a:lnTo>
                <a:lnTo>
                  <a:pt x="32613" y="1461"/>
                </a:lnTo>
                <a:lnTo>
                  <a:pt x="27000" y="0"/>
                </a:lnTo>
                <a:lnTo>
                  <a:pt x="0" y="0"/>
                </a:lnTo>
                <a:lnTo>
                  <a:pt x="3367" y="8689"/>
                </a:lnTo>
                <a:lnTo>
                  <a:pt x="7872" y="17378"/>
                </a:lnTo>
                <a:lnTo>
                  <a:pt x="12378" y="26068"/>
                </a:lnTo>
                <a:lnTo>
                  <a:pt x="17990" y="31854"/>
                </a:lnTo>
                <a:lnTo>
                  <a:pt x="15745" y="21723"/>
                </a:lnTo>
                <a:lnTo>
                  <a:pt x="16867" y="15937"/>
                </a:lnTo>
                <a:lnTo>
                  <a:pt x="20250" y="14475"/>
                </a:lnTo>
                <a:close/>
              </a:path>
            </a:pathLst>
          </a:custGeom>
          <a:solidFill>
            <a:srgbClr val="000000"/>
          </a:solidFill>
        </p:spPr>
        <p:txBody>
          <a:bodyPr wrap="square" lIns="0" tIns="0" rIns="0" bIns="0" rtlCol="0">
            <a:noAutofit/>
          </a:bodyPr>
          <a:lstStyle/>
          <a:p>
            <a:endParaRPr/>
          </a:p>
        </p:txBody>
      </p:sp>
      <p:sp>
        <p:nvSpPr>
          <p:cNvPr id="43" name="object 43"/>
          <p:cNvSpPr/>
          <p:nvPr/>
        </p:nvSpPr>
        <p:spPr>
          <a:xfrm>
            <a:off x="7812249" y="3648555"/>
            <a:ext cx="357699" cy="264894"/>
          </a:xfrm>
          <a:custGeom>
            <a:avLst/>
            <a:gdLst/>
            <a:ahLst/>
            <a:cxnLst/>
            <a:rect l="l" t="t" r="r" b="b"/>
            <a:pathLst>
              <a:path w="357699" h="264894">
                <a:moveTo>
                  <a:pt x="28123" y="264894"/>
                </a:moveTo>
                <a:lnTo>
                  <a:pt x="226093" y="209888"/>
                </a:lnTo>
                <a:lnTo>
                  <a:pt x="346459" y="179495"/>
                </a:lnTo>
                <a:lnTo>
                  <a:pt x="357699" y="170805"/>
                </a:lnTo>
                <a:lnTo>
                  <a:pt x="291335" y="0"/>
                </a:lnTo>
                <a:lnTo>
                  <a:pt x="290212" y="5786"/>
                </a:lnTo>
                <a:lnTo>
                  <a:pt x="285707" y="23165"/>
                </a:lnTo>
                <a:lnTo>
                  <a:pt x="278957" y="47771"/>
                </a:lnTo>
                <a:lnTo>
                  <a:pt x="269962" y="76723"/>
                </a:lnTo>
                <a:lnTo>
                  <a:pt x="260967" y="107116"/>
                </a:lnTo>
                <a:lnTo>
                  <a:pt x="251972" y="136067"/>
                </a:lnTo>
                <a:lnTo>
                  <a:pt x="241838" y="157771"/>
                </a:lnTo>
                <a:lnTo>
                  <a:pt x="233966" y="172247"/>
                </a:lnTo>
                <a:lnTo>
                  <a:pt x="230598" y="173708"/>
                </a:lnTo>
                <a:lnTo>
                  <a:pt x="221588" y="175150"/>
                </a:lnTo>
                <a:lnTo>
                  <a:pt x="209225" y="176592"/>
                </a:lnTo>
                <a:lnTo>
                  <a:pt x="194602" y="178033"/>
                </a:lnTo>
                <a:lnTo>
                  <a:pt x="176597" y="178033"/>
                </a:lnTo>
                <a:lnTo>
                  <a:pt x="156346" y="179495"/>
                </a:lnTo>
                <a:lnTo>
                  <a:pt x="134988" y="179495"/>
                </a:lnTo>
                <a:lnTo>
                  <a:pt x="113615" y="180936"/>
                </a:lnTo>
                <a:lnTo>
                  <a:pt x="71992" y="180936"/>
                </a:lnTo>
                <a:lnTo>
                  <a:pt x="52863" y="182378"/>
                </a:lnTo>
                <a:lnTo>
                  <a:pt x="0" y="182378"/>
                </a:lnTo>
                <a:lnTo>
                  <a:pt x="28123" y="264894"/>
                </a:lnTo>
                <a:close/>
              </a:path>
            </a:pathLst>
          </a:custGeom>
          <a:solidFill>
            <a:srgbClr val="FFFFFF"/>
          </a:solidFill>
        </p:spPr>
        <p:txBody>
          <a:bodyPr wrap="square" lIns="0" tIns="0" rIns="0" bIns="0" rtlCol="0">
            <a:noAutofit/>
          </a:bodyPr>
          <a:lstStyle/>
          <a:p>
            <a:endParaRPr/>
          </a:p>
        </p:txBody>
      </p:sp>
      <p:sp>
        <p:nvSpPr>
          <p:cNvPr id="44" name="object 44"/>
          <p:cNvSpPr/>
          <p:nvPr/>
        </p:nvSpPr>
        <p:spPr>
          <a:xfrm>
            <a:off x="8700877" y="3723817"/>
            <a:ext cx="43868" cy="44888"/>
          </a:xfrm>
          <a:custGeom>
            <a:avLst/>
            <a:gdLst/>
            <a:ahLst/>
            <a:cxnLst/>
            <a:rect l="l" t="t" r="r" b="b"/>
            <a:pathLst>
              <a:path w="43868" h="44888">
                <a:moveTo>
                  <a:pt x="20250" y="37640"/>
                </a:moveTo>
                <a:lnTo>
                  <a:pt x="19128" y="34737"/>
                </a:lnTo>
                <a:lnTo>
                  <a:pt x="17990" y="31854"/>
                </a:lnTo>
                <a:lnTo>
                  <a:pt x="15745" y="28951"/>
                </a:lnTo>
                <a:lnTo>
                  <a:pt x="23617" y="24606"/>
                </a:lnTo>
                <a:lnTo>
                  <a:pt x="33751" y="24606"/>
                </a:lnTo>
                <a:lnTo>
                  <a:pt x="41623" y="23165"/>
                </a:lnTo>
                <a:lnTo>
                  <a:pt x="43868" y="11592"/>
                </a:lnTo>
                <a:lnTo>
                  <a:pt x="0" y="0"/>
                </a:lnTo>
                <a:lnTo>
                  <a:pt x="0" y="11592"/>
                </a:lnTo>
                <a:lnTo>
                  <a:pt x="3367" y="23165"/>
                </a:lnTo>
                <a:lnTo>
                  <a:pt x="6750" y="33296"/>
                </a:lnTo>
                <a:lnTo>
                  <a:pt x="11255" y="43427"/>
                </a:lnTo>
                <a:lnTo>
                  <a:pt x="13500" y="44888"/>
                </a:lnTo>
                <a:lnTo>
                  <a:pt x="17990" y="43427"/>
                </a:lnTo>
                <a:lnTo>
                  <a:pt x="20250" y="40544"/>
                </a:lnTo>
                <a:lnTo>
                  <a:pt x="20250" y="37640"/>
                </a:lnTo>
                <a:close/>
              </a:path>
            </a:pathLst>
          </a:custGeom>
          <a:solidFill>
            <a:srgbClr val="000000"/>
          </a:solidFill>
        </p:spPr>
        <p:txBody>
          <a:bodyPr wrap="square" lIns="0" tIns="0" rIns="0" bIns="0" rtlCol="0">
            <a:noAutofit/>
          </a:bodyPr>
          <a:lstStyle/>
          <a:p>
            <a:endParaRPr/>
          </a:p>
        </p:txBody>
      </p:sp>
      <p:sp>
        <p:nvSpPr>
          <p:cNvPr id="45" name="object 45"/>
          <p:cNvSpPr/>
          <p:nvPr/>
        </p:nvSpPr>
        <p:spPr>
          <a:xfrm>
            <a:off x="8488284" y="3706459"/>
            <a:ext cx="56246" cy="49213"/>
          </a:xfrm>
          <a:custGeom>
            <a:avLst/>
            <a:gdLst/>
            <a:ahLst/>
            <a:cxnLst/>
            <a:rect l="l" t="t" r="r" b="b"/>
            <a:pathLst>
              <a:path w="56246" h="49213">
                <a:moveTo>
                  <a:pt x="23617" y="24606"/>
                </a:moveTo>
                <a:lnTo>
                  <a:pt x="25862" y="15917"/>
                </a:lnTo>
                <a:lnTo>
                  <a:pt x="33735" y="15917"/>
                </a:lnTo>
                <a:lnTo>
                  <a:pt x="42746" y="18820"/>
                </a:lnTo>
                <a:lnTo>
                  <a:pt x="49496" y="18820"/>
                </a:lnTo>
                <a:lnTo>
                  <a:pt x="56246" y="13014"/>
                </a:lnTo>
                <a:lnTo>
                  <a:pt x="50618" y="7227"/>
                </a:lnTo>
                <a:lnTo>
                  <a:pt x="43868" y="4344"/>
                </a:lnTo>
                <a:lnTo>
                  <a:pt x="37118" y="1441"/>
                </a:lnTo>
                <a:lnTo>
                  <a:pt x="29245" y="0"/>
                </a:lnTo>
                <a:lnTo>
                  <a:pt x="21373" y="0"/>
                </a:lnTo>
                <a:lnTo>
                  <a:pt x="14622" y="1441"/>
                </a:lnTo>
                <a:lnTo>
                  <a:pt x="6750" y="2883"/>
                </a:lnTo>
                <a:lnTo>
                  <a:pt x="0" y="7227"/>
                </a:lnTo>
                <a:lnTo>
                  <a:pt x="6750" y="17358"/>
                </a:lnTo>
                <a:lnTo>
                  <a:pt x="12378" y="30393"/>
                </a:lnTo>
                <a:lnTo>
                  <a:pt x="16867" y="41965"/>
                </a:lnTo>
                <a:lnTo>
                  <a:pt x="25862" y="49213"/>
                </a:lnTo>
                <a:lnTo>
                  <a:pt x="28123" y="39082"/>
                </a:lnTo>
                <a:lnTo>
                  <a:pt x="25862" y="31834"/>
                </a:lnTo>
                <a:lnTo>
                  <a:pt x="23617" y="24606"/>
                </a:lnTo>
                <a:close/>
              </a:path>
            </a:pathLst>
          </a:custGeom>
          <a:solidFill>
            <a:srgbClr val="000000"/>
          </a:solidFill>
        </p:spPr>
        <p:txBody>
          <a:bodyPr wrap="square" lIns="0" tIns="0" rIns="0" bIns="0" rtlCol="0">
            <a:noAutofit/>
          </a:bodyPr>
          <a:lstStyle/>
          <a:p>
            <a:endParaRPr/>
          </a:p>
        </p:txBody>
      </p:sp>
      <p:sp>
        <p:nvSpPr>
          <p:cNvPr id="46" name="object 46"/>
          <p:cNvSpPr/>
          <p:nvPr/>
        </p:nvSpPr>
        <p:spPr>
          <a:xfrm>
            <a:off x="8568150" y="3713686"/>
            <a:ext cx="40485" cy="39082"/>
          </a:xfrm>
          <a:custGeom>
            <a:avLst/>
            <a:gdLst/>
            <a:ahLst/>
            <a:cxnLst/>
            <a:rect l="l" t="t" r="r" b="b"/>
            <a:pathLst>
              <a:path w="40485" h="39082">
                <a:moveTo>
                  <a:pt x="4489" y="28951"/>
                </a:moveTo>
                <a:lnTo>
                  <a:pt x="8995" y="39082"/>
                </a:lnTo>
                <a:lnTo>
                  <a:pt x="13500" y="17378"/>
                </a:lnTo>
                <a:lnTo>
                  <a:pt x="21373" y="17378"/>
                </a:lnTo>
                <a:lnTo>
                  <a:pt x="30368" y="18820"/>
                </a:lnTo>
                <a:lnTo>
                  <a:pt x="37118" y="18820"/>
                </a:lnTo>
                <a:lnTo>
                  <a:pt x="40485" y="10131"/>
                </a:lnTo>
                <a:lnTo>
                  <a:pt x="33735" y="4344"/>
                </a:lnTo>
                <a:lnTo>
                  <a:pt x="25862" y="1461"/>
                </a:lnTo>
                <a:lnTo>
                  <a:pt x="16867" y="1461"/>
                </a:lnTo>
                <a:lnTo>
                  <a:pt x="8995" y="0"/>
                </a:lnTo>
                <a:lnTo>
                  <a:pt x="1122" y="7247"/>
                </a:lnTo>
                <a:lnTo>
                  <a:pt x="0" y="17378"/>
                </a:lnTo>
                <a:lnTo>
                  <a:pt x="4489" y="28951"/>
                </a:lnTo>
                <a:close/>
              </a:path>
            </a:pathLst>
          </a:custGeom>
          <a:solidFill>
            <a:srgbClr val="000000"/>
          </a:solidFill>
        </p:spPr>
        <p:txBody>
          <a:bodyPr wrap="square" lIns="0" tIns="0" rIns="0" bIns="0" rtlCol="0">
            <a:noAutofit/>
          </a:bodyPr>
          <a:lstStyle/>
          <a:p>
            <a:endParaRPr/>
          </a:p>
        </p:txBody>
      </p:sp>
      <p:sp>
        <p:nvSpPr>
          <p:cNvPr id="47" name="object 47"/>
          <p:cNvSpPr/>
          <p:nvPr/>
        </p:nvSpPr>
        <p:spPr>
          <a:xfrm>
            <a:off x="8631131" y="3720935"/>
            <a:ext cx="41623" cy="41965"/>
          </a:xfrm>
          <a:custGeom>
            <a:avLst/>
            <a:gdLst/>
            <a:ahLst/>
            <a:cxnLst/>
            <a:rect l="l" t="t" r="r" b="b"/>
            <a:pathLst>
              <a:path w="41623" h="41965">
                <a:moveTo>
                  <a:pt x="21373" y="20262"/>
                </a:moveTo>
                <a:lnTo>
                  <a:pt x="25878" y="18820"/>
                </a:lnTo>
                <a:lnTo>
                  <a:pt x="31506" y="17358"/>
                </a:lnTo>
                <a:lnTo>
                  <a:pt x="37134" y="17358"/>
                </a:lnTo>
                <a:lnTo>
                  <a:pt x="41623" y="15917"/>
                </a:lnTo>
                <a:lnTo>
                  <a:pt x="40501" y="8689"/>
                </a:lnTo>
                <a:lnTo>
                  <a:pt x="37134" y="4344"/>
                </a:lnTo>
                <a:lnTo>
                  <a:pt x="32628" y="1441"/>
                </a:lnTo>
                <a:lnTo>
                  <a:pt x="7888" y="1441"/>
                </a:lnTo>
                <a:lnTo>
                  <a:pt x="2260" y="0"/>
                </a:lnTo>
                <a:lnTo>
                  <a:pt x="0" y="10131"/>
                </a:lnTo>
                <a:lnTo>
                  <a:pt x="2260" y="20262"/>
                </a:lnTo>
                <a:lnTo>
                  <a:pt x="7888" y="31834"/>
                </a:lnTo>
                <a:lnTo>
                  <a:pt x="12378" y="41965"/>
                </a:lnTo>
                <a:lnTo>
                  <a:pt x="15760" y="39082"/>
                </a:lnTo>
                <a:lnTo>
                  <a:pt x="14622" y="31834"/>
                </a:lnTo>
                <a:lnTo>
                  <a:pt x="14622" y="26048"/>
                </a:lnTo>
                <a:lnTo>
                  <a:pt x="18005" y="21703"/>
                </a:lnTo>
                <a:lnTo>
                  <a:pt x="21373" y="20262"/>
                </a:lnTo>
                <a:close/>
              </a:path>
            </a:pathLst>
          </a:custGeom>
          <a:solidFill>
            <a:srgbClr val="000000"/>
          </a:solidFill>
        </p:spPr>
        <p:txBody>
          <a:bodyPr wrap="square" lIns="0" tIns="0" rIns="0" bIns="0" rtlCol="0">
            <a:noAutofit/>
          </a:bodyPr>
          <a:lstStyle/>
          <a:p>
            <a:endParaRPr/>
          </a:p>
        </p:txBody>
      </p:sp>
      <p:sp>
        <p:nvSpPr>
          <p:cNvPr id="48" name="object 48"/>
          <p:cNvSpPr/>
          <p:nvPr/>
        </p:nvSpPr>
        <p:spPr>
          <a:xfrm>
            <a:off x="8435421" y="3800542"/>
            <a:ext cx="398185" cy="76721"/>
          </a:xfrm>
          <a:custGeom>
            <a:avLst/>
            <a:gdLst/>
            <a:ahLst/>
            <a:cxnLst/>
            <a:rect l="l" t="t" r="r" b="b"/>
            <a:pathLst>
              <a:path w="398185" h="76721">
                <a:moveTo>
                  <a:pt x="391435" y="34737"/>
                </a:moveTo>
                <a:lnTo>
                  <a:pt x="1122" y="0"/>
                </a:lnTo>
                <a:lnTo>
                  <a:pt x="0" y="20262"/>
                </a:lnTo>
                <a:lnTo>
                  <a:pt x="1122" y="40532"/>
                </a:lnTo>
                <a:lnTo>
                  <a:pt x="4489" y="59350"/>
                </a:lnTo>
                <a:lnTo>
                  <a:pt x="8995" y="76721"/>
                </a:lnTo>
                <a:lnTo>
                  <a:pt x="398185" y="68035"/>
                </a:lnTo>
                <a:lnTo>
                  <a:pt x="398185" y="60798"/>
                </a:lnTo>
                <a:lnTo>
                  <a:pt x="397062" y="50665"/>
                </a:lnTo>
                <a:lnTo>
                  <a:pt x="394817" y="40532"/>
                </a:lnTo>
                <a:lnTo>
                  <a:pt x="391435" y="34737"/>
                </a:lnTo>
                <a:close/>
              </a:path>
            </a:pathLst>
          </a:custGeom>
          <a:solidFill>
            <a:srgbClr val="8B8B8B"/>
          </a:solidFill>
        </p:spPr>
        <p:txBody>
          <a:bodyPr wrap="square" lIns="0" tIns="0" rIns="0" bIns="0" rtlCol="0">
            <a:noAutofit/>
          </a:bodyPr>
          <a:lstStyle/>
          <a:p>
            <a:endParaRPr/>
          </a:p>
        </p:txBody>
      </p:sp>
      <p:sp>
        <p:nvSpPr>
          <p:cNvPr id="49" name="object 49"/>
          <p:cNvSpPr/>
          <p:nvPr/>
        </p:nvSpPr>
        <p:spPr>
          <a:xfrm>
            <a:off x="7703139" y="3833837"/>
            <a:ext cx="112477" cy="112904"/>
          </a:xfrm>
          <a:custGeom>
            <a:avLst/>
            <a:gdLst/>
            <a:ahLst/>
            <a:cxnLst/>
            <a:rect l="l" t="t" r="r" b="b"/>
            <a:pathLst>
              <a:path w="112477" h="112904">
                <a:moveTo>
                  <a:pt x="1125" y="0"/>
                </a:moveTo>
                <a:lnTo>
                  <a:pt x="0" y="112904"/>
                </a:lnTo>
                <a:lnTo>
                  <a:pt x="112477" y="111459"/>
                </a:lnTo>
                <a:lnTo>
                  <a:pt x="75359" y="0"/>
                </a:lnTo>
                <a:lnTo>
                  <a:pt x="1125" y="0"/>
                </a:lnTo>
                <a:close/>
              </a:path>
            </a:pathLst>
          </a:custGeom>
          <a:solidFill>
            <a:srgbClr val="A8B97B"/>
          </a:solidFill>
        </p:spPr>
        <p:txBody>
          <a:bodyPr wrap="square" lIns="0" tIns="0" rIns="0" bIns="0" rtlCol="0">
            <a:noAutofit/>
          </a:bodyPr>
          <a:lstStyle/>
          <a:p>
            <a:endParaRPr/>
          </a:p>
        </p:txBody>
      </p:sp>
      <p:sp>
        <p:nvSpPr>
          <p:cNvPr id="50" name="object 50"/>
          <p:cNvSpPr/>
          <p:nvPr/>
        </p:nvSpPr>
        <p:spPr>
          <a:xfrm>
            <a:off x="7870740" y="3874368"/>
            <a:ext cx="294702" cy="117249"/>
          </a:xfrm>
          <a:custGeom>
            <a:avLst/>
            <a:gdLst/>
            <a:ahLst/>
            <a:cxnLst/>
            <a:rect l="l" t="t" r="r" b="b"/>
            <a:pathLst>
              <a:path w="294702" h="117249">
                <a:moveTo>
                  <a:pt x="255339" y="14475"/>
                </a:moveTo>
                <a:lnTo>
                  <a:pt x="249711" y="0"/>
                </a:lnTo>
                <a:lnTo>
                  <a:pt x="0" y="68033"/>
                </a:lnTo>
                <a:lnTo>
                  <a:pt x="294702" y="117249"/>
                </a:lnTo>
                <a:lnTo>
                  <a:pt x="289090" y="102773"/>
                </a:lnTo>
                <a:lnTo>
                  <a:pt x="282340" y="88298"/>
                </a:lnTo>
                <a:lnTo>
                  <a:pt x="276712" y="73822"/>
                </a:lnTo>
                <a:lnTo>
                  <a:pt x="272207" y="57900"/>
                </a:lnTo>
                <a:lnTo>
                  <a:pt x="266594" y="43425"/>
                </a:lnTo>
                <a:lnTo>
                  <a:pt x="260967" y="28949"/>
                </a:lnTo>
                <a:lnTo>
                  <a:pt x="255339" y="14475"/>
                </a:lnTo>
                <a:close/>
              </a:path>
            </a:pathLst>
          </a:custGeom>
          <a:solidFill>
            <a:srgbClr val="BEBEBE"/>
          </a:solidFill>
        </p:spPr>
        <p:txBody>
          <a:bodyPr wrap="square" lIns="0" tIns="0" rIns="0" bIns="0" rtlCol="0">
            <a:noAutofit/>
          </a:bodyPr>
          <a:lstStyle/>
          <a:p>
            <a:endParaRPr/>
          </a:p>
        </p:txBody>
      </p:sp>
      <p:sp>
        <p:nvSpPr>
          <p:cNvPr id="16" name="object 16"/>
          <p:cNvSpPr txBox="1"/>
          <p:nvPr/>
        </p:nvSpPr>
        <p:spPr>
          <a:xfrm>
            <a:off x="2181860" y="2824051"/>
            <a:ext cx="825804" cy="177800"/>
          </a:xfrm>
          <a:prstGeom prst="rect">
            <a:avLst/>
          </a:prstGeom>
        </p:spPr>
        <p:txBody>
          <a:bodyPr wrap="square" lIns="0" tIns="0" rIns="0" bIns="0" rtlCol="0">
            <a:noAutofit/>
          </a:bodyPr>
          <a:lstStyle/>
          <a:p>
            <a:pPr marL="12700">
              <a:lnSpc>
                <a:spcPts val="1325"/>
              </a:lnSpc>
              <a:spcBef>
                <a:spcPts val="66"/>
              </a:spcBef>
            </a:pPr>
            <a:r>
              <a:rPr sz="1200" spc="4" dirty="0">
                <a:latin typeface="Arial"/>
                <a:cs typeface="Arial"/>
              </a:rPr>
              <a:t>bee</a:t>
            </a:r>
            <a:r>
              <a:rPr sz="1200" dirty="0">
                <a:latin typeface="Arial"/>
                <a:cs typeface="Arial"/>
              </a:rPr>
              <a:t>n</a:t>
            </a:r>
            <a:r>
              <a:rPr sz="1200" spc="-29" dirty="0">
                <a:latin typeface="Arial"/>
                <a:cs typeface="Arial"/>
              </a:rPr>
              <a:t>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e</a:t>
            </a:r>
            <a:r>
              <a:rPr sz="1200" spc="4" dirty="0">
                <a:latin typeface="Arial"/>
                <a:cs typeface="Arial"/>
              </a:rPr>
              <a:t>d</a:t>
            </a:r>
            <a:r>
              <a:rPr sz="1200" dirty="0">
                <a:latin typeface="Arial"/>
                <a:cs typeface="Arial"/>
              </a:rPr>
              <a:t>.</a:t>
            </a:r>
            <a:endParaRPr sz="1200">
              <a:latin typeface="Arial"/>
              <a:cs typeface="Arial"/>
            </a:endParaRPr>
          </a:p>
        </p:txBody>
      </p:sp>
      <p:sp>
        <p:nvSpPr>
          <p:cNvPr id="15" name="object 15"/>
          <p:cNvSpPr txBox="1"/>
          <p:nvPr/>
        </p:nvSpPr>
        <p:spPr>
          <a:xfrm>
            <a:off x="2141626" y="6680304"/>
            <a:ext cx="1534514" cy="177800"/>
          </a:xfrm>
          <a:prstGeom prst="rect">
            <a:avLst/>
          </a:prstGeom>
        </p:spPr>
        <p:txBody>
          <a:bodyPr wrap="square" lIns="0" tIns="0" rIns="0" bIns="0" rtlCol="0">
            <a:noAutofit/>
          </a:bodyPr>
          <a:lstStyle/>
          <a:p>
            <a:pPr marL="12700">
              <a:lnSpc>
                <a:spcPts val="1350"/>
              </a:lnSpc>
              <a:spcBef>
                <a:spcPts val="67"/>
              </a:spcBef>
            </a:pPr>
            <a:r>
              <a:rPr sz="1200" dirty="0">
                <a:latin typeface="Symbol"/>
                <a:cs typeface="Symbol"/>
              </a:rPr>
              <a:t></a:t>
            </a:r>
            <a:r>
              <a:rPr sz="1000" dirty="0">
                <a:latin typeface="Arial"/>
                <a:cs typeface="Arial"/>
              </a:rPr>
              <a:t>In</a:t>
            </a:r>
            <a:r>
              <a:rPr sz="1000" spc="-4" dirty="0">
                <a:latin typeface="Arial"/>
                <a:cs typeface="Arial"/>
              </a:rPr>
              <a:t>di</a:t>
            </a:r>
            <a:r>
              <a:rPr sz="1000" dirty="0">
                <a:latin typeface="Arial"/>
                <a:cs typeface="Arial"/>
              </a:rPr>
              <a:t>a</a:t>
            </a:r>
            <a:r>
              <a:rPr sz="1000" spc="-36" dirty="0">
                <a:latin typeface="Arial"/>
                <a:cs typeface="Arial"/>
              </a:rPr>
              <a:t> </a:t>
            </a:r>
            <a:r>
              <a:rPr sz="1000" spc="-4" dirty="0">
                <a:latin typeface="Arial"/>
                <a:cs typeface="Arial"/>
              </a:rPr>
              <a:t>SA</a:t>
            </a:r>
            <a:r>
              <a:rPr sz="1000" dirty="0">
                <a:latin typeface="Arial"/>
                <a:cs typeface="Arial"/>
              </a:rPr>
              <a:t>P</a:t>
            </a:r>
            <a:r>
              <a:rPr sz="1000" spc="-14" dirty="0">
                <a:latin typeface="Arial"/>
                <a:cs typeface="Arial"/>
              </a:rPr>
              <a:t> </a:t>
            </a:r>
            <a:r>
              <a:rPr sz="1000" dirty="0">
                <a:latin typeface="Arial"/>
                <a:cs typeface="Arial"/>
              </a:rPr>
              <a:t>Co</a:t>
            </a:r>
            <a:r>
              <a:rPr sz="1000" spc="-4" dirty="0">
                <a:latin typeface="Arial"/>
                <a:cs typeface="Arial"/>
              </a:rPr>
              <a:t>E</a:t>
            </a:r>
            <a:r>
              <a:rPr sz="1000" dirty="0">
                <a:latin typeface="Arial"/>
                <a:cs typeface="Arial"/>
              </a:rPr>
              <a:t>,</a:t>
            </a:r>
            <a:r>
              <a:rPr sz="1000" spc="-22" dirty="0">
                <a:latin typeface="Arial"/>
                <a:cs typeface="Arial"/>
              </a:rPr>
              <a:t> </a:t>
            </a:r>
            <a:r>
              <a:rPr sz="1000" spc="-4" dirty="0">
                <a:latin typeface="Arial"/>
                <a:cs typeface="Arial"/>
              </a:rPr>
              <a:t>Sli</a:t>
            </a:r>
            <a:r>
              <a:rPr sz="1000" dirty="0">
                <a:latin typeface="Arial"/>
                <a:cs typeface="Arial"/>
              </a:rPr>
              <a:t>de</a:t>
            </a:r>
            <a:r>
              <a:rPr sz="1000" spc="-12" dirty="0">
                <a:latin typeface="Arial"/>
                <a:cs typeface="Arial"/>
              </a:rPr>
              <a:t> </a:t>
            </a:r>
            <a:r>
              <a:rPr sz="1000" dirty="0">
                <a:latin typeface="Arial"/>
                <a:cs typeface="Arial"/>
              </a:rPr>
              <a:t>18</a:t>
            </a:r>
            <a:endParaRPr sz="1000">
              <a:latin typeface="Arial"/>
              <a:cs typeface="Arial"/>
            </a:endParaRPr>
          </a:p>
        </p:txBody>
      </p:sp>
      <p:sp>
        <p:nvSpPr>
          <p:cNvPr id="14" name="object 14"/>
          <p:cNvSpPr txBox="1"/>
          <p:nvPr/>
        </p:nvSpPr>
        <p:spPr>
          <a:xfrm>
            <a:off x="1676400" y="1143000"/>
            <a:ext cx="4038600" cy="1752600"/>
          </a:xfrm>
          <a:prstGeom prst="rect">
            <a:avLst/>
          </a:prstGeom>
        </p:spPr>
        <p:txBody>
          <a:bodyPr wrap="square" lIns="0" tIns="0" rIns="0" bIns="0" rtlCol="0">
            <a:noAutofit/>
          </a:bodyPr>
          <a:lstStyle/>
          <a:p>
            <a:pPr>
              <a:lnSpc>
                <a:spcPts val="650"/>
              </a:lnSpc>
              <a:spcBef>
                <a:spcPts val="10"/>
              </a:spcBef>
            </a:pPr>
            <a:endParaRPr sz="650"/>
          </a:p>
          <a:p>
            <a:pPr marL="91439">
              <a:lnSpc>
                <a:spcPct val="95825"/>
              </a:lnSpc>
              <a:spcBef>
                <a:spcPts val="1000"/>
              </a:spcBef>
            </a:pPr>
            <a:r>
              <a:rPr sz="1200" b="1" dirty="0">
                <a:latin typeface="Arial"/>
                <a:cs typeface="Arial"/>
              </a:rPr>
              <a:t>F8</a:t>
            </a:r>
            <a:r>
              <a:rPr sz="1200" b="1" spc="-4" dirty="0">
                <a:latin typeface="Arial"/>
                <a:cs typeface="Arial"/>
              </a:rPr>
              <a:t> </a:t>
            </a:r>
            <a:r>
              <a:rPr sz="1200" b="1" dirty="0">
                <a:latin typeface="Arial"/>
                <a:cs typeface="Arial"/>
              </a:rPr>
              <a:t>- Pro forma</a:t>
            </a:r>
            <a:r>
              <a:rPr sz="1200" b="1" spc="-4" dirty="0">
                <a:latin typeface="Arial"/>
                <a:cs typeface="Arial"/>
              </a:rPr>
              <a:t> </a:t>
            </a:r>
            <a:r>
              <a:rPr sz="1200" b="1" dirty="0">
                <a:latin typeface="Arial"/>
                <a:cs typeface="Arial"/>
              </a:rPr>
              <a:t>In</a:t>
            </a:r>
            <a:r>
              <a:rPr sz="1200" b="1" spc="-19" dirty="0">
                <a:latin typeface="Arial"/>
                <a:cs typeface="Arial"/>
              </a:rPr>
              <a:t>v</a:t>
            </a:r>
            <a:r>
              <a:rPr sz="1200" b="1" dirty="0">
                <a:latin typeface="Arial"/>
                <a:cs typeface="Arial"/>
              </a:rPr>
              <a:t>oi</a:t>
            </a:r>
            <a:r>
              <a:rPr sz="1200" b="1" spc="4" dirty="0">
                <a:latin typeface="Arial"/>
                <a:cs typeface="Arial"/>
              </a:rPr>
              <a:t>c</a:t>
            </a:r>
            <a:r>
              <a:rPr sz="1200" b="1" dirty="0">
                <a:latin typeface="Arial"/>
                <a:cs typeface="Arial"/>
              </a:rPr>
              <a:t>e</a:t>
            </a:r>
            <a:r>
              <a:rPr sz="1200" b="1" spc="24" dirty="0">
                <a:latin typeface="Arial"/>
                <a:cs typeface="Arial"/>
              </a:rPr>
              <a:t> </a:t>
            </a:r>
            <a:r>
              <a:rPr sz="1200" dirty="0">
                <a:latin typeface="Arial"/>
                <a:cs typeface="Arial"/>
              </a:rPr>
              <a:t>:</a:t>
            </a:r>
            <a:endParaRPr sz="1200">
              <a:latin typeface="Arial"/>
              <a:cs typeface="Arial"/>
            </a:endParaRPr>
          </a:p>
          <a:p>
            <a:pPr marL="390144">
              <a:lnSpc>
                <a:spcPct val="95825"/>
              </a:lnSpc>
              <a:spcBef>
                <a:spcPts val="60"/>
              </a:spcBef>
            </a:pPr>
            <a:r>
              <a:rPr sz="1200" spc="4" dirty="0">
                <a:latin typeface="Arial"/>
                <a:cs typeface="Arial"/>
              </a:rPr>
              <a:t>1</a:t>
            </a:r>
            <a:r>
              <a:rPr sz="1200" dirty="0">
                <a:latin typeface="Arial"/>
                <a:cs typeface="Arial"/>
              </a:rPr>
              <a:t>.Mai</a:t>
            </a:r>
            <a:r>
              <a:rPr sz="1200" spc="4" dirty="0">
                <a:latin typeface="Arial"/>
                <a:cs typeface="Arial"/>
              </a:rPr>
              <a:t>n</a:t>
            </a:r>
            <a:r>
              <a:rPr sz="1200" dirty="0">
                <a:latin typeface="Arial"/>
                <a:cs typeface="Arial"/>
              </a:rPr>
              <a:t>ly</a:t>
            </a:r>
            <a:r>
              <a:rPr sz="1200" spc="-25" dirty="0">
                <a:latin typeface="Arial"/>
                <a:cs typeface="Arial"/>
              </a:rPr>
              <a:t> </a:t>
            </a:r>
            <a:r>
              <a:rPr sz="1200" dirty="0">
                <a:latin typeface="Arial"/>
                <a:cs typeface="Arial"/>
              </a:rPr>
              <a:t>it is </a:t>
            </a:r>
            <a:r>
              <a:rPr sz="1200" spc="4" dirty="0">
                <a:latin typeface="Arial"/>
                <a:cs typeface="Arial"/>
              </a:rPr>
              <a:t>u</a:t>
            </a:r>
            <a:r>
              <a:rPr sz="1200" dirty="0">
                <a:latin typeface="Arial"/>
                <a:cs typeface="Arial"/>
              </a:rPr>
              <a:t>s</a:t>
            </a:r>
            <a:r>
              <a:rPr sz="1200" spc="4" dirty="0">
                <a:latin typeface="Arial"/>
                <a:cs typeface="Arial"/>
              </a:rPr>
              <a:t>e</a:t>
            </a:r>
            <a:r>
              <a:rPr sz="1200" dirty="0">
                <a:latin typeface="Arial"/>
                <a:cs typeface="Arial"/>
              </a:rPr>
              <a:t>d</a:t>
            </a:r>
            <a:r>
              <a:rPr sz="1200" spc="-1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E</a:t>
            </a:r>
            <a:r>
              <a:rPr sz="1200" spc="-9" dirty="0">
                <a:latin typeface="Arial"/>
                <a:cs typeface="Arial"/>
              </a:rPr>
              <a:t>x</a:t>
            </a:r>
            <a:r>
              <a:rPr sz="1200" spc="4" dirty="0">
                <a:latin typeface="Arial"/>
                <a:cs typeface="Arial"/>
              </a:rPr>
              <a:t>po</a:t>
            </a:r>
            <a:r>
              <a:rPr sz="1200" dirty="0">
                <a:latin typeface="Arial"/>
                <a:cs typeface="Arial"/>
              </a:rPr>
              <a:t>rt</a:t>
            </a:r>
            <a:r>
              <a:rPr sz="1200" spc="-9"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4" dirty="0">
                <a:latin typeface="Arial"/>
                <a:cs typeface="Arial"/>
              </a:rPr>
              <a:t>a</a:t>
            </a:r>
            <a:r>
              <a:rPr sz="1200" dirty="0">
                <a:latin typeface="Arial"/>
                <a:cs typeface="Arial"/>
              </a:rPr>
              <a:t>cti</a:t>
            </a:r>
            <a:r>
              <a:rPr sz="1200" spc="4" dirty="0">
                <a:latin typeface="Arial"/>
                <a:cs typeface="Arial"/>
              </a:rPr>
              <a:t>on</a:t>
            </a:r>
            <a:r>
              <a:rPr sz="1200" dirty="0">
                <a:latin typeface="Arial"/>
                <a:cs typeface="Arial"/>
              </a:rPr>
              <a:t>’.</a:t>
            </a:r>
            <a:endParaRPr sz="1200">
              <a:latin typeface="Arial"/>
              <a:cs typeface="Arial"/>
            </a:endParaRPr>
          </a:p>
          <a:p>
            <a:pPr marL="390144">
              <a:lnSpc>
                <a:spcPct val="95825"/>
              </a:lnSpc>
              <a:spcBef>
                <a:spcPts val="60"/>
              </a:spcBef>
            </a:pPr>
            <a:r>
              <a:rPr sz="1200" spc="4" dirty="0">
                <a:latin typeface="Arial"/>
                <a:cs typeface="Arial"/>
              </a:rPr>
              <a:t>2</a:t>
            </a:r>
            <a:r>
              <a:rPr sz="1200" dirty="0">
                <a:latin typeface="Arial"/>
                <a:cs typeface="Arial"/>
              </a:rPr>
              <a:t>.</a:t>
            </a:r>
            <a:r>
              <a:rPr sz="1200" spc="4" dirty="0">
                <a:latin typeface="Arial"/>
                <a:cs typeface="Arial"/>
              </a:rPr>
              <a:t>I</a:t>
            </a:r>
            <a:r>
              <a:rPr sz="1200" dirty="0">
                <a:latin typeface="Arial"/>
                <a:cs typeface="Arial"/>
              </a:rPr>
              <a:t>t</a:t>
            </a:r>
            <a:r>
              <a:rPr sz="1200" spc="4" dirty="0">
                <a:latin typeface="Arial"/>
                <a:cs typeface="Arial"/>
              </a:rPr>
              <a:t> </a:t>
            </a:r>
            <a:r>
              <a:rPr sz="1200" dirty="0">
                <a:latin typeface="Arial"/>
                <a:cs typeface="Arial"/>
              </a:rPr>
              <a:t>is </a:t>
            </a:r>
            <a:r>
              <a:rPr sz="1200" spc="4" dirty="0">
                <a:latin typeface="Arial"/>
                <a:cs typeface="Arial"/>
              </a:rPr>
              <a:t>u</a:t>
            </a:r>
            <a:r>
              <a:rPr sz="1200" dirty="0">
                <a:latin typeface="Arial"/>
                <a:cs typeface="Arial"/>
              </a:rPr>
              <a:t>s</a:t>
            </a:r>
            <a:r>
              <a:rPr sz="1200" spc="4" dirty="0">
                <a:latin typeface="Arial"/>
                <a:cs typeface="Arial"/>
              </a:rPr>
              <a:t>e</a:t>
            </a:r>
            <a:r>
              <a:rPr sz="1200" dirty="0">
                <a:latin typeface="Arial"/>
                <a:cs typeface="Arial"/>
              </a:rPr>
              <a:t>d</a:t>
            </a:r>
            <a:r>
              <a:rPr sz="1200" spc="-2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dirty="0">
                <a:latin typeface="Arial"/>
                <a:cs typeface="Arial"/>
              </a:rPr>
              <a:t>in</a:t>
            </a:r>
            <a:r>
              <a:rPr sz="1200" spc="14" dirty="0">
                <a:latin typeface="Arial"/>
                <a:cs typeface="Arial"/>
              </a:rPr>
              <a:t>f</a:t>
            </a:r>
            <a:r>
              <a:rPr sz="1200" spc="4" dirty="0">
                <a:latin typeface="Arial"/>
                <a:cs typeface="Arial"/>
              </a:rPr>
              <a:t>o</a:t>
            </a:r>
            <a:r>
              <a:rPr sz="1200" dirty="0">
                <a:latin typeface="Arial"/>
                <a:cs typeface="Arial"/>
              </a:rPr>
              <a:t>r</a:t>
            </a:r>
            <a:r>
              <a:rPr sz="1200" spc="4" dirty="0">
                <a:latin typeface="Arial"/>
                <a:cs typeface="Arial"/>
              </a:rPr>
              <a:t>ma</a:t>
            </a:r>
            <a:r>
              <a:rPr sz="1200" dirty="0">
                <a:latin typeface="Arial"/>
                <a:cs typeface="Arial"/>
              </a:rPr>
              <a:t>ti</a:t>
            </a:r>
            <a:r>
              <a:rPr sz="1200" spc="4" dirty="0">
                <a:latin typeface="Arial"/>
                <a:cs typeface="Arial"/>
              </a:rPr>
              <a:t>o</a:t>
            </a:r>
            <a:r>
              <a:rPr sz="1200" dirty="0">
                <a:latin typeface="Arial"/>
                <a:cs typeface="Arial"/>
              </a:rPr>
              <a:t>n</a:t>
            </a:r>
            <a:r>
              <a:rPr sz="1200" spc="-49" dirty="0">
                <a:latin typeface="Arial"/>
                <a:cs typeface="Arial"/>
              </a:rPr>
              <a:t> </a:t>
            </a:r>
            <a:r>
              <a:rPr sz="1200" spc="4" dirty="0">
                <a:latin typeface="Arial"/>
                <a:cs typeface="Arial"/>
              </a:rPr>
              <a:t>pu</a:t>
            </a:r>
            <a:r>
              <a:rPr sz="1200" dirty="0">
                <a:latin typeface="Arial"/>
                <a:cs typeface="Arial"/>
              </a:rPr>
              <a:t>rp</a:t>
            </a:r>
            <a:r>
              <a:rPr sz="1200" spc="4" dirty="0">
                <a:latin typeface="Arial"/>
                <a:cs typeface="Arial"/>
              </a:rPr>
              <a:t>o</a:t>
            </a:r>
            <a:r>
              <a:rPr sz="1200" dirty="0">
                <a:latin typeface="Arial"/>
                <a:cs typeface="Arial"/>
              </a:rPr>
              <a:t>se</a:t>
            </a:r>
            <a:r>
              <a:rPr sz="1200" spc="-39" dirty="0">
                <a:latin typeface="Arial"/>
                <a:cs typeface="Arial"/>
              </a:rPr>
              <a:t> </a:t>
            </a:r>
            <a:r>
              <a:rPr sz="1200" spc="4" dirty="0">
                <a:latin typeface="Arial"/>
                <a:cs typeface="Arial"/>
              </a:rPr>
              <a:t>on</a:t>
            </a:r>
            <a:r>
              <a:rPr sz="1200" dirty="0">
                <a:latin typeface="Arial"/>
                <a:cs typeface="Arial"/>
              </a:rPr>
              <a:t>l</a:t>
            </a:r>
            <a:r>
              <a:rPr sz="1200" spc="-100" dirty="0">
                <a:latin typeface="Arial"/>
                <a:cs typeface="Arial"/>
              </a:rPr>
              <a:t>y</a:t>
            </a:r>
            <a:r>
              <a:rPr sz="1200" dirty="0">
                <a:latin typeface="Arial"/>
                <a:cs typeface="Arial"/>
              </a:rPr>
              <a:t>.</a:t>
            </a:r>
            <a:endParaRPr sz="1200">
              <a:latin typeface="Arial"/>
              <a:cs typeface="Arial"/>
            </a:endParaRPr>
          </a:p>
          <a:p>
            <a:pPr marL="390144">
              <a:lnSpc>
                <a:spcPct val="95825"/>
              </a:lnSpc>
              <a:spcBef>
                <a:spcPts val="60"/>
              </a:spcBef>
            </a:pPr>
            <a:r>
              <a:rPr sz="1200" spc="4" dirty="0">
                <a:latin typeface="Arial"/>
                <a:cs typeface="Arial"/>
              </a:rPr>
              <a:t>3</a:t>
            </a:r>
            <a:r>
              <a:rPr sz="1200" dirty="0">
                <a:latin typeface="Arial"/>
                <a:cs typeface="Arial"/>
              </a:rPr>
              <a:t>.</a:t>
            </a: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a:t>
            </a:r>
            <a:r>
              <a:rPr sz="1200" spc="-14" dirty="0">
                <a:latin typeface="Arial"/>
                <a:cs typeface="Arial"/>
              </a:rPr>
              <a:t> </a:t>
            </a:r>
            <a:r>
              <a:rPr sz="1200" spc="4" dirty="0">
                <a:latin typeface="Arial"/>
                <a:cs typeface="Arial"/>
              </a:rPr>
              <a:t>a</a:t>
            </a:r>
            <a:r>
              <a:rPr sz="1200" dirty="0">
                <a:latin typeface="Arial"/>
                <a:cs typeface="Arial"/>
              </a:rPr>
              <a:t>s</a:t>
            </a:r>
            <a:r>
              <a:rPr sz="1200" spc="-9" dirty="0">
                <a:latin typeface="Arial"/>
                <a:cs typeface="Arial"/>
              </a:rPr>
              <a:t> </a:t>
            </a:r>
            <a:r>
              <a:rPr sz="1200" spc="4" dirty="0">
                <a:latin typeface="Arial"/>
                <a:cs typeface="Arial"/>
              </a:rPr>
              <a:t>man</a:t>
            </a:r>
            <a:r>
              <a:rPr sz="1200" dirty="0">
                <a:latin typeface="Arial"/>
                <a:cs typeface="Arial"/>
              </a:rPr>
              <a:t>y</a:t>
            </a:r>
            <a:r>
              <a:rPr sz="1200" spc="-19" dirty="0">
                <a:latin typeface="Arial"/>
                <a:cs typeface="Arial"/>
              </a:rPr>
              <a:t> </a:t>
            </a:r>
            <a:r>
              <a:rPr sz="1200" spc="4" dirty="0">
                <a:latin typeface="Arial"/>
                <a:cs typeface="Arial"/>
              </a:rPr>
              <a:t>a</a:t>
            </a:r>
            <a:r>
              <a:rPr sz="1200" dirty="0">
                <a:latin typeface="Arial"/>
                <a:cs typeface="Arial"/>
              </a:rPr>
              <a:t>s </a:t>
            </a:r>
            <a:r>
              <a:rPr sz="1200" spc="4" dirty="0">
                <a:latin typeface="Arial"/>
                <a:cs typeface="Arial"/>
              </a:rPr>
              <a:t>p</a:t>
            </a:r>
            <a:r>
              <a:rPr sz="1200" dirty="0">
                <a:latin typeface="Arial"/>
                <a:cs typeface="Arial"/>
              </a:rPr>
              <a:t>ro</a:t>
            </a:r>
            <a:r>
              <a:rPr sz="1200" spc="-1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4" dirty="0">
                <a:latin typeface="Arial"/>
                <a:cs typeface="Arial"/>
              </a:rPr>
              <a:t>m</a:t>
            </a:r>
            <a:r>
              <a:rPr sz="1200" dirty="0">
                <a:latin typeface="Arial"/>
                <a:cs typeface="Arial"/>
              </a:rPr>
              <a:t>a</a:t>
            </a:r>
            <a:r>
              <a:rPr sz="1200" spc="-14" dirty="0">
                <a:latin typeface="Arial"/>
                <a:cs typeface="Arial"/>
              </a:rPr>
              <a:t> </a:t>
            </a:r>
            <a:r>
              <a:rPr sz="1200" dirty="0">
                <a:latin typeface="Arial"/>
                <a:cs typeface="Arial"/>
              </a:rPr>
              <a:t>in</a:t>
            </a:r>
            <a:r>
              <a:rPr sz="1200" spc="-9" dirty="0">
                <a:latin typeface="Arial"/>
                <a:cs typeface="Arial"/>
              </a:rPr>
              <a:t>v</a:t>
            </a:r>
            <a:r>
              <a:rPr sz="1200" spc="4" dirty="0">
                <a:latin typeface="Arial"/>
                <a:cs typeface="Arial"/>
              </a:rPr>
              <a:t>o</a:t>
            </a:r>
            <a:r>
              <a:rPr sz="1200" dirty="0">
                <a:latin typeface="Arial"/>
                <a:cs typeface="Arial"/>
              </a:rPr>
              <a:t>ices.</a:t>
            </a:r>
            <a:endParaRPr sz="1200">
              <a:latin typeface="Arial"/>
              <a:cs typeface="Arial"/>
            </a:endParaRPr>
          </a:p>
          <a:p>
            <a:pPr marL="390144">
              <a:lnSpc>
                <a:spcPct val="95825"/>
              </a:lnSpc>
              <a:spcBef>
                <a:spcPts val="60"/>
              </a:spcBef>
            </a:pPr>
            <a:r>
              <a:rPr sz="1200" spc="4" dirty="0">
                <a:latin typeface="Arial"/>
                <a:cs typeface="Arial"/>
              </a:rPr>
              <a:t>4</a:t>
            </a:r>
            <a:r>
              <a:rPr sz="1200" dirty="0">
                <a:latin typeface="Arial"/>
                <a:cs typeface="Arial"/>
              </a:rPr>
              <a:t>.D</a:t>
            </a:r>
            <a:r>
              <a:rPr sz="1200" spc="4" dirty="0">
                <a:latin typeface="Arial"/>
                <a:cs typeface="Arial"/>
              </a:rPr>
              <a:t>a</a:t>
            </a:r>
            <a:r>
              <a:rPr sz="1200" dirty="0">
                <a:latin typeface="Arial"/>
                <a:cs typeface="Arial"/>
              </a:rPr>
              <a:t>ta</a:t>
            </a:r>
            <a:r>
              <a:rPr sz="1200" spc="-14" dirty="0">
                <a:latin typeface="Arial"/>
                <a:cs typeface="Arial"/>
              </a:rPr>
              <a:t> </a:t>
            </a:r>
            <a:r>
              <a:rPr sz="1200" dirty="0">
                <a:latin typeface="Arial"/>
                <a:cs typeface="Arial"/>
              </a:rPr>
              <a:t>is </a:t>
            </a:r>
            <a:r>
              <a:rPr sz="1200" spc="4" dirty="0">
                <a:latin typeface="Arial"/>
                <a:cs typeface="Arial"/>
              </a:rPr>
              <a:t>no</a:t>
            </a:r>
            <a:r>
              <a:rPr sz="1200" dirty="0">
                <a:latin typeface="Arial"/>
                <a:cs typeface="Arial"/>
              </a:rPr>
              <a:t>t</a:t>
            </a:r>
            <a:r>
              <a:rPr sz="1200" spc="-19" dirty="0">
                <a:latin typeface="Arial"/>
                <a:cs typeface="Arial"/>
              </a:rPr>
              <a:t> </a:t>
            </a:r>
            <a:r>
              <a:rPr sz="1200" dirty="0">
                <a:latin typeface="Arial"/>
                <a:cs typeface="Arial"/>
              </a:rPr>
              <a:t>tra</a:t>
            </a:r>
            <a:r>
              <a:rPr sz="1200" spc="4" dirty="0">
                <a:latin typeface="Arial"/>
                <a:cs typeface="Arial"/>
              </a:rPr>
              <a:t>n</a:t>
            </a:r>
            <a:r>
              <a:rPr sz="1200" dirty="0">
                <a:latin typeface="Arial"/>
                <a:cs typeface="Arial"/>
              </a:rPr>
              <a:t>s</a:t>
            </a:r>
            <a:r>
              <a:rPr sz="1200" spc="14" dirty="0">
                <a:latin typeface="Arial"/>
                <a:cs typeface="Arial"/>
              </a:rPr>
              <a:t>f</a:t>
            </a:r>
            <a:r>
              <a:rPr sz="1200" spc="4" dirty="0">
                <a:latin typeface="Arial"/>
                <a:cs typeface="Arial"/>
              </a:rPr>
              <a:t>e</a:t>
            </a:r>
            <a:r>
              <a:rPr sz="1200" dirty="0">
                <a:latin typeface="Arial"/>
                <a:cs typeface="Arial"/>
              </a:rPr>
              <a:t>r</a:t>
            </a:r>
            <a:r>
              <a:rPr sz="1200" spc="-4" dirty="0">
                <a:latin typeface="Arial"/>
                <a:cs typeface="Arial"/>
              </a:rPr>
              <a:t>r</a:t>
            </a:r>
            <a:r>
              <a:rPr sz="1200" spc="4" dirty="0">
                <a:latin typeface="Arial"/>
                <a:cs typeface="Arial"/>
              </a:rPr>
              <a:t>e</a:t>
            </a:r>
            <a:r>
              <a:rPr sz="1200" dirty="0">
                <a:latin typeface="Arial"/>
                <a:cs typeface="Arial"/>
              </a:rPr>
              <a:t>d</a:t>
            </a:r>
            <a:r>
              <a:rPr sz="1200" spc="-29" dirty="0">
                <a:latin typeface="Arial"/>
                <a:cs typeface="Arial"/>
              </a:rPr>
              <a:t> </a:t>
            </a:r>
            <a:r>
              <a:rPr sz="1200" dirty="0">
                <a:latin typeface="Arial"/>
                <a:cs typeface="Arial"/>
              </a:rPr>
              <a:t>to</a:t>
            </a:r>
            <a:r>
              <a:rPr sz="1200" spc="-59" dirty="0">
                <a:latin typeface="Arial"/>
                <a:cs typeface="Arial"/>
              </a:rPr>
              <a:t> </a:t>
            </a:r>
            <a:r>
              <a:rPr sz="1200" dirty="0">
                <a:latin typeface="Arial"/>
                <a:cs typeface="Arial"/>
              </a:rPr>
              <a:t>Acc</a:t>
            </a:r>
            <a:r>
              <a:rPr sz="1200" spc="4" dirty="0">
                <a:latin typeface="Arial"/>
                <a:cs typeface="Arial"/>
              </a:rPr>
              <a:t>oun</a:t>
            </a:r>
            <a:r>
              <a:rPr sz="1200" dirty="0">
                <a:latin typeface="Arial"/>
                <a:cs typeface="Arial"/>
              </a:rPr>
              <a:t>ti</a:t>
            </a:r>
            <a:r>
              <a:rPr sz="1200" spc="4" dirty="0">
                <a:latin typeface="Arial"/>
                <a:cs typeface="Arial"/>
              </a:rPr>
              <a:t>n</a:t>
            </a:r>
            <a:r>
              <a:rPr sz="1200" spc="-4" dirty="0">
                <a:latin typeface="Arial"/>
                <a:cs typeface="Arial"/>
              </a:rPr>
              <a:t>g</a:t>
            </a:r>
            <a:r>
              <a:rPr sz="1200" dirty="0">
                <a:latin typeface="Arial"/>
                <a:cs typeface="Arial"/>
              </a:rPr>
              <a:t>.</a:t>
            </a:r>
            <a:endParaRPr sz="1200">
              <a:latin typeface="Arial"/>
              <a:cs typeface="Arial"/>
            </a:endParaRPr>
          </a:p>
          <a:p>
            <a:pPr marL="390144">
              <a:lnSpc>
                <a:spcPct val="95825"/>
              </a:lnSpc>
              <a:spcBef>
                <a:spcPts val="60"/>
              </a:spcBef>
            </a:pPr>
            <a:r>
              <a:rPr sz="1200" dirty="0">
                <a:latin typeface="Arial"/>
                <a:cs typeface="Arial"/>
              </a:rPr>
              <a:t>5</a:t>
            </a:r>
            <a:r>
              <a:rPr sz="1200" spc="4" dirty="0">
                <a:latin typeface="Arial"/>
                <a:cs typeface="Arial"/>
              </a:rPr>
              <a:t>.</a:t>
            </a:r>
            <a:r>
              <a:rPr sz="1200" spc="-4" dirty="0">
                <a:latin typeface="Arial"/>
                <a:cs typeface="Arial"/>
              </a:rPr>
              <a:t>C</a:t>
            </a:r>
            <a:r>
              <a:rPr sz="1200" dirty="0">
                <a:latin typeface="Arial"/>
                <a:cs typeface="Arial"/>
              </a:rPr>
              <a:t>o</a:t>
            </a:r>
            <a:r>
              <a:rPr sz="1200" spc="4" dirty="0">
                <a:latin typeface="Arial"/>
                <a:cs typeface="Arial"/>
              </a:rPr>
              <a:t>p</a:t>
            </a:r>
            <a:r>
              <a:rPr sz="1200" dirty="0">
                <a:latin typeface="Arial"/>
                <a:cs typeface="Arial"/>
              </a:rPr>
              <a:t>y</a:t>
            </a:r>
            <a:r>
              <a:rPr sz="1200" spc="-19" dirty="0">
                <a:latin typeface="Arial"/>
                <a:cs typeface="Arial"/>
              </a:rPr>
              <a:t> </a:t>
            </a:r>
            <a:r>
              <a:rPr sz="1200" dirty="0">
                <a:latin typeface="Arial"/>
                <a:cs typeface="Arial"/>
              </a:rPr>
              <a:t>co</a:t>
            </a:r>
            <a:r>
              <a:rPr sz="1200" spc="4" dirty="0">
                <a:latin typeface="Arial"/>
                <a:cs typeface="Arial"/>
              </a:rPr>
              <a:t>n</a:t>
            </a:r>
            <a:r>
              <a:rPr sz="1200" dirty="0">
                <a:latin typeface="Arial"/>
                <a:cs typeface="Arial"/>
              </a:rPr>
              <a:t>trol</a:t>
            </a:r>
            <a:r>
              <a:rPr sz="1200" spc="-19" dirty="0">
                <a:latin typeface="Arial"/>
                <a:cs typeface="Arial"/>
              </a:rPr>
              <a:t> </a:t>
            </a:r>
            <a:r>
              <a:rPr sz="1200" dirty="0">
                <a:latin typeface="Arial"/>
                <a:cs typeface="Arial"/>
              </a:rPr>
              <a:t>p</a:t>
            </a:r>
            <a:r>
              <a:rPr sz="1200" spc="4" dirty="0">
                <a:latin typeface="Arial"/>
                <a:cs typeface="Arial"/>
              </a:rPr>
              <a:t>a</a:t>
            </a:r>
            <a:r>
              <a:rPr sz="1200" spc="-4" dirty="0">
                <a:latin typeface="Arial"/>
                <a:cs typeface="Arial"/>
              </a:rPr>
              <a:t>r</a:t>
            </a:r>
            <a:r>
              <a:rPr sz="1200" dirty="0">
                <a:latin typeface="Arial"/>
                <a:cs typeface="Arial"/>
              </a:rPr>
              <a:t>a</a:t>
            </a:r>
            <a:r>
              <a:rPr sz="1200" spc="9" dirty="0">
                <a:latin typeface="Arial"/>
                <a:cs typeface="Arial"/>
              </a:rPr>
              <a:t>m</a:t>
            </a:r>
            <a:r>
              <a:rPr sz="1200" dirty="0">
                <a:latin typeface="Arial"/>
                <a:cs typeface="Arial"/>
              </a:rPr>
              <a:t>e</a:t>
            </a:r>
            <a:r>
              <a:rPr sz="1200" spc="4" dirty="0">
                <a:latin typeface="Arial"/>
                <a:cs typeface="Arial"/>
              </a:rPr>
              <a:t>t</a:t>
            </a:r>
            <a:r>
              <a:rPr sz="1200" dirty="0">
                <a:latin typeface="Arial"/>
                <a:cs typeface="Arial"/>
              </a:rPr>
              <a:t>er</a:t>
            </a:r>
            <a:r>
              <a:rPr sz="1200" spc="-44" dirty="0">
                <a:latin typeface="Arial"/>
                <a:cs typeface="Arial"/>
              </a:rPr>
              <a:t> </a:t>
            </a:r>
            <a:r>
              <a:rPr sz="1200" dirty="0">
                <a:latin typeface="Arial"/>
                <a:cs typeface="Arial"/>
              </a:rPr>
              <a:t>“ Q</a:t>
            </a:r>
            <a:r>
              <a:rPr sz="1200" spc="4" dirty="0">
                <a:latin typeface="Arial"/>
                <a:cs typeface="Arial"/>
              </a:rPr>
              <a:t>u</a:t>
            </a:r>
            <a:r>
              <a:rPr sz="1200" dirty="0">
                <a:latin typeface="Arial"/>
                <a:cs typeface="Arial"/>
              </a:rPr>
              <a:t>a</a:t>
            </a:r>
            <a:r>
              <a:rPr sz="1200" spc="4" dirty="0">
                <a:latin typeface="Arial"/>
                <a:cs typeface="Arial"/>
              </a:rPr>
              <a:t>n</a:t>
            </a:r>
            <a:r>
              <a:rPr sz="1200" dirty="0">
                <a:latin typeface="Arial"/>
                <a:cs typeface="Arial"/>
              </a:rPr>
              <a:t>tit</a:t>
            </a:r>
            <a:r>
              <a:rPr sz="1200" spc="-14" dirty="0">
                <a:latin typeface="Arial"/>
                <a:cs typeface="Arial"/>
              </a:rPr>
              <a:t>y</a:t>
            </a:r>
            <a:r>
              <a:rPr sz="1200" dirty="0">
                <a:latin typeface="Arial"/>
                <a:cs typeface="Arial"/>
              </a:rPr>
              <a:t>/</a:t>
            </a:r>
            <a:r>
              <a:rPr sz="1200" spc="-79" dirty="0">
                <a:latin typeface="Arial"/>
                <a:cs typeface="Arial"/>
              </a:rPr>
              <a:t>V</a:t>
            </a:r>
            <a:r>
              <a:rPr sz="1200" dirty="0">
                <a:latin typeface="Arial"/>
                <a:cs typeface="Arial"/>
              </a:rPr>
              <a:t>alue</a:t>
            </a:r>
            <a:r>
              <a:rPr sz="1200" spc="-39" dirty="0">
                <a:latin typeface="Arial"/>
                <a:cs typeface="Arial"/>
              </a:rPr>
              <a:t> </a:t>
            </a:r>
            <a:r>
              <a:rPr sz="1200" dirty="0">
                <a:latin typeface="Arial"/>
                <a:cs typeface="Arial"/>
              </a:rPr>
              <a:t>P</a:t>
            </a:r>
            <a:r>
              <a:rPr sz="1200" spc="4" dirty="0">
                <a:latin typeface="Arial"/>
                <a:cs typeface="Arial"/>
              </a:rPr>
              <a:t>o</a:t>
            </a:r>
            <a:r>
              <a:rPr sz="1200" dirty="0">
                <a:latin typeface="Arial"/>
                <a:cs typeface="Arial"/>
              </a:rPr>
              <a:t>s./Ne</a:t>
            </a:r>
            <a:r>
              <a:rPr sz="1200" spc="-4" dirty="0">
                <a:latin typeface="Arial"/>
                <a:cs typeface="Arial"/>
              </a:rPr>
              <a:t>g</a:t>
            </a:r>
            <a:r>
              <a:rPr sz="1200" dirty="0">
                <a:latin typeface="Arial"/>
                <a:cs typeface="Arial"/>
              </a:rPr>
              <a:t>.“</a:t>
            </a:r>
            <a:endParaRPr sz="1200">
              <a:latin typeface="Arial"/>
              <a:cs typeface="Arial"/>
            </a:endParaRPr>
          </a:p>
          <a:p>
            <a:pPr marL="518159" marR="630252">
              <a:lnSpc>
                <a:spcPct val="100041"/>
              </a:lnSpc>
              <a:spcBef>
                <a:spcPts val="60"/>
              </a:spcBef>
            </a:pPr>
            <a:r>
              <a:rPr sz="1200" dirty="0">
                <a:latin typeface="Arial"/>
                <a:cs typeface="Arial"/>
              </a:rPr>
              <a:t>is </a:t>
            </a:r>
            <a:r>
              <a:rPr sz="1200" spc="4" dirty="0">
                <a:latin typeface="Arial"/>
                <a:cs typeface="Arial"/>
              </a:rPr>
              <a:t>no</a:t>
            </a:r>
            <a:r>
              <a:rPr sz="1200" dirty="0">
                <a:latin typeface="Arial"/>
                <a:cs typeface="Arial"/>
              </a:rPr>
              <a:t>t</a:t>
            </a:r>
            <a:r>
              <a:rPr sz="1200" spc="-4" dirty="0">
                <a:latin typeface="Arial"/>
                <a:cs typeface="Arial"/>
              </a:rPr>
              <a:t> </a:t>
            </a:r>
            <a:r>
              <a:rPr sz="1200" spc="4" dirty="0">
                <a:latin typeface="Arial"/>
                <a:cs typeface="Arial"/>
              </a:rPr>
              <a:t>a</a:t>
            </a:r>
            <a:r>
              <a:rPr sz="1200" spc="-9" dirty="0">
                <a:latin typeface="Arial"/>
                <a:cs typeface="Arial"/>
              </a:rPr>
              <a:t>v</a:t>
            </a:r>
            <a:r>
              <a:rPr sz="1200" spc="4" dirty="0">
                <a:latin typeface="Arial"/>
                <a:cs typeface="Arial"/>
              </a:rPr>
              <a:t>a</a:t>
            </a:r>
            <a:r>
              <a:rPr sz="1200" dirty="0">
                <a:latin typeface="Arial"/>
                <a:cs typeface="Arial"/>
              </a:rPr>
              <a:t>i</a:t>
            </a:r>
            <a:r>
              <a:rPr sz="1200" spc="-4" dirty="0">
                <a:latin typeface="Arial"/>
                <a:cs typeface="Arial"/>
              </a:rPr>
              <a:t>l</a:t>
            </a:r>
            <a:r>
              <a:rPr sz="1200" spc="4" dirty="0">
                <a:latin typeface="Arial"/>
                <a:cs typeface="Arial"/>
              </a:rPr>
              <a:t>ab</a:t>
            </a:r>
            <a:r>
              <a:rPr sz="1200" dirty="0">
                <a:latin typeface="Arial"/>
                <a:cs typeface="Arial"/>
              </a:rPr>
              <a:t>le</a:t>
            </a:r>
            <a:r>
              <a:rPr sz="1200" spc="-29"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en</a:t>
            </a:r>
            <a:r>
              <a:rPr sz="1200" dirty="0">
                <a:latin typeface="Arial"/>
                <a:cs typeface="Arial"/>
              </a:rPr>
              <a:t>try</a:t>
            </a:r>
            <a:r>
              <a:rPr sz="1200" spc="-9" dirty="0">
                <a:latin typeface="Arial"/>
                <a:cs typeface="Arial"/>
              </a:rPr>
              <a:t> </a:t>
            </a:r>
            <a:r>
              <a:rPr sz="1200" dirty="0">
                <a:latin typeface="Arial"/>
                <a:cs typeface="Arial"/>
              </a:rPr>
              <a:t>in</a:t>
            </a:r>
            <a:r>
              <a:rPr sz="1200" spc="-4" dirty="0">
                <a:latin typeface="Arial"/>
                <a:cs typeface="Arial"/>
              </a:rPr>
              <a:t>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24" dirty="0">
                <a:latin typeface="Arial"/>
                <a:cs typeface="Arial"/>
              </a:rPr>
              <a:t> </a:t>
            </a:r>
            <a:r>
              <a:rPr sz="1200" dirty="0">
                <a:latin typeface="Arial"/>
                <a:cs typeface="Arial"/>
              </a:rPr>
              <a:t>to</a:t>
            </a:r>
            <a:r>
              <a:rPr sz="1200" spc="4" dirty="0">
                <a:latin typeface="Arial"/>
                <a:cs typeface="Arial"/>
              </a:rPr>
              <a:t> a</a:t>
            </a:r>
            <a:r>
              <a:rPr sz="1200" spc="-9" dirty="0">
                <a:latin typeface="Arial"/>
                <a:cs typeface="Arial"/>
              </a:rPr>
              <a:t>v</a:t>
            </a:r>
            <a:r>
              <a:rPr sz="1200" spc="4" dirty="0">
                <a:latin typeface="Arial"/>
                <a:cs typeface="Arial"/>
              </a:rPr>
              <a:t>o</a:t>
            </a:r>
            <a:r>
              <a:rPr sz="1200" dirty="0">
                <a:latin typeface="Arial"/>
                <a:cs typeface="Arial"/>
              </a:rPr>
              <a:t>id </a:t>
            </a:r>
            <a:r>
              <a:rPr sz="1200" spc="4" dirty="0">
                <a:latin typeface="Arial"/>
                <a:cs typeface="Arial"/>
              </a:rPr>
              <a:t>po</a:t>
            </a:r>
            <a:r>
              <a:rPr sz="1200" dirty="0">
                <a:latin typeface="Arial"/>
                <a:cs typeface="Arial"/>
              </a:rPr>
              <a:t>ssibil</a:t>
            </a:r>
            <a:r>
              <a:rPr sz="1200" spc="-4" dirty="0">
                <a:latin typeface="Arial"/>
                <a:cs typeface="Arial"/>
              </a:rPr>
              <a:t>i</a:t>
            </a:r>
            <a:r>
              <a:rPr sz="1200" dirty="0">
                <a:latin typeface="Arial"/>
                <a:cs typeface="Arial"/>
              </a:rPr>
              <a:t>ty</a:t>
            </a:r>
            <a:r>
              <a:rPr sz="1200" spc="-19"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spc="4" dirty="0">
                <a:latin typeface="Arial"/>
                <a:cs typeface="Arial"/>
              </a:rPr>
              <a:t>upda</a:t>
            </a:r>
            <a:r>
              <a:rPr sz="1200" dirty="0">
                <a:latin typeface="Arial"/>
                <a:cs typeface="Arial"/>
              </a:rPr>
              <a:t>ti</a:t>
            </a:r>
            <a:r>
              <a:rPr sz="1200" spc="4" dirty="0">
                <a:latin typeface="Arial"/>
                <a:cs typeface="Arial"/>
              </a:rPr>
              <a:t>n</a:t>
            </a:r>
            <a:r>
              <a:rPr sz="1200" dirty="0">
                <a:latin typeface="Arial"/>
                <a:cs typeface="Arial"/>
              </a:rPr>
              <a:t>g</a:t>
            </a:r>
            <a:r>
              <a:rPr sz="1200" spc="-50"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q</a:t>
            </a:r>
            <a:r>
              <a:rPr sz="1200" spc="4" dirty="0">
                <a:latin typeface="Arial"/>
                <a:cs typeface="Arial"/>
              </a:rPr>
              <a:t>uan</a:t>
            </a:r>
            <a:r>
              <a:rPr sz="1200" dirty="0">
                <a:latin typeface="Arial"/>
                <a:cs typeface="Arial"/>
              </a:rPr>
              <a:t>tity</a:t>
            </a:r>
            <a:r>
              <a:rPr sz="1200" spc="-19" dirty="0">
                <a:latin typeface="Arial"/>
                <a:cs typeface="Arial"/>
              </a:rPr>
              <a:t> </a:t>
            </a:r>
            <a:r>
              <a:rPr sz="1200" dirty="0">
                <a:latin typeface="Arial"/>
                <a:cs typeface="Arial"/>
              </a:rPr>
              <a:t>t</a:t>
            </a:r>
            <a:r>
              <a:rPr sz="1200" spc="4" dirty="0">
                <a:latin typeface="Arial"/>
                <a:cs typeface="Arial"/>
              </a:rPr>
              <a:t>ha</a:t>
            </a:r>
            <a:r>
              <a:rPr sz="1200" dirty="0">
                <a:latin typeface="Arial"/>
                <a:cs typeface="Arial"/>
              </a:rPr>
              <a:t>t</a:t>
            </a:r>
            <a:r>
              <a:rPr sz="1200" spc="-4" dirty="0">
                <a:latin typeface="Arial"/>
                <a:cs typeface="Arial"/>
              </a:rPr>
              <a:t> </a:t>
            </a:r>
            <a:r>
              <a:rPr sz="1200" spc="4" dirty="0">
                <a:latin typeface="Arial"/>
                <a:cs typeface="Arial"/>
              </a:rPr>
              <a:t>ha</a:t>
            </a:r>
            <a:r>
              <a:rPr sz="1200" dirty="0">
                <a:latin typeface="Arial"/>
                <a:cs typeface="Arial"/>
              </a:rPr>
              <a:t>s</a:t>
            </a:r>
            <a:endParaRPr sz="1200">
              <a:latin typeface="Arial"/>
              <a:cs typeface="Arial"/>
            </a:endParaRPr>
          </a:p>
        </p:txBody>
      </p:sp>
      <p:sp>
        <p:nvSpPr>
          <p:cNvPr id="13" name="object 13"/>
          <p:cNvSpPr txBox="1"/>
          <p:nvPr/>
        </p:nvSpPr>
        <p:spPr>
          <a:xfrm>
            <a:off x="5715000" y="1143000"/>
            <a:ext cx="3200400" cy="1752600"/>
          </a:xfrm>
          <a:prstGeom prst="rect">
            <a:avLst/>
          </a:prstGeom>
        </p:spPr>
        <p:txBody>
          <a:bodyPr wrap="square" lIns="0" tIns="0" rIns="0" bIns="0" rtlCol="0">
            <a:noAutofit/>
          </a:bodyPr>
          <a:lstStyle/>
          <a:p>
            <a:pPr marL="25400">
              <a:lnSpc>
                <a:spcPts val="1000"/>
              </a:lnSpc>
            </a:pPr>
            <a:endParaRPr sz="1000"/>
          </a:p>
        </p:txBody>
      </p:sp>
      <p:sp>
        <p:nvSpPr>
          <p:cNvPr id="12" name="object 12"/>
          <p:cNvSpPr txBox="1"/>
          <p:nvPr/>
        </p:nvSpPr>
        <p:spPr>
          <a:xfrm>
            <a:off x="1676400" y="2895600"/>
            <a:ext cx="1371600" cy="304800"/>
          </a:xfrm>
          <a:prstGeom prst="rect">
            <a:avLst/>
          </a:prstGeom>
        </p:spPr>
        <p:txBody>
          <a:bodyPr wrap="square" lIns="0" tIns="0" rIns="0" bIns="0" rtlCol="0">
            <a:noAutofit/>
          </a:bodyPr>
          <a:lstStyle/>
          <a:p>
            <a:pPr marL="25400">
              <a:lnSpc>
                <a:spcPts val="1000"/>
              </a:lnSpc>
            </a:pPr>
            <a:endParaRPr sz="1000"/>
          </a:p>
        </p:txBody>
      </p:sp>
      <p:sp>
        <p:nvSpPr>
          <p:cNvPr id="11" name="object 11"/>
          <p:cNvSpPr txBox="1"/>
          <p:nvPr/>
        </p:nvSpPr>
        <p:spPr>
          <a:xfrm>
            <a:off x="3048000" y="2895600"/>
            <a:ext cx="2667000" cy="304800"/>
          </a:xfrm>
          <a:prstGeom prst="rect">
            <a:avLst/>
          </a:prstGeom>
        </p:spPr>
        <p:txBody>
          <a:bodyPr wrap="square" lIns="0" tIns="0" rIns="0" bIns="0" rtlCol="0">
            <a:noAutofit/>
          </a:bodyPr>
          <a:lstStyle/>
          <a:p>
            <a:pPr>
              <a:lnSpc>
                <a:spcPts val="1100"/>
              </a:lnSpc>
              <a:spcBef>
                <a:spcPts val="83"/>
              </a:spcBef>
            </a:pPr>
            <a:endParaRPr sz="1100"/>
          </a:p>
          <a:p>
            <a:pPr marL="91693">
              <a:lnSpc>
                <a:spcPts val="1215"/>
              </a:lnSpc>
              <a:spcBef>
                <a:spcPts val="60"/>
              </a:spcBef>
            </a:pPr>
            <a:r>
              <a:rPr b="1" baseline="-7246" dirty="0">
                <a:latin typeface="Arial"/>
                <a:cs typeface="Arial"/>
              </a:rPr>
              <a:t>RE</a:t>
            </a:r>
            <a:r>
              <a:rPr b="1" spc="-4" baseline="-7246" dirty="0">
                <a:latin typeface="Arial"/>
                <a:cs typeface="Arial"/>
              </a:rPr>
              <a:t> </a:t>
            </a:r>
            <a:r>
              <a:rPr b="1" baseline="-7246" dirty="0">
                <a:latin typeface="Arial"/>
                <a:cs typeface="Arial"/>
              </a:rPr>
              <a:t>–</a:t>
            </a:r>
            <a:r>
              <a:rPr b="1" spc="-4" baseline="-7246" dirty="0">
                <a:latin typeface="Arial"/>
                <a:cs typeface="Arial"/>
              </a:rPr>
              <a:t> </a:t>
            </a:r>
            <a:r>
              <a:rPr b="1" baseline="-7246" dirty="0">
                <a:latin typeface="Arial"/>
                <a:cs typeface="Arial"/>
              </a:rPr>
              <a:t>Cred</a:t>
            </a:r>
            <a:r>
              <a:rPr b="1" spc="4" baseline="-7246" dirty="0">
                <a:latin typeface="Arial"/>
                <a:cs typeface="Arial"/>
              </a:rPr>
              <a:t>i</a:t>
            </a:r>
            <a:r>
              <a:rPr b="1" baseline="-7246" dirty="0">
                <a:latin typeface="Arial"/>
                <a:cs typeface="Arial"/>
              </a:rPr>
              <a:t>t </a:t>
            </a:r>
            <a:r>
              <a:rPr b="1" spc="-4" baseline="-7246" dirty="0">
                <a:latin typeface="Arial"/>
                <a:cs typeface="Arial"/>
              </a:rPr>
              <a:t>f</a:t>
            </a:r>
            <a:r>
              <a:rPr b="1" baseline="-7246" dirty="0">
                <a:latin typeface="Arial"/>
                <a:cs typeface="Arial"/>
              </a:rPr>
              <a:t>or R</a:t>
            </a:r>
            <a:r>
              <a:rPr b="1" spc="4" baseline="-7246" dirty="0">
                <a:latin typeface="Arial"/>
                <a:cs typeface="Arial"/>
              </a:rPr>
              <a:t>e</a:t>
            </a:r>
            <a:r>
              <a:rPr b="1" baseline="-7246" dirty="0">
                <a:latin typeface="Arial"/>
                <a:cs typeface="Arial"/>
              </a:rPr>
              <a:t>t</a:t>
            </a:r>
            <a:r>
              <a:rPr b="1" spc="-4" baseline="-7246" dirty="0">
                <a:latin typeface="Arial"/>
                <a:cs typeface="Arial"/>
              </a:rPr>
              <a:t>u</a:t>
            </a:r>
            <a:r>
              <a:rPr b="1" baseline="-7246" dirty="0">
                <a:latin typeface="Arial"/>
                <a:cs typeface="Arial"/>
              </a:rPr>
              <a:t>rns </a:t>
            </a:r>
            <a:r>
              <a:rPr baseline="-7246" dirty="0">
                <a:latin typeface="Arial"/>
                <a:cs typeface="Arial"/>
              </a:rPr>
              <a:t>:</a:t>
            </a:r>
            <a:endParaRPr sz="1200">
              <a:latin typeface="Arial"/>
              <a:cs typeface="Arial"/>
            </a:endParaRPr>
          </a:p>
        </p:txBody>
      </p:sp>
      <p:sp>
        <p:nvSpPr>
          <p:cNvPr id="10" name="object 10"/>
          <p:cNvSpPr txBox="1"/>
          <p:nvPr/>
        </p:nvSpPr>
        <p:spPr>
          <a:xfrm>
            <a:off x="5715000" y="2895600"/>
            <a:ext cx="1371600" cy="304800"/>
          </a:xfrm>
          <a:prstGeom prst="rect">
            <a:avLst/>
          </a:prstGeom>
        </p:spPr>
        <p:txBody>
          <a:bodyPr wrap="square" lIns="0" tIns="0" rIns="0" bIns="0" rtlCol="0">
            <a:noAutofit/>
          </a:bodyPr>
          <a:lstStyle/>
          <a:p>
            <a:pPr marL="25400">
              <a:lnSpc>
                <a:spcPts val="1000"/>
              </a:lnSpc>
            </a:pPr>
            <a:endParaRPr sz="1000"/>
          </a:p>
        </p:txBody>
      </p:sp>
      <p:sp>
        <p:nvSpPr>
          <p:cNvPr id="9" name="object 9"/>
          <p:cNvSpPr txBox="1"/>
          <p:nvPr/>
        </p:nvSpPr>
        <p:spPr>
          <a:xfrm>
            <a:off x="7086600" y="2895600"/>
            <a:ext cx="1828800" cy="1524000"/>
          </a:xfrm>
          <a:prstGeom prst="rect">
            <a:avLst/>
          </a:prstGeom>
        </p:spPr>
        <p:txBody>
          <a:bodyPr wrap="square" lIns="0" tIns="0" rIns="0" bIns="0" rtlCol="0">
            <a:noAutofit/>
          </a:bodyPr>
          <a:lstStyle/>
          <a:p>
            <a:pPr marL="25400">
              <a:lnSpc>
                <a:spcPts val="1000"/>
              </a:lnSpc>
            </a:pPr>
            <a:endParaRPr sz="1000"/>
          </a:p>
        </p:txBody>
      </p:sp>
      <p:sp>
        <p:nvSpPr>
          <p:cNvPr id="8" name="object 8"/>
          <p:cNvSpPr txBox="1"/>
          <p:nvPr/>
        </p:nvSpPr>
        <p:spPr>
          <a:xfrm>
            <a:off x="1676400" y="3200400"/>
            <a:ext cx="1371600" cy="1447800"/>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3048000" y="3200400"/>
            <a:ext cx="4038600" cy="1219200"/>
          </a:xfrm>
          <a:prstGeom prst="rect">
            <a:avLst/>
          </a:prstGeom>
        </p:spPr>
        <p:txBody>
          <a:bodyPr wrap="square" lIns="0" tIns="0" rIns="0" bIns="0" rtlCol="0">
            <a:noAutofit/>
          </a:bodyPr>
          <a:lstStyle/>
          <a:p>
            <a:pPr marL="561086" marR="913614" indent="-170687">
              <a:lnSpc>
                <a:spcPct val="100041"/>
              </a:lnSpc>
              <a:spcBef>
                <a:spcPts val="220"/>
              </a:spcBef>
            </a:pPr>
            <a:r>
              <a:rPr sz="1200" spc="4" dirty="0">
                <a:latin typeface="Arial"/>
                <a:cs typeface="Arial"/>
              </a:rPr>
              <a:t>1</a:t>
            </a:r>
            <a:r>
              <a:rPr sz="1200" dirty="0">
                <a:latin typeface="Arial"/>
                <a:cs typeface="Arial"/>
              </a:rPr>
              <a:t>.</a:t>
            </a:r>
            <a:r>
              <a:rPr sz="1200" spc="-114" dirty="0">
                <a:latin typeface="Arial"/>
                <a:cs typeface="Arial"/>
              </a:rPr>
              <a:t>Y</a:t>
            </a:r>
            <a:r>
              <a:rPr sz="1200" spc="4" dirty="0">
                <a:latin typeface="Arial"/>
                <a:cs typeface="Arial"/>
              </a:rPr>
              <a:t>o</a:t>
            </a:r>
            <a:r>
              <a:rPr sz="1200" dirty="0">
                <a:latin typeface="Arial"/>
                <a:cs typeface="Arial"/>
              </a:rPr>
              <a:t>u</a:t>
            </a:r>
            <a:r>
              <a:rPr sz="1200" spc="-14" dirty="0">
                <a:latin typeface="Arial"/>
                <a:cs typeface="Arial"/>
              </a:rPr>
              <a:t> </a:t>
            </a:r>
            <a:r>
              <a:rPr sz="1200" dirty="0">
                <a:latin typeface="Arial"/>
                <a:cs typeface="Arial"/>
              </a:rPr>
              <a:t>c</a:t>
            </a:r>
            <a:r>
              <a:rPr sz="1200" spc="4" dirty="0">
                <a:latin typeface="Arial"/>
                <a:cs typeface="Arial"/>
              </a:rPr>
              <a:t>a</a:t>
            </a:r>
            <a:r>
              <a:rPr sz="1200" dirty="0">
                <a:latin typeface="Arial"/>
                <a:cs typeface="Arial"/>
              </a:rPr>
              <a:t>n</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e</a:t>
            </a:r>
            <a:r>
              <a:rPr sz="1200" spc="-14" dirty="0">
                <a:latin typeface="Arial"/>
                <a:cs typeface="Arial"/>
              </a:rPr>
              <a:t> </a:t>
            </a:r>
            <a:r>
              <a:rPr sz="1200" dirty="0">
                <a:latin typeface="Arial"/>
                <a:cs typeface="Arial"/>
              </a:rPr>
              <a:t>a</a:t>
            </a:r>
            <a:r>
              <a:rPr sz="1200" spc="-4" dirty="0">
                <a:latin typeface="Arial"/>
                <a:cs typeface="Arial"/>
              </a:rPr>
              <a:t> </a:t>
            </a:r>
            <a:r>
              <a:rPr sz="1200" dirty="0">
                <a:latin typeface="Arial"/>
                <a:cs typeface="Arial"/>
              </a:rPr>
              <a:t>ret</a:t>
            </a:r>
            <a:r>
              <a:rPr sz="1200" spc="4" dirty="0">
                <a:latin typeface="Arial"/>
                <a:cs typeface="Arial"/>
              </a:rPr>
              <a:t>u</a:t>
            </a:r>
            <a:r>
              <a:rPr sz="1200" dirty="0">
                <a:latin typeface="Arial"/>
                <a:cs typeface="Arial"/>
              </a:rPr>
              <a:t>rn</a:t>
            </a:r>
            <a:r>
              <a:rPr sz="1200" spc="-4" dirty="0">
                <a:latin typeface="Arial"/>
                <a:cs typeface="Arial"/>
              </a:rPr>
              <a:t> </a:t>
            </a:r>
            <a:r>
              <a:rPr sz="1200" spc="14" dirty="0">
                <a:latin typeface="Arial"/>
                <a:cs typeface="Arial"/>
              </a:rPr>
              <a:t>f</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g</a:t>
            </a:r>
            <a:r>
              <a:rPr sz="1200" spc="4" dirty="0">
                <a:latin typeface="Arial"/>
                <a:cs typeface="Arial"/>
              </a:rPr>
              <a:t>ood</a:t>
            </a:r>
            <a:r>
              <a:rPr sz="1200" dirty="0">
                <a:latin typeface="Arial"/>
                <a:cs typeface="Arial"/>
              </a:rPr>
              <a:t>s</a:t>
            </a:r>
            <a:r>
              <a:rPr sz="1200" spc="-19" dirty="0">
                <a:latin typeface="Arial"/>
                <a:cs typeface="Arial"/>
              </a:rPr>
              <a:t> </a:t>
            </a:r>
            <a:r>
              <a:rPr sz="1200" dirty="0">
                <a:latin typeface="Arial"/>
                <a:cs typeface="Arial"/>
              </a:rPr>
              <a:t>s</a:t>
            </a:r>
            <a:r>
              <a:rPr sz="1200" spc="4" dirty="0">
                <a:latin typeface="Arial"/>
                <a:cs typeface="Arial"/>
              </a:rPr>
              <a:t>en</a:t>
            </a:r>
            <a:r>
              <a:rPr sz="1200" dirty="0">
                <a:latin typeface="Arial"/>
                <a:cs typeface="Arial"/>
              </a:rPr>
              <a:t>t </a:t>
            </a:r>
            <a:r>
              <a:rPr sz="1200" spc="4" dirty="0">
                <a:latin typeface="Arial"/>
                <a:cs typeface="Arial"/>
              </a:rPr>
              <a:t>ba</a:t>
            </a:r>
            <a:r>
              <a:rPr sz="1200" dirty="0">
                <a:latin typeface="Arial"/>
                <a:cs typeface="Arial"/>
              </a:rPr>
              <a:t>ck</a:t>
            </a:r>
            <a:r>
              <a:rPr sz="1200" spc="-9" dirty="0">
                <a:latin typeface="Arial"/>
                <a:cs typeface="Arial"/>
              </a:rPr>
              <a:t> </a:t>
            </a:r>
            <a:r>
              <a:rPr sz="1200" spc="14" dirty="0">
                <a:latin typeface="Arial"/>
                <a:cs typeface="Arial"/>
              </a:rPr>
              <a:t>f</a:t>
            </a:r>
            <a:r>
              <a:rPr sz="1200" dirty="0">
                <a:latin typeface="Arial"/>
                <a:cs typeface="Arial"/>
              </a:rPr>
              <a:t>rom</a:t>
            </a:r>
            <a:r>
              <a:rPr sz="1200" spc="-9" dirty="0">
                <a:latin typeface="Arial"/>
                <a:cs typeface="Arial"/>
              </a:rPr>
              <a:t> </a:t>
            </a:r>
            <a:r>
              <a:rPr sz="1200" dirty="0">
                <a:latin typeface="Arial"/>
                <a:cs typeface="Arial"/>
              </a:rPr>
              <a:t>c</a:t>
            </a:r>
            <a:r>
              <a:rPr sz="1200" spc="4" dirty="0">
                <a:latin typeface="Arial"/>
                <a:cs typeface="Arial"/>
              </a:rPr>
              <a:t>u</a:t>
            </a:r>
            <a:r>
              <a:rPr sz="1200" dirty="0">
                <a:latin typeface="Arial"/>
                <a:cs typeface="Arial"/>
              </a:rPr>
              <a:t>st</a:t>
            </a:r>
            <a:r>
              <a:rPr sz="1200" spc="4" dirty="0">
                <a:latin typeface="Arial"/>
                <a:cs typeface="Arial"/>
              </a:rPr>
              <a:t>ome</a:t>
            </a:r>
            <a:r>
              <a:rPr sz="1200" spc="-64" dirty="0">
                <a:latin typeface="Arial"/>
                <a:cs typeface="Arial"/>
              </a:rPr>
              <a:t>r</a:t>
            </a:r>
            <a:r>
              <a:rPr sz="1200" dirty="0">
                <a:latin typeface="Arial"/>
                <a:cs typeface="Arial"/>
              </a:rPr>
              <a:t>.</a:t>
            </a:r>
            <a:endParaRPr sz="1200">
              <a:latin typeface="Arial"/>
              <a:cs typeface="Arial"/>
            </a:endParaRPr>
          </a:p>
          <a:p>
            <a:pPr marL="390398">
              <a:lnSpc>
                <a:spcPct val="95825"/>
              </a:lnSpc>
            </a:pPr>
            <a:r>
              <a:rPr sz="1200" spc="4" dirty="0">
                <a:latin typeface="Arial"/>
                <a:cs typeface="Arial"/>
              </a:rPr>
              <a:t>2</a:t>
            </a:r>
            <a:r>
              <a:rPr sz="1200" dirty="0">
                <a:latin typeface="Arial"/>
                <a:cs typeface="Arial"/>
              </a:rPr>
              <a:t>.R</a:t>
            </a:r>
            <a:r>
              <a:rPr sz="1200" spc="4" dirty="0">
                <a:latin typeface="Arial"/>
                <a:cs typeface="Arial"/>
              </a:rPr>
              <a:t>e</a:t>
            </a:r>
            <a:r>
              <a:rPr sz="1200" dirty="0">
                <a:latin typeface="Arial"/>
                <a:cs typeface="Arial"/>
              </a:rPr>
              <a:t>t</a:t>
            </a:r>
            <a:r>
              <a:rPr sz="1200" spc="4" dirty="0">
                <a:latin typeface="Arial"/>
                <a:cs typeface="Arial"/>
              </a:rPr>
              <a:t>u</a:t>
            </a:r>
            <a:r>
              <a:rPr sz="1200" dirty="0">
                <a:latin typeface="Arial"/>
                <a:cs typeface="Arial"/>
              </a:rPr>
              <a:t>rns</a:t>
            </a:r>
            <a:r>
              <a:rPr sz="1200" spc="-29" dirty="0">
                <a:latin typeface="Arial"/>
                <a:cs typeface="Arial"/>
              </a:rPr>
              <a:t> </a:t>
            </a:r>
            <a:r>
              <a:rPr sz="1200" spc="4" dirty="0">
                <a:latin typeface="Arial"/>
                <a:cs typeface="Arial"/>
              </a:rPr>
              <a:t>a</a:t>
            </a:r>
            <a:r>
              <a:rPr sz="1200" dirty="0">
                <a:latin typeface="Arial"/>
                <a:cs typeface="Arial"/>
              </a:rPr>
              <a:t>re</a:t>
            </a:r>
            <a:r>
              <a:rPr sz="1200" spc="-4" dirty="0">
                <a:latin typeface="Arial"/>
                <a:cs typeface="Arial"/>
              </a:rPr>
              <a:t> </a:t>
            </a:r>
            <a:r>
              <a:rPr sz="1200" spc="4" dirty="0">
                <a:latin typeface="Arial"/>
                <a:cs typeface="Arial"/>
              </a:rPr>
              <a:t>p</a:t>
            </a:r>
            <a:r>
              <a:rPr sz="1200" dirty="0">
                <a:latin typeface="Arial"/>
                <a:cs typeface="Arial"/>
              </a:rPr>
              <a:t>roc</a:t>
            </a:r>
            <a:r>
              <a:rPr sz="1200" spc="4" dirty="0">
                <a:latin typeface="Arial"/>
                <a:cs typeface="Arial"/>
              </a:rPr>
              <a:t>e</a:t>
            </a:r>
            <a:r>
              <a:rPr sz="1200" dirty="0">
                <a:latin typeface="Arial"/>
                <a:cs typeface="Arial"/>
              </a:rPr>
              <a:t>ss</a:t>
            </a:r>
            <a:r>
              <a:rPr sz="1200" spc="4" dirty="0">
                <a:latin typeface="Arial"/>
                <a:cs typeface="Arial"/>
              </a:rPr>
              <a:t>e</a:t>
            </a:r>
            <a:r>
              <a:rPr sz="1200" dirty="0">
                <a:latin typeface="Arial"/>
                <a:cs typeface="Arial"/>
              </a:rPr>
              <a:t>d</a:t>
            </a:r>
            <a:r>
              <a:rPr sz="1200" spc="-29" dirty="0">
                <a:latin typeface="Arial"/>
                <a:cs typeface="Arial"/>
              </a:rPr>
              <a:t> </a:t>
            </a:r>
            <a:r>
              <a:rPr sz="1200" dirty="0">
                <a:latin typeface="Arial"/>
                <a:cs typeface="Arial"/>
              </a:rPr>
              <a:t>in</a:t>
            </a:r>
            <a:r>
              <a:rPr sz="1200" spc="-4"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s</a:t>
            </a:r>
            <a:r>
              <a:rPr sz="1200" spc="4" dirty="0">
                <a:latin typeface="Arial"/>
                <a:cs typeface="Arial"/>
              </a:rPr>
              <a:t>am</a:t>
            </a:r>
            <a:r>
              <a:rPr sz="1200" dirty="0">
                <a:latin typeface="Arial"/>
                <a:cs typeface="Arial"/>
              </a:rPr>
              <a:t>e</a:t>
            </a:r>
            <a:r>
              <a:rPr sz="1200" spc="-29" dirty="0">
                <a:latin typeface="Arial"/>
                <a:cs typeface="Arial"/>
              </a:rPr>
              <a:t> </a:t>
            </a:r>
            <a:r>
              <a:rPr sz="1200" spc="-14" dirty="0">
                <a:latin typeface="Arial"/>
                <a:cs typeface="Arial"/>
              </a:rPr>
              <a:t>w</a:t>
            </a:r>
            <a:r>
              <a:rPr sz="1200" spc="4" dirty="0">
                <a:latin typeface="Arial"/>
                <a:cs typeface="Arial"/>
              </a:rPr>
              <a:t>a</a:t>
            </a:r>
            <a:r>
              <a:rPr sz="1200" dirty="0">
                <a:latin typeface="Arial"/>
                <a:cs typeface="Arial"/>
              </a:rPr>
              <a:t>y</a:t>
            </a:r>
            <a:r>
              <a:rPr sz="1200" spc="14" dirty="0">
                <a:latin typeface="Arial"/>
                <a:cs typeface="Arial"/>
              </a:rPr>
              <a:t> </a:t>
            </a:r>
            <a:r>
              <a:rPr sz="1200" spc="4" dirty="0">
                <a:latin typeface="Arial"/>
                <a:cs typeface="Arial"/>
              </a:rPr>
              <a:t>a</a:t>
            </a:r>
            <a:r>
              <a:rPr sz="1200" dirty="0">
                <a:latin typeface="Arial"/>
                <a:cs typeface="Arial"/>
              </a:rPr>
              <a:t>s</a:t>
            </a:r>
            <a:endParaRPr sz="1200">
              <a:latin typeface="Arial"/>
              <a:cs typeface="Arial"/>
            </a:endParaRPr>
          </a:p>
          <a:p>
            <a:pPr marL="561086">
              <a:lnSpc>
                <a:spcPct val="95825"/>
              </a:lnSpc>
              <a:spcBef>
                <a:spcPts val="60"/>
              </a:spcBef>
            </a:pPr>
            <a:r>
              <a:rPr sz="1200" dirty="0">
                <a:latin typeface="Arial"/>
                <a:cs typeface="Arial"/>
              </a:rPr>
              <a:t>a</a:t>
            </a:r>
            <a:r>
              <a:rPr sz="1200" spc="4" dirty="0">
                <a:latin typeface="Arial"/>
                <a:cs typeface="Arial"/>
              </a:rPr>
              <a:t> </a:t>
            </a:r>
            <a:r>
              <a:rPr sz="1200" dirty="0">
                <a:latin typeface="Arial"/>
                <a:cs typeface="Arial"/>
              </a:rPr>
              <a:t>c</a:t>
            </a:r>
            <a:r>
              <a:rPr sz="1200" spc="-4" dirty="0">
                <a:latin typeface="Arial"/>
                <a:cs typeface="Arial"/>
              </a:rPr>
              <a:t>r</a:t>
            </a:r>
            <a:r>
              <a:rPr sz="1200" dirty="0">
                <a:latin typeface="Arial"/>
                <a:cs typeface="Arial"/>
              </a:rPr>
              <a:t>e</a:t>
            </a:r>
            <a:r>
              <a:rPr sz="1200" spc="4" dirty="0">
                <a:latin typeface="Arial"/>
                <a:cs typeface="Arial"/>
              </a:rPr>
              <a:t>d</a:t>
            </a:r>
            <a:r>
              <a:rPr sz="1200" dirty="0">
                <a:latin typeface="Arial"/>
                <a:cs typeface="Arial"/>
              </a:rPr>
              <a:t>it</a:t>
            </a:r>
            <a:r>
              <a:rPr sz="1200" spc="-9" dirty="0">
                <a:latin typeface="Arial"/>
                <a:cs typeface="Arial"/>
              </a:rPr>
              <a:t> </a:t>
            </a:r>
            <a:r>
              <a:rPr sz="1200" spc="4" dirty="0">
                <a:latin typeface="Arial"/>
                <a:cs typeface="Arial"/>
              </a:rPr>
              <a:t>m</a:t>
            </a:r>
            <a:r>
              <a:rPr sz="1200" dirty="0">
                <a:latin typeface="Arial"/>
                <a:cs typeface="Arial"/>
              </a:rPr>
              <a:t>e</a:t>
            </a:r>
            <a:r>
              <a:rPr sz="1200" spc="9" dirty="0">
                <a:latin typeface="Arial"/>
                <a:cs typeface="Arial"/>
              </a:rPr>
              <a:t>m</a:t>
            </a:r>
            <a:r>
              <a:rPr sz="1200" dirty="0">
                <a:latin typeface="Arial"/>
                <a:cs typeface="Arial"/>
              </a:rPr>
              <a:t>o</a:t>
            </a:r>
            <a:r>
              <a:rPr sz="1200" spc="-29" dirty="0">
                <a:latin typeface="Arial"/>
                <a:cs typeface="Arial"/>
              </a:rPr>
              <a:t> </a:t>
            </a:r>
            <a:r>
              <a:rPr sz="1200" spc="-4" dirty="0">
                <a:latin typeface="Arial"/>
                <a:cs typeface="Arial"/>
              </a:rPr>
              <a:t>r</a:t>
            </a:r>
            <a:r>
              <a:rPr sz="1200" dirty="0">
                <a:latin typeface="Arial"/>
                <a:cs typeface="Arial"/>
              </a:rPr>
              <a:t>e</a:t>
            </a:r>
            <a:r>
              <a:rPr sz="1200" spc="-4" dirty="0">
                <a:latin typeface="Arial"/>
                <a:cs typeface="Arial"/>
              </a:rPr>
              <a:t>q</a:t>
            </a:r>
            <a:r>
              <a:rPr sz="1200" dirty="0">
                <a:latin typeface="Arial"/>
                <a:cs typeface="Arial"/>
              </a:rPr>
              <a:t>u</a:t>
            </a:r>
            <a:r>
              <a:rPr sz="1200" spc="4" dirty="0">
                <a:latin typeface="Arial"/>
                <a:cs typeface="Arial"/>
              </a:rPr>
              <a:t>e</a:t>
            </a:r>
            <a:r>
              <a:rPr sz="1200" dirty="0">
                <a:latin typeface="Arial"/>
                <a:cs typeface="Arial"/>
              </a:rPr>
              <a:t>st.</a:t>
            </a:r>
            <a:endParaRPr sz="1200">
              <a:latin typeface="Arial"/>
              <a:cs typeface="Arial"/>
            </a:endParaRPr>
          </a:p>
          <a:p>
            <a:pPr marL="561086" marR="869571" indent="-170687">
              <a:lnSpc>
                <a:spcPct val="100041"/>
              </a:lnSpc>
              <a:spcBef>
                <a:spcPts val="60"/>
              </a:spcBef>
            </a:pPr>
            <a:r>
              <a:rPr sz="1200" spc="4" dirty="0">
                <a:latin typeface="Arial"/>
                <a:cs typeface="Arial"/>
              </a:rPr>
              <a:t>3</a:t>
            </a:r>
            <a:r>
              <a:rPr sz="1200" dirty="0">
                <a:latin typeface="Arial"/>
                <a:cs typeface="Arial"/>
              </a:rPr>
              <a:t>.</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d</a:t>
            </a:r>
            <a:r>
              <a:rPr sz="1200" dirty="0">
                <a:latin typeface="Arial"/>
                <a:cs typeface="Arial"/>
              </a:rPr>
              <a:t>it</a:t>
            </a:r>
            <a:r>
              <a:rPr sz="1200" spc="-9" dirty="0">
                <a:latin typeface="Arial"/>
                <a:cs typeface="Arial"/>
              </a:rPr>
              <a:t> </a:t>
            </a:r>
            <a:r>
              <a:rPr sz="1200" spc="4" dirty="0">
                <a:latin typeface="Arial"/>
                <a:cs typeface="Arial"/>
              </a:rPr>
              <a:t>mem</a:t>
            </a:r>
            <a:r>
              <a:rPr sz="1200" dirty="0">
                <a:latin typeface="Arial"/>
                <a:cs typeface="Arial"/>
              </a:rPr>
              <a:t>o</a:t>
            </a:r>
            <a:r>
              <a:rPr sz="1200" spc="-29" dirty="0">
                <a:latin typeface="Arial"/>
                <a:cs typeface="Arial"/>
              </a:rPr>
              <a:t> </a:t>
            </a:r>
            <a:r>
              <a:rPr sz="1200" dirty="0">
                <a:latin typeface="Arial"/>
                <a:cs typeface="Arial"/>
              </a:rPr>
              <a:t>is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ed</a:t>
            </a:r>
            <a:r>
              <a:rPr sz="1200" spc="-14" dirty="0">
                <a:latin typeface="Arial"/>
                <a:cs typeface="Arial"/>
              </a:rPr>
              <a:t> w</a:t>
            </a:r>
            <a:r>
              <a:rPr sz="1200" dirty="0">
                <a:latin typeface="Arial"/>
                <a:cs typeface="Arial"/>
              </a:rPr>
              <a:t>ith</a:t>
            </a:r>
            <a:r>
              <a:rPr sz="1200" spc="4" dirty="0">
                <a:latin typeface="Arial"/>
                <a:cs typeface="Arial"/>
              </a:rPr>
              <a:t> </a:t>
            </a:r>
            <a:r>
              <a:rPr sz="1200" dirty="0">
                <a:latin typeface="Arial"/>
                <a:cs typeface="Arial"/>
              </a:rPr>
              <a:t>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a:t>
            </a:r>
            <a:r>
              <a:rPr sz="1200" spc="-39" dirty="0">
                <a:latin typeface="Arial"/>
                <a:cs typeface="Arial"/>
              </a:rPr>
              <a:t> </a:t>
            </a:r>
            <a:r>
              <a:rPr sz="1200" dirty="0">
                <a:latin typeface="Arial"/>
                <a:cs typeface="Arial"/>
              </a:rPr>
              <a:t>to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9" dirty="0">
                <a:latin typeface="Arial"/>
                <a:cs typeface="Arial"/>
              </a:rPr>
              <a:t> </a:t>
            </a:r>
            <a:r>
              <a:rPr sz="1200" spc="4" dirty="0">
                <a:latin typeface="Arial"/>
                <a:cs typeface="Arial"/>
              </a:rPr>
              <a:t>an</a:t>
            </a:r>
            <a:r>
              <a:rPr sz="1200" dirty="0">
                <a:latin typeface="Arial"/>
                <a:cs typeface="Arial"/>
              </a:rPr>
              <a:t>d</a:t>
            </a:r>
            <a:r>
              <a:rPr sz="1200" spc="-14" dirty="0">
                <a:latin typeface="Arial"/>
                <a:cs typeface="Arial"/>
              </a:rPr>
              <a:t> </a:t>
            </a:r>
            <a:r>
              <a:rPr sz="1200" spc="4" dirty="0">
                <a:latin typeface="Arial"/>
                <a:cs typeface="Arial"/>
              </a:rPr>
              <a:t>no</a:t>
            </a:r>
            <a:r>
              <a:rPr sz="1200" dirty="0">
                <a:latin typeface="Arial"/>
                <a:cs typeface="Arial"/>
              </a:rPr>
              <a:t>t</a:t>
            </a:r>
            <a:r>
              <a:rPr sz="1200" spc="-19" dirty="0">
                <a:latin typeface="Arial"/>
                <a:cs typeface="Arial"/>
              </a:rPr>
              <a:t> </a:t>
            </a:r>
            <a:r>
              <a:rPr sz="1200" dirty="0">
                <a:latin typeface="Arial"/>
                <a:cs typeface="Arial"/>
              </a:rPr>
              <a:t>t</a:t>
            </a:r>
            <a:r>
              <a:rPr sz="1200" spc="4" dirty="0">
                <a:latin typeface="Arial"/>
                <a:cs typeface="Arial"/>
              </a:rPr>
              <a:t>h</a:t>
            </a:r>
            <a:r>
              <a:rPr sz="1200" dirty="0">
                <a:latin typeface="Arial"/>
                <a:cs typeface="Arial"/>
              </a:rPr>
              <a:t>e</a:t>
            </a:r>
            <a:r>
              <a:rPr sz="1200" spc="-4" dirty="0">
                <a:latin typeface="Arial"/>
                <a:cs typeface="Arial"/>
              </a:rPr>
              <a:t> </a:t>
            </a:r>
            <a:r>
              <a:rPr sz="1200" dirty="0">
                <a:latin typeface="Arial"/>
                <a:cs typeface="Arial"/>
              </a:rPr>
              <a:t>ret</a:t>
            </a:r>
            <a:r>
              <a:rPr sz="1200" spc="4" dirty="0">
                <a:latin typeface="Arial"/>
                <a:cs typeface="Arial"/>
              </a:rPr>
              <a:t>u</a:t>
            </a:r>
            <a:r>
              <a:rPr sz="1200" dirty="0">
                <a:latin typeface="Arial"/>
                <a:cs typeface="Arial"/>
              </a:rPr>
              <a:t>rn</a:t>
            </a:r>
            <a:r>
              <a:rPr sz="1200" spc="-19" dirty="0">
                <a:latin typeface="Arial"/>
                <a:cs typeface="Arial"/>
              </a:rPr>
              <a:t> </a:t>
            </a:r>
            <a:r>
              <a:rPr sz="1200" spc="4" dirty="0">
                <a:latin typeface="Arial"/>
                <a:cs typeface="Arial"/>
              </a:rPr>
              <a:t>de</a:t>
            </a:r>
            <a:r>
              <a:rPr sz="1200" dirty="0">
                <a:latin typeface="Arial"/>
                <a:cs typeface="Arial"/>
              </a:rPr>
              <a:t>l</a:t>
            </a:r>
            <a:r>
              <a:rPr sz="1200" spc="-4" dirty="0">
                <a:latin typeface="Arial"/>
                <a:cs typeface="Arial"/>
              </a:rPr>
              <a:t>i</a:t>
            </a:r>
            <a:r>
              <a:rPr sz="1200" spc="-9" dirty="0">
                <a:latin typeface="Arial"/>
                <a:cs typeface="Arial"/>
              </a:rPr>
              <a:t>v</a:t>
            </a:r>
            <a:r>
              <a:rPr sz="1200" spc="4" dirty="0">
                <a:latin typeface="Arial"/>
                <a:cs typeface="Arial"/>
              </a:rPr>
              <a:t>e</a:t>
            </a:r>
            <a:r>
              <a:rPr sz="1200" dirty="0">
                <a:latin typeface="Arial"/>
                <a:cs typeface="Arial"/>
              </a:rPr>
              <a:t>r</a:t>
            </a:r>
            <a:r>
              <a:rPr sz="1200" spc="-100" dirty="0">
                <a:latin typeface="Arial"/>
                <a:cs typeface="Arial"/>
              </a:rPr>
              <a:t>y</a:t>
            </a:r>
            <a:r>
              <a:rPr sz="1200" dirty="0">
                <a:latin typeface="Arial"/>
                <a:cs typeface="Arial"/>
              </a:rPr>
              <a:t>.</a:t>
            </a:r>
            <a:endParaRPr sz="1200">
              <a:latin typeface="Arial"/>
              <a:cs typeface="Arial"/>
            </a:endParaRPr>
          </a:p>
        </p:txBody>
      </p:sp>
      <p:sp>
        <p:nvSpPr>
          <p:cNvPr id="6" name="object 6"/>
          <p:cNvSpPr txBox="1"/>
          <p:nvPr/>
        </p:nvSpPr>
        <p:spPr>
          <a:xfrm>
            <a:off x="3048000" y="4419600"/>
            <a:ext cx="1828800" cy="228600"/>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4876800" y="4419600"/>
            <a:ext cx="2209800" cy="228600"/>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7086600" y="4419600"/>
            <a:ext cx="1828800" cy="228600"/>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1676400" y="4648200"/>
            <a:ext cx="3200400" cy="1676400"/>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4876800" y="4648200"/>
            <a:ext cx="4038600" cy="1676400"/>
          </a:xfrm>
          <a:prstGeom prst="rect">
            <a:avLst/>
          </a:prstGeom>
        </p:spPr>
        <p:txBody>
          <a:bodyPr wrap="square" lIns="0" tIns="0" rIns="0" bIns="0" rtlCol="0">
            <a:noAutofit/>
          </a:bodyPr>
          <a:lstStyle/>
          <a:p>
            <a:pPr marL="67945" marR="1857425" algn="ctr">
              <a:lnSpc>
                <a:spcPts val="1365"/>
              </a:lnSpc>
              <a:spcBef>
                <a:spcPts val="68"/>
              </a:spcBef>
            </a:pPr>
            <a:r>
              <a:rPr sz="1200" b="1" dirty="0">
                <a:latin typeface="Arial"/>
                <a:cs typeface="Arial"/>
              </a:rPr>
              <a:t>In</a:t>
            </a:r>
            <a:r>
              <a:rPr sz="1200" b="1" spc="-19" dirty="0">
                <a:latin typeface="Arial"/>
                <a:cs typeface="Arial"/>
              </a:rPr>
              <a:t>v</a:t>
            </a:r>
            <a:r>
              <a:rPr sz="1200" b="1" dirty="0">
                <a:latin typeface="Arial"/>
                <a:cs typeface="Arial"/>
              </a:rPr>
              <a:t>oi</a:t>
            </a:r>
            <a:r>
              <a:rPr sz="1200" b="1" spc="4" dirty="0">
                <a:latin typeface="Arial"/>
                <a:cs typeface="Arial"/>
              </a:rPr>
              <a:t>c</a:t>
            </a:r>
            <a:r>
              <a:rPr sz="1200" b="1" dirty="0">
                <a:latin typeface="Arial"/>
                <a:cs typeface="Arial"/>
              </a:rPr>
              <a:t>e</a:t>
            </a:r>
            <a:r>
              <a:rPr sz="1200" b="1" spc="4" dirty="0">
                <a:latin typeface="Arial"/>
                <a:cs typeface="Arial"/>
              </a:rPr>
              <a:t> </a:t>
            </a:r>
            <a:r>
              <a:rPr sz="1200" b="1" dirty="0">
                <a:latin typeface="Arial"/>
                <a:cs typeface="Arial"/>
              </a:rPr>
              <a:t>Corr</a:t>
            </a:r>
            <a:r>
              <a:rPr sz="1200" b="1" spc="4" dirty="0">
                <a:latin typeface="Arial"/>
                <a:cs typeface="Arial"/>
              </a:rPr>
              <a:t>ec</a:t>
            </a:r>
            <a:r>
              <a:rPr sz="1200" b="1" dirty="0">
                <a:latin typeface="Arial"/>
                <a:cs typeface="Arial"/>
              </a:rPr>
              <a:t>tion</a:t>
            </a:r>
            <a:r>
              <a:rPr sz="1200" b="1" spc="-9" dirty="0">
                <a:latin typeface="Arial"/>
                <a:cs typeface="Arial"/>
              </a:rPr>
              <a:t> </a:t>
            </a:r>
            <a:r>
              <a:rPr sz="1200" b="1" dirty="0">
                <a:latin typeface="Arial"/>
                <a:cs typeface="Arial"/>
              </a:rPr>
              <a:t>Requ</a:t>
            </a:r>
            <a:r>
              <a:rPr sz="1200" b="1" spc="4" dirty="0">
                <a:latin typeface="Arial"/>
                <a:cs typeface="Arial"/>
              </a:rPr>
              <a:t>es</a:t>
            </a:r>
            <a:r>
              <a:rPr sz="1200" b="1" dirty="0">
                <a:latin typeface="Arial"/>
                <a:cs typeface="Arial"/>
              </a:rPr>
              <a:t>t </a:t>
            </a:r>
            <a:r>
              <a:rPr sz="1200" dirty="0">
                <a:latin typeface="Arial"/>
                <a:cs typeface="Arial"/>
              </a:rPr>
              <a:t>:</a:t>
            </a:r>
            <a:endParaRPr sz="1200">
              <a:latin typeface="Arial"/>
              <a:cs typeface="Arial"/>
            </a:endParaRPr>
          </a:p>
          <a:p>
            <a:pPr marL="390778">
              <a:lnSpc>
                <a:spcPct val="95825"/>
              </a:lnSpc>
            </a:pPr>
            <a:r>
              <a:rPr sz="1200" spc="4" dirty="0">
                <a:latin typeface="Arial"/>
                <a:cs typeface="Arial"/>
              </a:rPr>
              <a:t>1</a:t>
            </a:r>
            <a:r>
              <a:rPr sz="1200" dirty="0">
                <a:latin typeface="Arial"/>
                <a:cs typeface="Arial"/>
              </a:rPr>
              <a:t>.</a:t>
            </a:r>
            <a:r>
              <a:rPr sz="1200" spc="4" dirty="0">
                <a:latin typeface="Arial"/>
                <a:cs typeface="Arial"/>
              </a:rPr>
              <a:t>I</a:t>
            </a:r>
            <a:r>
              <a:rPr sz="1200" dirty="0">
                <a:latin typeface="Arial"/>
                <a:cs typeface="Arial"/>
              </a:rPr>
              <a:t>t</a:t>
            </a:r>
            <a:r>
              <a:rPr sz="1200" spc="4" dirty="0">
                <a:latin typeface="Arial"/>
                <a:cs typeface="Arial"/>
              </a:rPr>
              <a:t> </a:t>
            </a:r>
            <a:r>
              <a:rPr sz="1200" dirty="0">
                <a:latin typeface="Arial"/>
                <a:cs typeface="Arial"/>
              </a:rPr>
              <a:t>is c</a:t>
            </a:r>
            <a:r>
              <a:rPr sz="1200" spc="4" dirty="0">
                <a:latin typeface="Arial"/>
                <a:cs typeface="Arial"/>
              </a:rPr>
              <a:t>omb</a:t>
            </a:r>
            <a:r>
              <a:rPr sz="1200" dirty="0">
                <a:latin typeface="Arial"/>
                <a:cs typeface="Arial"/>
              </a:rPr>
              <a:t>in</a:t>
            </a:r>
            <a:r>
              <a:rPr sz="1200" spc="4" dirty="0">
                <a:latin typeface="Arial"/>
                <a:cs typeface="Arial"/>
              </a:rPr>
              <a:t>a</a:t>
            </a:r>
            <a:r>
              <a:rPr sz="1200" dirty="0">
                <a:latin typeface="Arial"/>
                <a:cs typeface="Arial"/>
              </a:rPr>
              <a:t>ti</a:t>
            </a:r>
            <a:r>
              <a:rPr sz="1200" spc="-4" dirty="0">
                <a:latin typeface="Arial"/>
                <a:cs typeface="Arial"/>
              </a:rPr>
              <a:t>o</a:t>
            </a:r>
            <a:r>
              <a:rPr sz="1200" dirty="0">
                <a:latin typeface="Arial"/>
                <a:cs typeface="Arial"/>
              </a:rPr>
              <a:t>n</a:t>
            </a:r>
            <a:r>
              <a:rPr sz="1200" spc="-50" dirty="0">
                <a:latin typeface="Arial"/>
                <a:cs typeface="Arial"/>
              </a:rPr>
              <a:t> </a:t>
            </a:r>
            <a:r>
              <a:rPr sz="1200" spc="4" dirty="0">
                <a:latin typeface="Arial"/>
                <a:cs typeface="Arial"/>
              </a:rPr>
              <a:t>o</a:t>
            </a:r>
            <a:r>
              <a:rPr sz="1200" dirty="0">
                <a:latin typeface="Arial"/>
                <a:cs typeface="Arial"/>
              </a:rPr>
              <a:t>f</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d</a:t>
            </a:r>
            <a:r>
              <a:rPr sz="1200" dirty="0">
                <a:latin typeface="Arial"/>
                <a:cs typeface="Arial"/>
              </a:rPr>
              <a:t>it</a:t>
            </a:r>
            <a:r>
              <a:rPr sz="1200" spc="-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spc="4" dirty="0">
                <a:latin typeface="Arial"/>
                <a:cs typeface="Arial"/>
              </a:rPr>
              <a:t>deb</a:t>
            </a:r>
            <a:r>
              <a:rPr sz="1200" dirty="0">
                <a:latin typeface="Arial"/>
                <a:cs typeface="Arial"/>
              </a:rPr>
              <a:t>it</a:t>
            </a:r>
            <a:r>
              <a:rPr sz="1200" spc="-19" dirty="0">
                <a:latin typeface="Arial"/>
                <a:cs typeface="Arial"/>
              </a:rPr>
              <a:t> </a:t>
            </a:r>
            <a:r>
              <a:rPr sz="1200" spc="4" dirty="0">
                <a:latin typeface="Arial"/>
                <a:cs typeface="Arial"/>
              </a:rPr>
              <a:t>memo</a:t>
            </a:r>
            <a:r>
              <a:rPr sz="1200" dirty="0">
                <a:latin typeface="Arial"/>
                <a:cs typeface="Arial"/>
              </a:rPr>
              <a:t>s.</a:t>
            </a:r>
            <a:endParaRPr sz="1200">
              <a:latin typeface="Arial"/>
              <a:cs typeface="Arial"/>
            </a:endParaRPr>
          </a:p>
          <a:p>
            <a:pPr marL="561466" marR="286565" indent="-170687">
              <a:lnSpc>
                <a:spcPct val="100041"/>
              </a:lnSpc>
              <a:spcBef>
                <a:spcPts val="60"/>
              </a:spcBef>
            </a:pPr>
            <a:r>
              <a:rPr sz="1200" spc="4" dirty="0">
                <a:latin typeface="Arial"/>
                <a:cs typeface="Arial"/>
              </a:rPr>
              <a:t>2</a:t>
            </a:r>
            <a:r>
              <a:rPr sz="1200" dirty="0">
                <a:latin typeface="Arial"/>
                <a:cs typeface="Arial"/>
              </a:rPr>
              <a:t>.</a:t>
            </a:r>
            <a:r>
              <a:rPr sz="1200" spc="4" dirty="0">
                <a:latin typeface="Arial"/>
                <a:cs typeface="Arial"/>
              </a:rPr>
              <a:t>I</a:t>
            </a:r>
            <a:r>
              <a:rPr sz="1200" dirty="0">
                <a:latin typeface="Arial"/>
                <a:cs typeface="Arial"/>
              </a:rPr>
              <a:t>t</a:t>
            </a:r>
            <a:r>
              <a:rPr sz="1200" spc="4" dirty="0">
                <a:latin typeface="Arial"/>
                <a:cs typeface="Arial"/>
              </a:rPr>
              <a:t>em</a:t>
            </a:r>
            <a:r>
              <a:rPr sz="1200" dirty="0">
                <a:latin typeface="Arial"/>
                <a:cs typeface="Arial"/>
              </a:rPr>
              <a:t>s</a:t>
            </a:r>
            <a:r>
              <a:rPr sz="1200" spc="-19" dirty="0">
                <a:latin typeface="Arial"/>
                <a:cs typeface="Arial"/>
              </a:rPr>
              <a:t> </a:t>
            </a:r>
            <a:r>
              <a:rPr sz="1200" spc="4" dirty="0">
                <a:latin typeface="Arial"/>
                <a:cs typeface="Arial"/>
              </a:rPr>
              <a:t>a</a:t>
            </a:r>
            <a:r>
              <a:rPr sz="1200" dirty="0">
                <a:latin typeface="Arial"/>
                <a:cs typeface="Arial"/>
              </a:rPr>
              <a:t>re</a:t>
            </a:r>
            <a:r>
              <a:rPr sz="1200" spc="-4" dirty="0">
                <a:latin typeface="Arial"/>
                <a:cs typeface="Arial"/>
              </a:rPr>
              <a:t> </a:t>
            </a:r>
            <a:r>
              <a:rPr sz="1200" spc="4" dirty="0">
                <a:latin typeface="Arial"/>
                <a:cs typeface="Arial"/>
              </a:rPr>
              <a:t>au</a:t>
            </a:r>
            <a:r>
              <a:rPr sz="1200" dirty="0">
                <a:latin typeface="Arial"/>
                <a:cs typeface="Arial"/>
              </a:rPr>
              <a:t>t</a:t>
            </a:r>
            <a:r>
              <a:rPr sz="1200" spc="4" dirty="0">
                <a:latin typeface="Arial"/>
                <a:cs typeface="Arial"/>
              </a:rPr>
              <a:t>oma</a:t>
            </a:r>
            <a:r>
              <a:rPr sz="1200" dirty="0">
                <a:latin typeface="Arial"/>
                <a:cs typeface="Arial"/>
              </a:rPr>
              <a:t>tic</a:t>
            </a:r>
            <a:r>
              <a:rPr sz="1200" spc="4" dirty="0">
                <a:latin typeface="Arial"/>
                <a:cs typeface="Arial"/>
              </a:rPr>
              <a:t>a</a:t>
            </a:r>
            <a:r>
              <a:rPr sz="1200" spc="-14" dirty="0">
                <a:latin typeface="Arial"/>
                <a:cs typeface="Arial"/>
              </a:rPr>
              <a:t>l</a:t>
            </a:r>
            <a:r>
              <a:rPr sz="1200" dirty="0">
                <a:latin typeface="Arial"/>
                <a:cs typeface="Arial"/>
              </a:rPr>
              <a:t>ly</a:t>
            </a:r>
            <a:r>
              <a:rPr sz="1200" spc="-44" dirty="0">
                <a:latin typeface="Arial"/>
                <a:cs typeface="Arial"/>
              </a:rPr>
              <a:t> </a:t>
            </a:r>
            <a:r>
              <a:rPr sz="1200" spc="4" dirty="0">
                <a:latin typeface="Arial"/>
                <a:cs typeface="Arial"/>
              </a:rPr>
              <a:t>dup</a:t>
            </a:r>
            <a:r>
              <a:rPr sz="1200" dirty="0">
                <a:latin typeface="Arial"/>
                <a:cs typeface="Arial"/>
              </a:rPr>
              <a:t>l</a:t>
            </a:r>
            <a:r>
              <a:rPr sz="1200" spc="-4" dirty="0">
                <a:latin typeface="Arial"/>
                <a:cs typeface="Arial"/>
              </a:rPr>
              <a:t>i</a:t>
            </a:r>
            <a:r>
              <a:rPr sz="1200" dirty="0">
                <a:latin typeface="Arial"/>
                <a:cs typeface="Arial"/>
              </a:rPr>
              <a:t>c</a:t>
            </a:r>
            <a:r>
              <a:rPr sz="1200" spc="4" dirty="0">
                <a:latin typeface="Arial"/>
                <a:cs typeface="Arial"/>
              </a:rPr>
              <a:t>a</a:t>
            </a:r>
            <a:r>
              <a:rPr sz="1200" dirty="0">
                <a:latin typeface="Arial"/>
                <a:cs typeface="Arial"/>
              </a:rPr>
              <a:t>t</a:t>
            </a:r>
            <a:r>
              <a:rPr sz="1200" spc="4" dirty="0">
                <a:latin typeface="Arial"/>
                <a:cs typeface="Arial"/>
              </a:rPr>
              <a:t>e</a:t>
            </a:r>
            <a:r>
              <a:rPr sz="1200" dirty="0">
                <a:latin typeface="Arial"/>
                <a:cs typeface="Arial"/>
              </a:rPr>
              <a:t>d</a:t>
            </a:r>
            <a:r>
              <a:rPr sz="1200" spc="-39" dirty="0">
                <a:latin typeface="Arial"/>
                <a:cs typeface="Arial"/>
              </a:rPr>
              <a:t> </a:t>
            </a:r>
            <a:r>
              <a:rPr sz="1200" spc="4" dirty="0">
                <a:latin typeface="Arial"/>
                <a:cs typeface="Arial"/>
              </a:rPr>
              <a:t>an</a:t>
            </a:r>
            <a:r>
              <a:rPr sz="1200" dirty="0">
                <a:latin typeface="Arial"/>
                <a:cs typeface="Arial"/>
              </a:rPr>
              <a:t>d</a:t>
            </a:r>
            <a:r>
              <a:rPr sz="1200" spc="-29" dirty="0">
                <a:latin typeface="Arial"/>
                <a:cs typeface="Arial"/>
              </a:rPr>
              <a:t> </a:t>
            </a:r>
            <a:r>
              <a:rPr sz="1200" dirty="0">
                <a:latin typeface="Arial"/>
                <a:cs typeface="Arial"/>
              </a:rPr>
              <a:t>res</a:t>
            </a:r>
            <a:r>
              <a:rPr sz="1200" spc="4" dirty="0">
                <a:latin typeface="Arial"/>
                <a:cs typeface="Arial"/>
              </a:rPr>
              <a:t>u</a:t>
            </a:r>
            <a:r>
              <a:rPr sz="1200" dirty="0">
                <a:latin typeface="Arial"/>
                <a:cs typeface="Arial"/>
              </a:rPr>
              <a:t>lting it</a:t>
            </a:r>
            <a:r>
              <a:rPr sz="1200" spc="4" dirty="0">
                <a:latin typeface="Arial"/>
                <a:cs typeface="Arial"/>
              </a:rPr>
              <a:t>e</a:t>
            </a:r>
            <a:r>
              <a:rPr sz="1200" dirty="0">
                <a:latin typeface="Arial"/>
                <a:cs typeface="Arial"/>
              </a:rPr>
              <a:t>m c</a:t>
            </a:r>
            <a:r>
              <a:rPr sz="1200" spc="4" dirty="0">
                <a:latin typeface="Arial"/>
                <a:cs typeface="Arial"/>
              </a:rPr>
              <a:t>a</a:t>
            </a:r>
            <a:r>
              <a:rPr sz="1200" dirty="0">
                <a:latin typeface="Arial"/>
                <a:cs typeface="Arial"/>
              </a:rPr>
              <a:t>t</a:t>
            </a:r>
            <a:r>
              <a:rPr sz="1200" spc="4" dirty="0">
                <a:latin typeface="Arial"/>
                <a:cs typeface="Arial"/>
              </a:rPr>
              <a:t>e</a:t>
            </a:r>
            <a:r>
              <a:rPr sz="1200" spc="-4" dirty="0">
                <a:latin typeface="Arial"/>
                <a:cs typeface="Arial"/>
              </a:rPr>
              <a:t>g</a:t>
            </a:r>
            <a:r>
              <a:rPr sz="1200" spc="4" dirty="0">
                <a:latin typeface="Arial"/>
                <a:cs typeface="Arial"/>
              </a:rPr>
              <a:t>o</a:t>
            </a:r>
            <a:r>
              <a:rPr sz="1200" dirty="0">
                <a:latin typeface="Arial"/>
                <a:cs typeface="Arial"/>
              </a:rPr>
              <a:t>r</a:t>
            </a:r>
            <a:r>
              <a:rPr sz="1200" spc="-4" dirty="0">
                <a:latin typeface="Arial"/>
                <a:cs typeface="Arial"/>
              </a:rPr>
              <a:t>i</a:t>
            </a:r>
            <a:r>
              <a:rPr sz="1200" spc="4" dirty="0">
                <a:latin typeface="Arial"/>
                <a:cs typeface="Arial"/>
              </a:rPr>
              <a:t>e</a:t>
            </a:r>
            <a:r>
              <a:rPr sz="1200" dirty="0">
                <a:latin typeface="Arial"/>
                <a:cs typeface="Arial"/>
              </a:rPr>
              <a:t>s</a:t>
            </a:r>
            <a:r>
              <a:rPr sz="1200" spc="-19" dirty="0">
                <a:latin typeface="Arial"/>
                <a:cs typeface="Arial"/>
              </a:rPr>
              <a:t> </a:t>
            </a:r>
            <a:r>
              <a:rPr sz="1200" spc="4" dirty="0">
                <a:latin typeface="Arial"/>
                <a:cs typeface="Arial"/>
              </a:rPr>
              <a:t>mu</a:t>
            </a:r>
            <a:r>
              <a:rPr sz="1200" dirty="0">
                <a:latin typeface="Arial"/>
                <a:cs typeface="Arial"/>
              </a:rPr>
              <a:t>st</a:t>
            </a:r>
            <a:r>
              <a:rPr sz="1200" spc="-19" dirty="0">
                <a:latin typeface="Arial"/>
                <a:cs typeface="Arial"/>
              </a:rPr>
              <a:t> </a:t>
            </a:r>
            <a:r>
              <a:rPr sz="1200" spc="4" dirty="0">
                <a:latin typeface="Arial"/>
                <a:cs typeface="Arial"/>
              </a:rPr>
              <a:t>po</a:t>
            </a:r>
            <a:r>
              <a:rPr sz="1200" dirty="0">
                <a:latin typeface="Arial"/>
                <a:cs typeface="Arial"/>
              </a:rPr>
              <a:t>s</a:t>
            </a:r>
            <a:r>
              <a:rPr sz="1200" spc="-9" dirty="0">
                <a:latin typeface="Arial"/>
                <a:cs typeface="Arial"/>
              </a:rPr>
              <a:t> </a:t>
            </a:r>
            <a:r>
              <a:rPr sz="1200" dirty="0">
                <a:latin typeface="Arial"/>
                <a:cs typeface="Arial"/>
              </a:rPr>
              <a:t>/</a:t>
            </a:r>
            <a:r>
              <a:rPr sz="1200" spc="4" dirty="0">
                <a:latin typeface="Arial"/>
                <a:cs typeface="Arial"/>
              </a:rPr>
              <a:t> ne</a:t>
            </a:r>
            <a:r>
              <a:rPr sz="1200" dirty="0">
                <a:latin typeface="Arial"/>
                <a:cs typeface="Arial"/>
              </a:rPr>
              <a:t>g</a:t>
            </a:r>
            <a:r>
              <a:rPr sz="1200" spc="-14" dirty="0">
                <a:latin typeface="Arial"/>
                <a:cs typeface="Arial"/>
              </a:rPr>
              <a:t> </a:t>
            </a:r>
            <a:r>
              <a:rPr sz="1200" spc="-9" dirty="0">
                <a:latin typeface="Arial"/>
                <a:cs typeface="Arial"/>
              </a:rPr>
              <a:t>v</a:t>
            </a:r>
            <a:r>
              <a:rPr sz="1200" spc="4" dirty="0">
                <a:latin typeface="Arial"/>
                <a:cs typeface="Arial"/>
              </a:rPr>
              <a:t>a</a:t>
            </a:r>
            <a:r>
              <a:rPr sz="1200" dirty="0">
                <a:latin typeface="Arial"/>
                <a:cs typeface="Arial"/>
              </a:rPr>
              <a:t>lu</a:t>
            </a:r>
            <a:r>
              <a:rPr sz="1200" spc="4" dirty="0">
                <a:latin typeface="Arial"/>
                <a:cs typeface="Arial"/>
              </a:rPr>
              <a:t>e</a:t>
            </a:r>
            <a:r>
              <a:rPr sz="1200" dirty="0">
                <a:latin typeface="Arial"/>
                <a:cs typeface="Arial"/>
              </a:rPr>
              <a:t>s.</a:t>
            </a:r>
            <a:endParaRPr sz="1200">
              <a:latin typeface="Arial"/>
              <a:cs typeface="Arial"/>
            </a:endParaRPr>
          </a:p>
          <a:p>
            <a:pPr marL="390778">
              <a:lnSpc>
                <a:spcPct val="95825"/>
              </a:lnSpc>
              <a:spcBef>
                <a:spcPts val="5"/>
              </a:spcBef>
            </a:pPr>
            <a:r>
              <a:rPr sz="1200" dirty="0">
                <a:latin typeface="Arial"/>
                <a:cs typeface="Arial"/>
              </a:rPr>
              <a:t>3</a:t>
            </a:r>
            <a:r>
              <a:rPr sz="1200" spc="4" dirty="0">
                <a:latin typeface="Arial"/>
                <a:cs typeface="Arial"/>
              </a:rPr>
              <a:t>.</a:t>
            </a:r>
            <a:r>
              <a:rPr sz="1200" spc="-119" dirty="0">
                <a:latin typeface="Arial"/>
                <a:cs typeface="Arial"/>
              </a:rPr>
              <a:t>Y</a:t>
            </a:r>
            <a:r>
              <a:rPr sz="1200" dirty="0">
                <a:latin typeface="Arial"/>
                <a:cs typeface="Arial"/>
              </a:rPr>
              <a:t>ou</a:t>
            </a:r>
            <a:r>
              <a:rPr sz="1200" spc="-14" dirty="0">
                <a:latin typeface="Arial"/>
                <a:cs typeface="Arial"/>
              </a:rPr>
              <a:t> </a:t>
            </a:r>
            <a:r>
              <a:rPr sz="1200" dirty="0">
                <a:latin typeface="Arial"/>
                <a:cs typeface="Arial"/>
              </a:rPr>
              <a:t>can</a:t>
            </a:r>
            <a:r>
              <a:rPr sz="1200" spc="-4" dirty="0">
                <a:latin typeface="Arial"/>
                <a:cs typeface="Arial"/>
              </a:rPr>
              <a:t> </a:t>
            </a:r>
            <a:r>
              <a:rPr sz="1200" dirty="0">
                <a:latin typeface="Arial"/>
                <a:cs typeface="Arial"/>
              </a:rPr>
              <a:t>c</a:t>
            </a:r>
            <a:r>
              <a:rPr sz="1200" spc="-4" dirty="0">
                <a:latin typeface="Arial"/>
                <a:cs typeface="Arial"/>
              </a:rPr>
              <a:t>r</a:t>
            </a:r>
            <a:r>
              <a:rPr sz="1200" dirty="0">
                <a:latin typeface="Arial"/>
                <a:cs typeface="Arial"/>
              </a:rPr>
              <a:t>e</a:t>
            </a:r>
            <a:r>
              <a:rPr sz="1200" spc="4" dirty="0">
                <a:latin typeface="Arial"/>
                <a:cs typeface="Arial"/>
              </a:rPr>
              <a:t>a</a:t>
            </a:r>
            <a:r>
              <a:rPr sz="1200" dirty="0">
                <a:latin typeface="Arial"/>
                <a:cs typeface="Arial"/>
              </a:rPr>
              <a:t>te</a:t>
            </a:r>
            <a:r>
              <a:rPr sz="1200" spc="-14" dirty="0">
                <a:latin typeface="Arial"/>
                <a:cs typeface="Arial"/>
              </a:rPr>
              <a:t> </a:t>
            </a:r>
            <a:r>
              <a:rPr sz="1200" spc="4" dirty="0">
                <a:latin typeface="Arial"/>
                <a:cs typeface="Arial"/>
              </a:rPr>
              <a:t>m</a:t>
            </a:r>
            <a:r>
              <a:rPr sz="1200" dirty="0">
                <a:latin typeface="Arial"/>
                <a:cs typeface="Arial"/>
              </a:rPr>
              <a:t>e</a:t>
            </a:r>
            <a:r>
              <a:rPr sz="1200" spc="9" dirty="0">
                <a:latin typeface="Arial"/>
                <a:cs typeface="Arial"/>
              </a:rPr>
              <a:t>m</a:t>
            </a:r>
            <a:r>
              <a:rPr sz="1200" dirty="0">
                <a:latin typeface="Arial"/>
                <a:cs typeface="Arial"/>
              </a:rPr>
              <a:t>o</a:t>
            </a:r>
            <a:r>
              <a:rPr sz="1200" spc="-29" dirty="0">
                <a:latin typeface="Arial"/>
                <a:cs typeface="Arial"/>
              </a:rPr>
              <a:t> </a:t>
            </a:r>
            <a:r>
              <a:rPr sz="1200" spc="9" dirty="0">
                <a:latin typeface="Arial"/>
                <a:cs typeface="Arial"/>
              </a:rPr>
              <a:t>f</a:t>
            </a:r>
            <a:r>
              <a:rPr sz="1200" dirty="0">
                <a:latin typeface="Arial"/>
                <a:cs typeface="Arial"/>
              </a:rPr>
              <a:t>or</a:t>
            </a:r>
            <a:r>
              <a:rPr sz="1200" spc="-9" dirty="0">
                <a:latin typeface="Arial"/>
                <a:cs typeface="Arial"/>
              </a:rPr>
              <a:t> </a:t>
            </a:r>
            <a:r>
              <a:rPr sz="1200" dirty="0">
                <a:latin typeface="Arial"/>
                <a:cs typeface="Arial"/>
              </a:rPr>
              <a:t>pr</a:t>
            </a:r>
            <a:r>
              <a:rPr sz="1200" spc="-4" dirty="0">
                <a:latin typeface="Arial"/>
                <a:cs typeface="Arial"/>
              </a:rPr>
              <a:t>i</a:t>
            </a:r>
            <a:r>
              <a:rPr sz="1200" dirty="0">
                <a:latin typeface="Arial"/>
                <a:cs typeface="Arial"/>
              </a:rPr>
              <a:t>ce</a:t>
            </a:r>
            <a:r>
              <a:rPr sz="1200" spc="-4" dirty="0">
                <a:latin typeface="Arial"/>
                <a:cs typeface="Arial"/>
              </a:rPr>
              <a:t> </a:t>
            </a:r>
            <a:r>
              <a:rPr sz="1200" dirty="0">
                <a:latin typeface="Arial"/>
                <a:cs typeface="Arial"/>
              </a:rPr>
              <a:t>or</a:t>
            </a:r>
            <a:endParaRPr sz="1200">
              <a:latin typeface="Arial"/>
              <a:cs typeface="Arial"/>
            </a:endParaRPr>
          </a:p>
          <a:p>
            <a:pPr marL="494665" marR="2209266" algn="ctr">
              <a:lnSpc>
                <a:spcPct val="95825"/>
              </a:lnSpc>
              <a:spcBef>
                <a:spcPts val="60"/>
              </a:spcBef>
            </a:pPr>
            <a:r>
              <a:rPr sz="1200" spc="-4" dirty="0">
                <a:latin typeface="Arial"/>
                <a:cs typeface="Arial"/>
              </a:rPr>
              <a:t>q</a:t>
            </a:r>
            <a:r>
              <a:rPr sz="1200" spc="4" dirty="0">
                <a:latin typeface="Arial"/>
                <a:cs typeface="Arial"/>
              </a:rPr>
              <a:t>uan</a:t>
            </a:r>
            <a:r>
              <a:rPr sz="1200" dirty="0">
                <a:latin typeface="Arial"/>
                <a:cs typeface="Arial"/>
              </a:rPr>
              <a:t>tity</a:t>
            </a:r>
            <a:r>
              <a:rPr sz="1200" spc="-19" dirty="0">
                <a:latin typeface="Arial"/>
                <a:cs typeface="Arial"/>
              </a:rPr>
              <a:t> </a:t>
            </a:r>
            <a:r>
              <a:rPr sz="1200" spc="4" dirty="0">
                <a:latin typeface="Arial"/>
                <a:cs typeface="Arial"/>
              </a:rPr>
              <a:t>d</a:t>
            </a:r>
            <a:r>
              <a:rPr sz="1200" dirty="0">
                <a:latin typeface="Arial"/>
                <a:cs typeface="Arial"/>
              </a:rPr>
              <a:t>i</a:t>
            </a:r>
            <a:r>
              <a:rPr sz="1200" spc="-9" dirty="0">
                <a:latin typeface="Arial"/>
                <a:cs typeface="Arial"/>
              </a:rPr>
              <a:t>f</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a:t>
            </a:r>
            <a:r>
              <a:rPr sz="1200" spc="-4" dirty="0">
                <a:latin typeface="Arial"/>
                <a:cs typeface="Arial"/>
              </a:rPr>
              <a:t>e</a:t>
            </a:r>
            <a:r>
              <a:rPr sz="1200" dirty="0">
                <a:latin typeface="Arial"/>
                <a:cs typeface="Arial"/>
              </a:rPr>
              <a:t>.</a:t>
            </a:r>
            <a:endParaRPr sz="1200">
              <a:latin typeface="Arial"/>
              <a:cs typeface="Arial"/>
            </a:endParaRPr>
          </a:p>
          <a:p>
            <a:pPr marL="518795" marR="102313" indent="-128016">
              <a:lnSpc>
                <a:spcPct val="100041"/>
              </a:lnSpc>
              <a:spcBef>
                <a:spcPts val="60"/>
              </a:spcBef>
            </a:pPr>
            <a:r>
              <a:rPr sz="1200" spc="4" dirty="0">
                <a:latin typeface="Arial"/>
                <a:cs typeface="Arial"/>
              </a:rPr>
              <a:t>4</a:t>
            </a:r>
            <a:r>
              <a:rPr sz="1200" dirty="0">
                <a:latin typeface="Arial"/>
                <a:cs typeface="Arial"/>
              </a:rPr>
              <a:t>.</a:t>
            </a:r>
            <a:r>
              <a:rPr sz="1200" spc="4" dirty="0">
                <a:latin typeface="Arial"/>
                <a:cs typeface="Arial"/>
              </a:rPr>
              <a:t>I</a:t>
            </a:r>
            <a:r>
              <a:rPr sz="1200" dirty="0">
                <a:latin typeface="Arial"/>
                <a:cs typeface="Arial"/>
              </a:rPr>
              <a:t>t</a:t>
            </a:r>
            <a:r>
              <a:rPr sz="1200" spc="4" dirty="0">
                <a:latin typeface="Arial"/>
                <a:cs typeface="Arial"/>
              </a:rPr>
              <a:t> mu</a:t>
            </a:r>
            <a:r>
              <a:rPr sz="1200" dirty="0">
                <a:latin typeface="Arial"/>
                <a:cs typeface="Arial"/>
              </a:rPr>
              <a:t>st</a:t>
            </a:r>
            <a:r>
              <a:rPr sz="1200" spc="-19" dirty="0">
                <a:latin typeface="Arial"/>
                <a:cs typeface="Arial"/>
              </a:rPr>
              <a:t> </a:t>
            </a:r>
            <a:r>
              <a:rPr sz="1200" spc="4" dirty="0">
                <a:latin typeface="Arial"/>
                <a:cs typeface="Arial"/>
              </a:rPr>
              <a:t>b</a:t>
            </a:r>
            <a:r>
              <a:rPr sz="1200" dirty="0">
                <a:latin typeface="Arial"/>
                <a:cs typeface="Arial"/>
              </a:rPr>
              <a:t>e</a:t>
            </a:r>
            <a:r>
              <a:rPr sz="1200" spc="-4" dirty="0">
                <a:latin typeface="Arial"/>
                <a:cs typeface="Arial"/>
              </a:rPr>
              <a:t> </a:t>
            </a:r>
            <a:r>
              <a:rPr sz="1200" dirty="0">
                <a:latin typeface="Arial"/>
                <a:cs typeface="Arial"/>
              </a:rPr>
              <a:t>c</a:t>
            </a:r>
            <a:r>
              <a:rPr sz="1200" spc="-4" dirty="0">
                <a:latin typeface="Arial"/>
                <a:cs typeface="Arial"/>
              </a:rPr>
              <a:t>r</a:t>
            </a:r>
            <a:r>
              <a:rPr sz="1200" spc="4" dirty="0">
                <a:latin typeface="Arial"/>
                <a:cs typeface="Arial"/>
              </a:rPr>
              <a:t>ea</a:t>
            </a:r>
            <a:r>
              <a:rPr sz="1200" dirty="0">
                <a:latin typeface="Arial"/>
                <a:cs typeface="Arial"/>
              </a:rPr>
              <a:t>t</a:t>
            </a:r>
            <a:r>
              <a:rPr sz="1200" spc="4" dirty="0">
                <a:latin typeface="Arial"/>
                <a:cs typeface="Arial"/>
              </a:rPr>
              <a:t>e</a:t>
            </a:r>
            <a:r>
              <a:rPr sz="1200" dirty="0">
                <a:latin typeface="Arial"/>
                <a:cs typeface="Arial"/>
              </a:rPr>
              <a:t>d</a:t>
            </a:r>
            <a:r>
              <a:rPr sz="1200" spc="-29" dirty="0">
                <a:latin typeface="Arial"/>
                <a:cs typeface="Arial"/>
              </a:rPr>
              <a:t> </a:t>
            </a:r>
            <a:r>
              <a:rPr sz="1200" spc="-14" dirty="0">
                <a:latin typeface="Arial"/>
                <a:cs typeface="Arial"/>
              </a:rPr>
              <a:t>w</a:t>
            </a:r>
            <a:r>
              <a:rPr sz="1200" dirty="0">
                <a:latin typeface="Arial"/>
                <a:cs typeface="Arial"/>
              </a:rPr>
              <a:t>ith</a:t>
            </a:r>
            <a:r>
              <a:rPr sz="1200" spc="19" dirty="0">
                <a:latin typeface="Arial"/>
                <a:cs typeface="Arial"/>
              </a:rPr>
              <a:t> </a:t>
            </a:r>
            <a:r>
              <a:rPr sz="1200" dirty="0">
                <a:latin typeface="Arial"/>
                <a:cs typeface="Arial"/>
              </a:rPr>
              <a:t>re</a:t>
            </a:r>
            <a:r>
              <a:rPr sz="1200" spc="14" dirty="0">
                <a:latin typeface="Arial"/>
                <a:cs typeface="Arial"/>
              </a:rPr>
              <a:t>f</a:t>
            </a:r>
            <a:r>
              <a:rPr sz="1200" spc="4" dirty="0">
                <a:latin typeface="Arial"/>
                <a:cs typeface="Arial"/>
              </a:rPr>
              <a:t>e</a:t>
            </a:r>
            <a:r>
              <a:rPr sz="1200" dirty="0">
                <a:latin typeface="Arial"/>
                <a:cs typeface="Arial"/>
              </a:rPr>
              <a:t>re</a:t>
            </a:r>
            <a:r>
              <a:rPr sz="1200" spc="4" dirty="0">
                <a:latin typeface="Arial"/>
                <a:cs typeface="Arial"/>
              </a:rPr>
              <a:t>n</a:t>
            </a:r>
            <a:r>
              <a:rPr sz="1200" dirty="0">
                <a:latin typeface="Arial"/>
                <a:cs typeface="Arial"/>
              </a:rPr>
              <a:t>ce</a:t>
            </a:r>
            <a:r>
              <a:rPr sz="1200" spc="-4" dirty="0">
                <a:latin typeface="Arial"/>
                <a:cs typeface="Arial"/>
              </a:rPr>
              <a:t> </a:t>
            </a:r>
            <a:r>
              <a:rPr sz="1200" spc="4" dirty="0">
                <a:latin typeface="Arial"/>
                <a:cs typeface="Arial"/>
              </a:rPr>
              <a:t>t</a:t>
            </a:r>
            <a:r>
              <a:rPr sz="1200" dirty="0">
                <a:latin typeface="Arial"/>
                <a:cs typeface="Arial"/>
              </a:rPr>
              <a:t>o</a:t>
            </a:r>
            <a:r>
              <a:rPr sz="1200" spc="-39" dirty="0">
                <a:latin typeface="Arial"/>
                <a:cs typeface="Arial"/>
              </a:rPr>
              <a:t> </a:t>
            </a:r>
            <a:r>
              <a:rPr sz="1200" dirty="0">
                <a:latin typeface="Arial"/>
                <a:cs typeface="Arial"/>
              </a:rPr>
              <a:t>c</a:t>
            </a:r>
            <a:r>
              <a:rPr sz="1200" spc="4" dirty="0">
                <a:latin typeface="Arial"/>
                <a:cs typeface="Arial"/>
              </a:rPr>
              <a:t>o</a:t>
            </a:r>
            <a:r>
              <a:rPr sz="1200" dirty="0">
                <a:latin typeface="Arial"/>
                <a:cs typeface="Arial"/>
              </a:rPr>
              <a:t>r</a:t>
            </a:r>
            <a:r>
              <a:rPr sz="1200" spc="-4" dirty="0">
                <a:latin typeface="Arial"/>
                <a:cs typeface="Arial"/>
              </a:rPr>
              <a:t>r</a:t>
            </a:r>
            <a:r>
              <a:rPr sz="1200" spc="4" dirty="0">
                <a:latin typeface="Arial"/>
                <a:cs typeface="Arial"/>
              </a:rPr>
              <a:t>e</a:t>
            </a:r>
            <a:r>
              <a:rPr sz="1200" dirty="0">
                <a:latin typeface="Arial"/>
                <a:cs typeface="Arial"/>
              </a:rPr>
              <a:t>s</a:t>
            </a:r>
            <a:r>
              <a:rPr sz="1200" spc="4" dirty="0">
                <a:latin typeface="Arial"/>
                <a:cs typeface="Arial"/>
              </a:rPr>
              <a:t>pond</a:t>
            </a:r>
            <a:r>
              <a:rPr sz="1200" dirty="0">
                <a:latin typeface="Arial"/>
                <a:cs typeface="Arial"/>
              </a:rPr>
              <a:t>i</a:t>
            </a:r>
            <a:r>
              <a:rPr sz="1200" spc="-9" dirty="0">
                <a:latin typeface="Arial"/>
                <a:cs typeface="Arial"/>
              </a:rPr>
              <a:t>n</a:t>
            </a:r>
            <a:r>
              <a:rPr sz="1200" dirty="0">
                <a:latin typeface="Arial"/>
                <a:cs typeface="Arial"/>
              </a:rPr>
              <a:t>g </a:t>
            </a:r>
            <a:r>
              <a:rPr sz="1200" spc="4" dirty="0">
                <a:latin typeface="Arial"/>
                <a:cs typeface="Arial"/>
              </a:rPr>
              <a:t>b</a:t>
            </a:r>
            <a:r>
              <a:rPr sz="1200" dirty="0">
                <a:latin typeface="Arial"/>
                <a:cs typeface="Arial"/>
              </a:rPr>
              <a:t>i</a:t>
            </a:r>
            <a:r>
              <a:rPr sz="1200" spc="-4" dirty="0">
                <a:latin typeface="Arial"/>
                <a:cs typeface="Arial"/>
              </a:rPr>
              <a:t>l</a:t>
            </a:r>
            <a:r>
              <a:rPr sz="1200" dirty="0">
                <a:latin typeface="Arial"/>
                <a:cs typeface="Arial"/>
              </a:rPr>
              <a:t>l</a:t>
            </a:r>
            <a:r>
              <a:rPr sz="1200" spc="-4" dirty="0">
                <a:latin typeface="Arial"/>
                <a:cs typeface="Arial"/>
              </a:rPr>
              <a:t>i</a:t>
            </a:r>
            <a:r>
              <a:rPr sz="1200" spc="4" dirty="0">
                <a:latin typeface="Arial"/>
                <a:cs typeface="Arial"/>
              </a:rPr>
              <a:t>n</a:t>
            </a:r>
            <a:r>
              <a:rPr sz="1200" dirty="0">
                <a:latin typeface="Arial"/>
                <a:cs typeface="Arial"/>
              </a:rPr>
              <a:t>g</a:t>
            </a:r>
            <a:r>
              <a:rPr sz="1200" spc="-29" dirty="0">
                <a:latin typeface="Arial"/>
                <a:cs typeface="Arial"/>
              </a:rPr>
              <a:t> </a:t>
            </a:r>
            <a:r>
              <a:rPr sz="1200" spc="4" dirty="0">
                <a:latin typeface="Arial"/>
                <a:cs typeface="Arial"/>
              </a:rPr>
              <a:t>do</a:t>
            </a:r>
            <a:r>
              <a:rPr sz="1200" dirty="0">
                <a:latin typeface="Arial"/>
                <a:cs typeface="Arial"/>
              </a:rPr>
              <a:t>c</a:t>
            </a:r>
            <a:r>
              <a:rPr sz="1200" spc="4" dirty="0">
                <a:latin typeface="Arial"/>
                <a:cs typeface="Arial"/>
              </a:rPr>
              <a:t>umen</a:t>
            </a:r>
            <a:r>
              <a:rPr sz="1200" dirty="0">
                <a:latin typeface="Arial"/>
                <a:cs typeface="Arial"/>
              </a:rPr>
              <a:t>t</a:t>
            </a:r>
            <a:r>
              <a:rPr sz="1200" spc="-39" dirty="0">
                <a:latin typeface="Arial"/>
                <a:cs typeface="Arial"/>
              </a:rPr>
              <a:t> </a:t>
            </a:r>
            <a:r>
              <a:rPr sz="1200" dirty="0">
                <a:latin typeface="Arial"/>
                <a:cs typeface="Arial"/>
              </a:rPr>
              <a:t>(n</a:t>
            </a:r>
            <a:r>
              <a:rPr sz="1200" spc="4" dirty="0">
                <a:latin typeface="Arial"/>
                <a:cs typeface="Arial"/>
              </a:rPr>
              <a:t>o</a:t>
            </a:r>
            <a:r>
              <a:rPr sz="1200" dirty="0">
                <a:latin typeface="Arial"/>
                <a:cs typeface="Arial"/>
              </a:rPr>
              <a:t>t</a:t>
            </a:r>
            <a:r>
              <a:rPr sz="1200" spc="-4" dirty="0">
                <a:latin typeface="Arial"/>
                <a:cs typeface="Arial"/>
              </a:rPr>
              <a:t> </a:t>
            </a:r>
            <a:r>
              <a:rPr sz="1200" spc="4" dirty="0">
                <a:latin typeface="Arial"/>
                <a:cs typeface="Arial"/>
              </a:rPr>
              <a:t>o</a:t>
            </a:r>
            <a:r>
              <a:rPr sz="1200" dirty="0">
                <a:latin typeface="Arial"/>
                <a:cs typeface="Arial"/>
              </a:rPr>
              <a:t>rd</a:t>
            </a:r>
            <a:r>
              <a:rPr sz="1200" spc="4" dirty="0">
                <a:latin typeface="Arial"/>
                <a:cs typeface="Arial"/>
              </a:rPr>
              <a:t>e</a:t>
            </a:r>
            <a:r>
              <a:rPr sz="1200" dirty="0">
                <a:latin typeface="Arial"/>
                <a:cs typeface="Arial"/>
              </a:rPr>
              <a:t>r</a:t>
            </a:r>
            <a:r>
              <a:rPr sz="1200" spc="-9" dirty="0">
                <a:latin typeface="Arial"/>
                <a:cs typeface="Arial"/>
              </a:rPr>
              <a:t> </a:t>
            </a:r>
            <a:r>
              <a:rPr sz="1200" spc="4" dirty="0">
                <a:latin typeface="Arial"/>
                <a:cs typeface="Arial"/>
              </a:rPr>
              <a:t>o</a:t>
            </a:r>
            <a:r>
              <a:rPr sz="1200" dirty="0">
                <a:latin typeface="Arial"/>
                <a:cs typeface="Arial"/>
              </a:rPr>
              <a:t>r</a:t>
            </a:r>
            <a:r>
              <a:rPr sz="1200" spc="-9" dirty="0">
                <a:latin typeface="Arial"/>
                <a:cs typeface="Arial"/>
              </a:rPr>
              <a:t> </a:t>
            </a:r>
            <a:r>
              <a:rPr sz="1200" spc="4" dirty="0">
                <a:latin typeface="Arial"/>
                <a:cs typeface="Arial"/>
              </a:rPr>
              <a:t>ou</a:t>
            </a:r>
            <a:r>
              <a:rPr sz="1200" dirty="0">
                <a:latin typeface="Arial"/>
                <a:cs typeface="Arial"/>
              </a:rPr>
              <a:t>t</a:t>
            </a:r>
            <a:r>
              <a:rPr sz="1200" spc="4" dirty="0">
                <a:latin typeface="Arial"/>
                <a:cs typeface="Arial"/>
              </a:rPr>
              <a:t>pu</a:t>
            </a:r>
            <a:r>
              <a:rPr sz="1200" dirty="0">
                <a:latin typeface="Arial"/>
                <a:cs typeface="Arial"/>
              </a:rPr>
              <a:t>t)</a:t>
            </a:r>
            <a:endParaRPr sz="1200">
              <a:latin typeface="Arial"/>
              <a:cs typeface="Arial"/>
            </a:endParaRPr>
          </a:p>
        </p:txBody>
      </p:sp>
      <p:sp>
        <p:nvSpPr>
          <p:cNvPr id="17" name="Title 16"/>
          <p:cNvSpPr>
            <a:spLocks noGrp="1"/>
          </p:cNvSpPr>
          <p:nvPr>
            <p:ph type="title"/>
          </p:nvPr>
        </p:nvSpPr>
        <p:spPr/>
        <p:txBody>
          <a:bodyPr/>
          <a:lstStyle/>
          <a:p>
            <a:r>
              <a:rPr lang="en-US" sz="2400" dirty="0">
                <a:latin typeface="+mn-lt"/>
                <a:cs typeface="Arial"/>
              </a:rPr>
              <a:t>Billing Types</a:t>
            </a:r>
            <a:br>
              <a:rPr lang="en-US" sz="2800" b="1" dirty="0">
                <a:latin typeface="Arial"/>
                <a:cs typeface="Arial"/>
              </a:rPr>
            </a:b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14"/>
          <p:cNvSpPr/>
          <p:nvPr/>
        </p:nvSpPr>
        <p:spPr>
          <a:xfrm>
            <a:off x="2133600" y="1219201"/>
            <a:ext cx="3886200" cy="3971925"/>
          </a:xfrm>
          <a:prstGeom prst="rect">
            <a:avLst/>
          </a:prstGeom>
          <a:blipFill>
            <a:blip r:embed="rId2" cstate="print"/>
            <a:stretch>
              <a:fillRect/>
            </a:stretch>
          </a:blipFill>
        </p:spPr>
        <p:txBody>
          <a:bodyPr wrap="square" lIns="0" tIns="0" rIns="0" bIns="0" rtlCol="0">
            <a:noAutofit/>
          </a:bodyPr>
          <a:lstStyle/>
          <a:p>
            <a:endParaRPr/>
          </a:p>
        </p:txBody>
      </p:sp>
      <p:sp>
        <p:nvSpPr>
          <p:cNvPr id="15" name="object 15"/>
          <p:cNvSpPr/>
          <p:nvPr/>
        </p:nvSpPr>
        <p:spPr>
          <a:xfrm>
            <a:off x="2133600" y="1219200"/>
            <a:ext cx="3886200" cy="3962400"/>
          </a:xfrm>
          <a:custGeom>
            <a:avLst/>
            <a:gdLst/>
            <a:ahLst/>
            <a:cxnLst/>
            <a:rect l="l" t="t" r="r" b="b"/>
            <a:pathLst>
              <a:path w="3886200" h="3962400">
                <a:moveTo>
                  <a:pt x="0" y="3962400"/>
                </a:moveTo>
                <a:lnTo>
                  <a:pt x="3886200" y="3962400"/>
                </a:lnTo>
                <a:lnTo>
                  <a:pt x="3886200" y="0"/>
                </a:lnTo>
                <a:lnTo>
                  <a:pt x="0" y="0"/>
                </a:lnTo>
                <a:lnTo>
                  <a:pt x="0" y="3962400"/>
                </a:lnTo>
                <a:close/>
              </a:path>
            </a:pathLst>
          </a:custGeom>
          <a:ln w="28575">
            <a:solidFill>
              <a:srgbClr val="000000"/>
            </a:solidFill>
          </a:ln>
        </p:spPr>
        <p:txBody>
          <a:bodyPr wrap="square" lIns="0" tIns="0" rIns="0" bIns="0" rtlCol="0">
            <a:noAutofit/>
          </a:bodyPr>
          <a:lstStyle/>
          <a:p>
            <a:endParaRPr/>
          </a:p>
        </p:txBody>
      </p:sp>
      <p:sp>
        <p:nvSpPr>
          <p:cNvPr id="16" name="object 16"/>
          <p:cNvSpPr/>
          <p:nvPr/>
        </p:nvSpPr>
        <p:spPr>
          <a:xfrm>
            <a:off x="3243200" y="1524000"/>
            <a:ext cx="1252601" cy="533400"/>
          </a:xfrm>
          <a:custGeom>
            <a:avLst/>
            <a:gdLst/>
            <a:ahLst/>
            <a:cxnLst/>
            <a:rect l="l" t="t" r="r" b="b"/>
            <a:pathLst>
              <a:path w="1252601" h="533400">
                <a:moveTo>
                  <a:pt x="1252601" y="311150"/>
                </a:moveTo>
                <a:lnTo>
                  <a:pt x="1252601" y="88900"/>
                </a:lnTo>
                <a:lnTo>
                  <a:pt x="1251639" y="75758"/>
                </a:lnTo>
                <a:lnTo>
                  <a:pt x="1235952" y="37049"/>
                </a:lnTo>
                <a:lnTo>
                  <a:pt x="1204950" y="10107"/>
                </a:lnTo>
                <a:lnTo>
                  <a:pt x="1163701" y="0"/>
                </a:lnTo>
                <a:lnTo>
                  <a:pt x="274700" y="0"/>
                </a:lnTo>
                <a:lnTo>
                  <a:pt x="234696" y="9467"/>
                </a:lnTo>
                <a:lnTo>
                  <a:pt x="203268" y="35927"/>
                </a:lnTo>
                <a:lnTo>
                  <a:pt x="186986" y="74324"/>
                </a:lnTo>
                <a:lnTo>
                  <a:pt x="185800" y="88900"/>
                </a:lnTo>
                <a:lnTo>
                  <a:pt x="185800" y="311150"/>
                </a:lnTo>
                <a:lnTo>
                  <a:pt x="0" y="327025"/>
                </a:lnTo>
                <a:lnTo>
                  <a:pt x="185800" y="444500"/>
                </a:lnTo>
                <a:lnTo>
                  <a:pt x="186762" y="457641"/>
                </a:lnTo>
                <a:lnTo>
                  <a:pt x="189977" y="471539"/>
                </a:lnTo>
                <a:lnTo>
                  <a:pt x="211332" y="506889"/>
                </a:lnTo>
                <a:lnTo>
                  <a:pt x="246313" y="528782"/>
                </a:lnTo>
                <a:lnTo>
                  <a:pt x="274700" y="533400"/>
                </a:lnTo>
                <a:lnTo>
                  <a:pt x="1163701" y="533400"/>
                </a:lnTo>
                <a:lnTo>
                  <a:pt x="1203705" y="523932"/>
                </a:lnTo>
                <a:lnTo>
                  <a:pt x="1235133" y="497472"/>
                </a:lnTo>
                <a:lnTo>
                  <a:pt x="1251415" y="459075"/>
                </a:lnTo>
                <a:lnTo>
                  <a:pt x="1252601" y="444500"/>
                </a:lnTo>
                <a:lnTo>
                  <a:pt x="1252601" y="311150"/>
                </a:lnTo>
                <a:close/>
              </a:path>
            </a:pathLst>
          </a:custGeom>
          <a:solidFill>
            <a:srgbClr val="FFFF99"/>
          </a:solidFill>
        </p:spPr>
        <p:txBody>
          <a:bodyPr wrap="square" lIns="0" tIns="0" rIns="0" bIns="0" rtlCol="0">
            <a:noAutofit/>
          </a:bodyPr>
          <a:lstStyle/>
          <a:p>
            <a:endParaRPr/>
          </a:p>
        </p:txBody>
      </p:sp>
      <p:sp>
        <p:nvSpPr>
          <p:cNvPr id="17" name="object 17"/>
          <p:cNvSpPr/>
          <p:nvPr/>
        </p:nvSpPr>
        <p:spPr>
          <a:xfrm>
            <a:off x="6172200" y="1219200"/>
            <a:ext cx="3886200" cy="3962400"/>
          </a:xfrm>
          <a:prstGeom prst="rect">
            <a:avLst/>
          </a:prstGeom>
          <a:blipFill>
            <a:blip r:embed="rId3" cstate="print"/>
            <a:stretch>
              <a:fillRect/>
            </a:stretch>
          </a:blipFill>
        </p:spPr>
        <p:txBody>
          <a:bodyPr wrap="square" lIns="0" tIns="0" rIns="0" bIns="0" rtlCol="0">
            <a:noAutofit/>
          </a:bodyPr>
          <a:lstStyle/>
          <a:p>
            <a:endParaRPr/>
          </a:p>
        </p:txBody>
      </p:sp>
      <p:sp>
        <p:nvSpPr>
          <p:cNvPr id="18" name="object 18"/>
          <p:cNvSpPr/>
          <p:nvPr/>
        </p:nvSpPr>
        <p:spPr>
          <a:xfrm>
            <a:off x="6172200" y="1219200"/>
            <a:ext cx="3886200" cy="3962400"/>
          </a:xfrm>
          <a:custGeom>
            <a:avLst/>
            <a:gdLst/>
            <a:ahLst/>
            <a:cxnLst/>
            <a:rect l="l" t="t" r="r" b="b"/>
            <a:pathLst>
              <a:path w="3886200" h="3962400">
                <a:moveTo>
                  <a:pt x="0" y="3962400"/>
                </a:moveTo>
                <a:lnTo>
                  <a:pt x="3886200" y="3962400"/>
                </a:lnTo>
                <a:lnTo>
                  <a:pt x="3886200" y="0"/>
                </a:lnTo>
                <a:lnTo>
                  <a:pt x="0" y="0"/>
                </a:lnTo>
                <a:lnTo>
                  <a:pt x="0" y="3962400"/>
                </a:lnTo>
                <a:close/>
              </a:path>
            </a:pathLst>
          </a:custGeom>
          <a:ln w="28575">
            <a:solidFill>
              <a:srgbClr val="000000"/>
            </a:solidFill>
          </a:ln>
        </p:spPr>
        <p:txBody>
          <a:bodyPr wrap="square" lIns="0" tIns="0" rIns="0" bIns="0" rtlCol="0">
            <a:noAutofit/>
          </a:bodyPr>
          <a:lstStyle/>
          <a:p>
            <a:endParaRPr/>
          </a:p>
        </p:txBody>
      </p:sp>
      <p:sp>
        <p:nvSpPr>
          <p:cNvPr id="19" name="object 19"/>
          <p:cNvSpPr/>
          <p:nvPr/>
        </p:nvSpPr>
        <p:spPr>
          <a:xfrm>
            <a:off x="4748276" y="1600201"/>
            <a:ext cx="1423924" cy="727075"/>
          </a:xfrm>
          <a:custGeom>
            <a:avLst/>
            <a:gdLst/>
            <a:ahLst/>
            <a:cxnLst/>
            <a:rect l="l" t="t" r="r" b="b"/>
            <a:pathLst>
              <a:path w="1423924" h="727075">
                <a:moveTo>
                  <a:pt x="1423924" y="266700"/>
                </a:moveTo>
                <a:lnTo>
                  <a:pt x="1423924" y="76200"/>
                </a:lnTo>
                <a:lnTo>
                  <a:pt x="1423593" y="69069"/>
                </a:lnTo>
                <a:lnTo>
                  <a:pt x="1408454" y="30207"/>
                </a:lnTo>
                <a:lnTo>
                  <a:pt x="1375792" y="5349"/>
                </a:lnTo>
                <a:lnTo>
                  <a:pt x="1347724" y="0"/>
                </a:lnTo>
                <a:lnTo>
                  <a:pt x="128524" y="0"/>
                </a:lnTo>
                <a:lnTo>
                  <a:pt x="82531" y="15469"/>
                </a:lnTo>
                <a:lnTo>
                  <a:pt x="57673" y="48131"/>
                </a:lnTo>
                <a:lnTo>
                  <a:pt x="52324" y="76200"/>
                </a:lnTo>
                <a:lnTo>
                  <a:pt x="52324" y="381000"/>
                </a:lnTo>
                <a:lnTo>
                  <a:pt x="67793" y="426992"/>
                </a:lnTo>
                <a:lnTo>
                  <a:pt x="100455" y="451850"/>
                </a:lnTo>
                <a:lnTo>
                  <a:pt x="128524" y="457200"/>
                </a:lnTo>
                <a:lnTo>
                  <a:pt x="280924" y="457200"/>
                </a:lnTo>
                <a:lnTo>
                  <a:pt x="0" y="727075"/>
                </a:lnTo>
                <a:lnTo>
                  <a:pt x="623824" y="457200"/>
                </a:lnTo>
                <a:lnTo>
                  <a:pt x="1347724" y="457200"/>
                </a:lnTo>
                <a:lnTo>
                  <a:pt x="1354854" y="456869"/>
                </a:lnTo>
                <a:lnTo>
                  <a:pt x="1368933" y="454200"/>
                </a:lnTo>
                <a:lnTo>
                  <a:pt x="1381974" y="449068"/>
                </a:lnTo>
                <a:lnTo>
                  <a:pt x="1393716" y="441730"/>
                </a:lnTo>
                <a:lnTo>
                  <a:pt x="1403902" y="432446"/>
                </a:lnTo>
                <a:lnTo>
                  <a:pt x="1412274" y="421472"/>
                </a:lnTo>
                <a:lnTo>
                  <a:pt x="1418574" y="409068"/>
                </a:lnTo>
                <a:lnTo>
                  <a:pt x="1422543" y="395491"/>
                </a:lnTo>
                <a:lnTo>
                  <a:pt x="1423924" y="381000"/>
                </a:lnTo>
                <a:lnTo>
                  <a:pt x="1423924" y="266700"/>
                </a:lnTo>
                <a:close/>
              </a:path>
            </a:pathLst>
          </a:custGeom>
          <a:solidFill>
            <a:srgbClr val="FFFF99"/>
          </a:solidFill>
        </p:spPr>
        <p:txBody>
          <a:bodyPr wrap="square" lIns="0" tIns="0" rIns="0" bIns="0" rtlCol="0">
            <a:noAutofit/>
          </a:bodyPr>
          <a:lstStyle/>
          <a:p>
            <a:endParaRPr/>
          </a:p>
        </p:txBody>
      </p:sp>
      <p:sp>
        <p:nvSpPr>
          <p:cNvPr id="20" name="object 20"/>
          <p:cNvSpPr/>
          <p:nvPr/>
        </p:nvSpPr>
        <p:spPr>
          <a:xfrm>
            <a:off x="4719574" y="2209800"/>
            <a:ext cx="1452626" cy="304800"/>
          </a:xfrm>
          <a:custGeom>
            <a:avLst/>
            <a:gdLst/>
            <a:ahLst/>
            <a:cxnLst/>
            <a:rect l="l" t="t" r="r" b="b"/>
            <a:pathLst>
              <a:path w="1452626" h="304800">
                <a:moveTo>
                  <a:pt x="1452626" y="177800"/>
                </a:moveTo>
                <a:lnTo>
                  <a:pt x="1452626" y="50800"/>
                </a:lnTo>
                <a:lnTo>
                  <a:pt x="1451733" y="41265"/>
                </a:lnTo>
                <a:lnTo>
                  <a:pt x="1439384" y="16585"/>
                </a:lnTo>
                <a:lnTo>
                  <a:pt x="1416114" y="2035"/>
                </a:lnTo>
                <a:lnTo>
                  <a:pt x="1401826" y="0"/>
                </a:lnTo>
                <a:lnTo>
                  <a:pt x="817626" y="0"/>
                </a:lnTo>
                <a:lnTo>
                  <a:pt x="794774" y="5413"/>
                </a:lnTo>
                <a:lnTo>
                  <a:pt x="774581" y="23799"/>
                </a:lnTo>
                <a:lnTo>
                  <a:pt x="766826" y="50800"/>
                </a:lnTo>
                <a:lnTo>
                  <a:pt x="766826" y="177800"/>
                </a:lnTo>
                <a:lnTo>
                  <a:pt x="0" y="263525"/>
                </a:lnTo>
                <a:lnTo>
                  <a:pt x="766826" y="254000"/>
                </a:lnTo>
                <a:lnTo>
                  <a:pt x="767718" y="263534"/>
                </a:lnTo>
                <a:lnTo>
                  <a:pt x="772239" y="276851"/>
                </a:lnTo>
                <a:lnTo>
                  <a:pt x="780067" y="288214"/>
                </a:lnTo>
                <a:lnTo>
                  <a:pt x="790625" y="297044"/>
                </a:lnTo>
                <a:lnTo>
                  <a:pt x="803337" y="302764"/>
                </a:lnTo>
                <a:lnTo>
                  <a:pt x="817626" y="304800"/>
                </a:lnTo>
                <a:lnTo>
                  <a:pt x="1401826" y="304800"/>
                </a:lnTo>
                <a:lnTo>
                  <a:pt x="1424677" y="299386"/>
                </a:lnTo>
                <a:lnTo>
                  <a:pt x="1444870" y="281000"/>
                </a:lnTo>
                <a:lnTo>
                  <a:pt x="1452626" y="254000"/>
                </a:lnTo>
                <a:lnTo>
                  <a:pt x="1452626" y="177800"/>
                </a:lnTo>
                <a:close/>
              </a:path>
            </a:pathLst>
          </a:custGeom>
          <a:solidFill>
            <a:srgbClr val="FFFF99"/>
          </a:solidFill>
        </p:spPr>
        <p:txBody>
          <a:bodyPr wrap="square" lIns="0" tIns="0" rIns="0" bIns="0" rtlCol="0">
            <a:noAutofit/>
          </a:bodyPr>
          <a:lstStyle/>
          <a:p>
            <a:endParaRPr/>
          </a:p>
        </p:txBody>
      </p:sp>
      <p:sp>
        <p:nvSpPr>
          <p:cNvPr id="21" name="object 21"/>
          <p:cNvSpPr/>
          <p:nvPr/>
        </p:nvSpPr>
        <p:spPr>
          <a:xfrm>
            <a:off x="3262376" y="2349500"/>
            <a:ext cx="2681224" cy="774700"/>
          </a:xfrm>
          <a:custGeom>
            <a:avLst/>
            <a:gdLst/>
            <a:ahLst/>
            <a:cxnLst/>
            <a:rect l="l" t="t" r="r" b="b"/>
            <a:pathLst>
              <a:path w="2681224" h="774700">
                <a:moveTo>
                  <a:pt x="1614424" y="330200"/>
                </a:moveTo>
                <a:lnTo>
                  <a:pt x="0" y="0"/>
                </a:lnTo>
                <a:lnTo>
                  <a:pt x="1614424" y="463550"/>
                </a:lnTo>
                <a:lnTo>
                  <a:pt x="1614424" y="685800"/>
                </a:lnTo>
                <a:lnTo>
                  <a:pt x="1615385" y="698941"/>
                </a:lnTo>
                <a:lnTo>
                  <a:pt x="1631072" y="737650"/>
                </a:lnTo>
                <a:lnTo>
                  <a:pt x="1662074" y="764592"/>
                </a:lnTo>
                <a:lnTo>
                  <a:pt x="1703324" y="774700"/>
                </a:lnTo>
                <a:lnTo>
                  <a:pt x="2592324" y="774700"/>
                </a:lnTo>
                <a:lnTo>
                  <a:pt x="2632328" y="765232"/>
                </a:lnTo>
                <a:lnTo>
                  <a:pt x="2663756" y="738772"/>
                </a:lnTo>
                <a:lnTo>
                  <a:pt x="2680038" y="700375"/>
                </a:lnTo>
                <a:lnTo>
                  <a:pt x="2681224" y="685800"/>
                </a:lnTo>
                <a:lnTo>
                  <a:pt x="2681224" y="330200"/>
                </a:lnTo>
                <a:lnTo>
                  <a:pt x="2671756" y="290195"/>
                </a:lnTo>
                <a:lnTo>
                  <a:pt x="2645296" y="258767"/>
                </a:lnTo>
                <a:lnTo>
                  <a:pt x="2606899" y="242485"/>
                </a:lnTo>
                <a:lnTo>
                  <a:pt x="2592324" y="241300"/>
                </a:lnTo>
                <a:lnTo>
                  <a:pt x="1703324" y="241300"/>
                </a:lnTo>
                <a:lnTo>
                  <a:pt x="1663319" y="250767"/>
                </a:lnTo>
                <a:lnTo>
                  <a:pt x="1631891" y="277227"/>
                </a:lnTo>
                <a:lnTo>
                  <a:pt x="1615609" y="315624"/>
                </a:lnTo>
                <a:lnTo>
                  <a:pt x="1614424" y="330200"/>
                </a:lnTo>
                <a:close/>
              </a:path>
            </a:pathLst>
          </a:custGeom>
          <a:solidFill>
            <a:srgbClr val="FFFF99"/>
          </a:solidFill>
        </p:spPr>
        <p:txBody>
          <a:bodyPr wrap="square" lIns="0" tIns="0" rIns="0" bIns="0" rtlCol="0">
            <a:noAutofit/>
          </a:bodyPr>
          <a:lstStyle/>
          <a:p>
            <a:endParaRPr/>
          </a:p>
        </p:txBody>
      </p:sp>
      <p:sp>
        <p:nvSpPr>
          <p:cNvPr id="22" name="object 22"/>
          <p:cNvSpPr/>
          <p:nvPr/>
        </p:nvSpPr>
        <p:spPr>
          <a:xfrm>
            <a:off x="3352800" y="3962401"/>
            <a:ext cx="2133600" cy="392175"/>
          </a:xfrm>
          <a:custGeom>
            <a:avLst/>
            <a:gdLst/>
            <a:ahLst/>
            <a:cxnLst/>
            <a:rect l="l" t="t" r="r" b="b"/>
            <a:pathLst>
              <a:path w="2133600" h="392175">
                <a:moveTo>
                  <a:pt x="2133600" y="177800"/>
                </a:moveTo>
                <a:lnTo>
                  <a:pt x="2133600" y="50800"/>
                </a:lnTo>
                <a:lnTo>
                  <a:pt x="2132707" y="41265"/>
                </a:lnTo>
                <a:lnTo>
                  <a:pt x="2109800" y="7755"/>
                </a:lnTo>
                <a:lnTo>
                  <a:pt x="2082800" y="0"/>
                </a:lnTo>
                <a:lnTo>
                  <a:pt x="812800" y="0"/>
                </a:lnTo>
                <a:lnTo>
                  <a:pt x="769755" y="23799"/>
                </a:lnTo>
                <a:lnTo>
                  <a:pt x="762000" y="50800"/>
                </a:lnTo>
                <a:lnTo>
                  <a:pt x="762000" y="177800"/>
                </a:lnTo>
                <a:lnTo>
                  <a:pt x="0" y="392175"/>
                </a:lnTo>
                <a:lnTo>
                  <a:pt x="762000" y="254000"/>
                </a:lnTo>
                <a:lnTo>
                  <a:pt x="762892" y="263534"/>
                </a:lnTo>
                <a:lnTo>
                  <a:pt x="767413" y="276851"/>
                </a:lnTo>
                <a:lnTo>
                  <a:pt x="775241" y="288214"/>
                </a:lnTo>
                <a:lnTo>
                  <a:pt x="785799" y="297044"/>
                </a:lnTo>
                <a:lnTo>
                  <a:pt x="798511" y="302764"/>
                </a:lnTo>
                <a:lnTo>
                  <a:pt x="812800" y="304800"/>
                </a:lnTo>
                <a:lnTo>
                  <a:pt x="2082800" y="304800"/>
                </a:lnTo>
                <a:lnTo>
                  <a:pt x="2125844" y="281000"/>
                </a:lnTo>
                <a:lnTo>
                  <a:pt x="2133600" y="254000"/>
                </a:lnTo>
                <a:lnTo>
                  <a:pt x="2133600" y="177800"/>
                </a:lnTo>
                <a:close/>
              </a:path>
            </a:pathLst>
          </a:custGeom>
          <a:solidFill>
            <a:srgbClr val="FFFF99"/>
          </a:solidFill>
        </p:spPr>
        <p:txBody>
          <a:bodyPr wrap="square" lIns="0" tIns="0" rIns="0" bIns="0" rtlCol="0">
            <a:noAutofit/>
          </a:bodyPr>
          <a:lstStyle/>
          <a:p>
            <a:endParaRPr/>
          </a:p>
        </p:txBody>
      </p:sp>
      <p:sp>
        <p:nvSpPr>
          <p:cNvPr id="23" name="object 23"/>
          <p:cNvSpPr/>
          <p:nvPr/>
        </p:nvSpPr>
        <p:spPr>
          <a:xfrm>
            <a:off x="3314700" y="4343400"/>
            <a:ext cx="2400300" cy="609600"/>
          </a:xfrm>
          <a:custGeom>
            <a:avLst/>
            <a:gdLst/>
            <a:ahLst/>
            <a:cxnLst/>
            <a:rect l="l" t="t" r="r" b="b"/>
            <a:pathLst>
              <a:path w="2400300" h="609600">
                <a:moveTo>
                  <a:pt x="2400300" y="355600"/>
                </a:moveTo>
                <a:lnTo>
                  <a:pt x="2400195" y="96955"/>
                </a:lnTo>
                <a:lnTo>
                  <a:pt x="2389473" y="55896"/>
                </a:lnTo>
                <a:lnTo>
                  <a:pt x="2363869" y="23636"/>
                </a:lnTo>
                <a:lnTo>
                  <a:pt x="2327277" y="4070"/>
                </a:lnTo>
                <a:lnTo>
                  <a:pt x="2298700" y="0"/>
                </a:lnTo>
                <a:lnTo>
                  <a:pt x="1125655" y="104"/>
                </a:lnTo>
                <a:lnTo>
                  <a:pt x="1084596" y="10826"/>
                </a:lnTo>
                <a:lnTo>
                  <a:pt x="1052336" y="36430"/>
                </a:lnTo>
                <a:lnTo>
                  <a:pt x="1032770" y="73022"/>
                </a:lnTo>
                <a:lnTo>
                  <a:pt x="1028700" y="101600"/>
                </a:lnTo>
                <a:lnTo>
                  <a:pt x="1028700" y="355600"/>
                </a:lnTo>
                <a:lnTo>
                  <a:pt x="0" y="344424"/>
                </a:lnTo>
                <a:lnTo>
                  <a:pt x="1028700" y="508000"/>
                </a:lnTo>
                <a:lnTo>
                  <a:pt x="1028804" y="512644"/>
                </a:lnTo>
                <a:lnTo>
                  <a:pt x="1030484" y="527068"/>
                </a:lnTo>
                <a:lnTo>
                  <a:pt x="1046600" y="565627"/>
                </a:lnTo>
                <a:lnTo>
                  <a:pt x="1076299" y="594088"/>
                </a:lnTo>
                <a:lnTo>
                  <a:pt x="1115689" y="608558"/>
                </a:lnTo>
                <a:lnTo>
                  <a:pt x="1130300" y="609600"/>
                </a:lnTo>
                <a:lnTo>
                  <a:pt x="2303344" y="609495"/>
                </a:lnTo>
                <a:lnTo>
                  <a:pt x="2344403" y="598773"/>
                </a:lnTo>
                <a:lnTo>
                  <a:pt x="2376663" y="573169"/>
                </a:lnTo>
                <a:lnTo>
                  <a:pt x="2396229" y="536577"/>
                </a:lnTo>
                <a:lnTo>
                  <a:pt x="2400300" y="508000"/>
                </a:lnTo>
                <a:lnTo>
                  <a:pt x="2400300" y="355600"/>
                </a:lnTo>
                <a:close/>
              </a:path>
            </a:pathLst>
          </a:custGeom>
          <a:solidFill>
            <a:srgbClr val="FFFF99"/>
          </a:solidFill>
        </p:spPr>
        <p:txBody>
          <a:bodyPr wrap="square" lIns="0" tIns="0" rIns="0" bIns="0" rtlCol="0">
            <a:noAutofit/>
          </a:bodyPr>
          <a:lstStyle/>
          <a:p>
            <a:endParaRPr/>
          </a:p>
        </p:txBody>
      </p:sp>
      <p:sp>
        <p:nvSpPr>
          <p:cNvPr id="24" name="object 24"/>
          <p:cNvSpPr/>
          <p:nvPr/>
        </p:nvSpPr>
        <p:spPr>
          <a:xfrm>
            <a:off x="7515226" y="914400"/>
            <a:ext cx="2085975" cy="488950"/>
          </a:xfrm>
          <a:custGeom>
            <a:avLst/>
            <a:gdLst/>
            <a:ahLst/>
            <a:cxnLst/>
            <a:rect l="l" t="t" r="r" b="b"/>
            <a:pathLst>
              <a:path w="2085975" h="488950">
                <a:moveTo>
                  <a:pt x="2085975" y="266700"/>
                </a:moveTo>
                <a:lnTo>
                  <a:pt x="2085975" y="76200"/>
                </a:lnTo>
                <a:lnTo>
                  <a:pt x="2085644" y="69069"/>
                </a:lnTo>
                <a:lnTo>
                  <a:pt x="2070505" y="30207"/>
                </a:lnTo>
                <a:lnTo>
                  <a:pt x="2037843" y="5349"/>
                </a:lnTo>
                <a:lnTo>
                  <a:pt x="2009775" y="0"/>
                </a:lnTo>
                <a:lnTo>
                  <a:pt x="714375" y="0"/>
                </a:lnTo>
                <a:lnTo>
                  <a:pt x="668382" y="15469"/>
                </a:lnTo>
                <a:lnTo>
                  <a:pt x="643524" y="48131"/>
                </a:lnTo>
                <a:lnTo>
                  <a:pt x="638175" y="76200"/>
                </a:lnTo>
                <a:lnTo>
                  <a:pt x="638175" y="266700"/>
                </a:lnTo>
                <a:lnTo>
                  <a:pt x="0" y="488950"/>
                </a:lnTo>
                <a:lnTo>
                  <a:pt x="638175" y="381000"/>
                </a:lnTo>
                <a:lnTo>
                  <a:pt x="638505" y="388130"/>
                </a:lnTo>
                <a:lnTo>
                  <a:pt x="641174" y="402209"/>
                </a:lnTo>
                <a:lnTo>
                  <a:pt x="662928" y="437178"/>
                </a:lnTo>
                <a:lnTo>
                  <a:pt x="699883" y="455819"/>
                </a:lnTo>
                <a:lnTo>
                  <a:pt x="714375" y="457200"/>
                </a:lnTo>
                <a:lnTo>
                  <a:pt x="2009775" y="457200"/>
                </a:lnTo>
                <a:lnTo>
                  <a:pt x="2055767" y="441730"/>
                </a:lnTo>
                <a:lnTo>
                  <a:pt x="2080625" y="409068"/>
                </a:lnTo>
                <a:lnTo>
                  <a:pt x="2085975" y="381000"/>
                </a:lnTo>
                <a:lnTo>
                  <a:pt x="2085975" y="266700"/>
                </a:lnTo>
                <a:close/>
              </a:path>
            </a:pathLst>
          </a:custGeom>
          <a:solidFill>
            <a:srgbClr val="FFFF99"/>
          </a:solidFill>
        </p:spPr>
        <p:txBody>
          <a:bodyPr wrap="square" lIns="0" tIns="0" rIns="0" bIns="0" rtlCol="0">
            <a:noAutofit/>
          </a:bodyPr>
          <a:lstStyle/>
          <a:p>
            <a:endParaRPr/>
          </a:p>
        </p:txBody>
      </p:sp>
      <p:sp>
        <p:nvSpPr>
          <p:cNvPr id="25" name="object 25"/>
          <p:cNvSpPr/>
          <p:nvPr/>
        </p:nvSpPr>
        <p:spPr>
          <a:xfrm>
            <a:off x="7324726" y="1860550"/>
            <a:ext cx="2352675" cy="501650"/>
          </a:xfrm>
          <a:custGeom>
            <a:avLst/>
            <a:gdLst/>
            <a:ahLst/>
            <a:cxnLst/>
            <a:rect l="l" t="t" r="r" b="b"/>
            <a:pathLst>
              <a:path w="2352675" h="501650">
                <a:moveTo>
                  <a:pt x="1285875" y="120650"/>
                </a:moveTo>
                <a:lnTo>
                  <a:pt x="0" y="0"/>
                </a:lnTo>
                <a:lnTo>
                  <a:pt x="1285875" y="234950"/>
                </a:lnTo>
                <a:lnTo>
                  <a:pt x="1285875" y="425450"/>
                </a:lnTo>
                <a:lnTo>
                  <a:pt x="1286205" y="432580"/>
                </a:lnTo>
                <a:lnTo>
                  <a:pt x="1301344" y="471442"/>
                </a:lnTo>
                <a:lnTo>
                  <a:pt x="1334006" y="496300"/>
                </a:lnTo>
                <a:lnTo>
                  <a:pt x="1362075" y="501650"/>
                </a:lnTo>
                <a:lnTo>
                  <a:pt x="2276475" y="501650"/>
                </a:lnTo>
                <a:lnTo>
                  <a:pt x="2322467" y="486180"/>
                </a:lnTo>
                <a:lnTo>
                  <a:pt x="2347325" y="453518"/>
                </a:lnTo>
                <a:lnTo>
                  <a:pt x="2352675" y="425450"/>
                </a:lnTo>
                <a:lnTo>
                  <a:pt x="2352675" y="120650"/>
                </a:lnTo>
                <a:lnTo>
                  <a:pt x="2337205" y="74657"/>
                </a:lnTo>
                <a:lnTo>
                  <a:pt x="2304543" y="49799"/>
                </a:lnTo>
                <a:lnTo>
                  <a:pt x="2276475" y="44450"/>
                </a:lnTo>
                <a:lnTo>
                  <a:pt x="1362075" y="44450"/>
                </a:lnTo>
                <a:lnTo>
                  <a:pt x="1316082" y="59919"/>
                </a:lnTo>
                <a:lnTo>
                  <a:pt x="1291224" y="92581"/>
                </a:lnTo>
                <a:lnTo>
                  <a:pt x="1285875" y="120650"/>
                </a:lnTo>
                <a:close/>
              </a:path>
            </a:pathLst>
          </a:custGeom>
          <a:solidFill>
            <a:srgbClr val="FFFF99"/>
          </a:solidFill>
        </p:spPr>
        <p:txBody>
          <a:bodyPr wrap="square" lIns="0" tIns="0" rIns="0" bIns="0" rtlCol="0">
            <a:noAutofit/>
          </a:bodyPr>
          <a:lstStyle/>
          <a:p>
            <a:endParaRPr/>
          </a:p>
        </p:txBody>
      </p:sp>
      <p:sp>
        <p:nvSpPr>
          <p:cNvPr id="26" name="object 26"/>
          <p:cNvSpPr/>
          <p:nvPr/>
        </p:nvSpPr>
        <p:spPr>
          <a:xfrm>
            <a:off x="7886700" y="3429000"/>
            <a:ext cx="1790700" cy="457200"/>
          </a:xfrm>
          <a:custGeom>
            <a:avLst/>
            <a:gdLst/>
            <a:ahLst/>
            <a:cxnLst/>
            <a:rect l="l" t="t" r="r" b="b"/>
            <a:pathLst>
              <a:path w="1790700" h="457200">
                <a:moveTo>
                  <a:pt x="1790700" y="266700"/>
                </a:moveTo>
                <a:lnTo>
                  <a:pt x="1790700" y="76200"/>
                </a:lnTo>
                <a:lnTo>
                  <a:pt x="1790369" y="69069"/>
                </a:lnTo>
                <a:lnTo>
                  <a:pt x="1775230" y="30207"/>
                </a:lnTo>
                <a:lnTo>
                  <a:pt x="1742568" y="5349"/>
                </a:lnTo>
                <a:lnTo>
                  <a:pt x="1714500" y="0"/>
                </a:lnTo>
                <a:lnTo>
                  <a:pt x="952500" y="0"/>
                </a:lnTo>
                <a:lnTo>
                  <a:pt x="918249" y="8131"/>
                </a:lnTo>
                <a:lnTo>
                  <a:pt x="887949" y="35727"/>
                </a:lnTo>
                <a:lnTo>
                  <a:pt x="876300" y="76200"/>
                </a:lnTo>
                <a:lnTo>
                  <a:pt x="876300" y="266700"/>
                </a:lnTo>
                <a:lnTo>
                  <a:pt x="0" y="273050"/>
                </a:lnTo>
                <a:lnTo>
                  <a:pt x="876300" y="381000"/>
                </a:lnTo>
                <a:lnTo>
                  <a:pt x="876630" y="388130"/>
                </a:lnTo>
                <a:lnTo>
                  <a:pt x="879299" y="402209"/>
                </a:lnTo>
                <a:lnTo>
                  <a:pt x="901053" y="437178"/>
                </a:lnTo>
                <a:lnTo>
                  <a:pt x="938008" y="455819"/>
                </a:lnTo>
                <a:lnTo>
                  <a:pt x="952500" y="457200"/>
                </a:lnTo>
                <a:lnTo>
                  <a:pt x="1714500" y="457200"/>
                </a:lnTo>
                <a:lnTo>
                  <a:pt x="1748750" y="449068"/>
                </a:lnTo>
                <a:lnTo>
                  <a:pt x="1779050" y="421472"/>
                </a:lnTo>
                <a:lnTo>
                  <a:pt x="1790700" y="381000"/>
                </a:lnTo>
                <a:lnTo>
                  <a:pt x="1790700" y="266700"/>
                </a:lnTo>
                <a:close/>
              </a:path>
            </a:pathLst>
          </a:custGeom>
          <a:solidFill>
            <a:srgbClr val="FFFF99"/>
          </a:solidFill>
        </p:spPr>
        <p:txBody>
          <a:bodyPr wrap="square" lIns="0" tIns="0" rIns="0" bIns="0" rtlCol="0">
            <a:noAutofit/>
          </a:bodyPr>
          <a:lstStyle/>
          <a:p>
            <a:endParaRPr/>
          </a:p>
        </p:txBody>
      </p:sp>
      <p:sp>
        <p:nvSpPr>
          <p:cNvPr id="8" name="object 8"/>
          <p:cNvSpPr txBox="1"/>
          <p:nvPr/>
        </p:nvSpPr>
        <p:spPr>
          <a:xfrm>
            <a:off x="8255635" y="986347"/>
            <a:ext cx="1227721" cy="249427"/>
          </a:xfrm>
          <a:prstGeom prst="rect">
            <a:avLst/>
          </a:prstGeom>
        </p:spPr>
        <p:txBody>
          <a:bodyPr wrap="square" lIns="0" tIns="0" rIns="0" bIns="0" rtlCol="0">
            <a:noAutofit/>
          </a:bodyPr>
          <a:lstStyle/>
          <a:p>
            <a:pPr marL="12700" marR="15316">
              <a:lnSpc>
                <a:spcPct val="95825"/>
              </a:lnSpc>
            </a:pPr>
            <a:r>
              <a:rPr sz="800" spc="-4" dirty="0">
                <a:latin typeface="Arial"/>
                <a:cs typeface="Arial"/>
              </a:rPr>
              <a:t>U</a:t>
            </a:r>
            <a:r>
              <a:rPr sz="800" spc="4" dirty="0">
                <a:latin typeface="Arial"/>
                <a:cs typeface="Arial"/>
              </a:rPr>
              <a:t>s</a:t>
            </a:r>
            <a:r>
              <a:rPr sz="800" spc="-4" dirty="0">
                <a:latin typeface="Arial"/>
                <a:cs typeface="Arial"/>
              </a:rPr>
              <a:t>e</a:t>
            </a:r>
            <a:r>
              <a:rPr sz="800" dirty="0">
                <a:latin typeface="Arial"/>
                <a:cs typeface="Arial"/>
              </a:rPr>
              <a:t>d</a:t>
            </a:r>
            <a:r>
              <a:rPr sz="800" spc="-9" dirty="0">
                <a:latin typeface="Arial"/>
                <a:cs typeface="Arial"/>
              </a:rPr>
              <a:t> </a:t>
            </a:r>
            <a:r>
              <a:rPr sz="800" spc="4" dirty="0">
                <a:latin typeface="Arial"/>
                <a:cs typeface="Arial"/>
              </a:rPr>
              <a:t>f</a:t>
            </a:r>
            <a:r>
              <a:rPr sz="800" spc="-4" dirty="0">
                <a:latin typeface="Arial"/>
                <a:cs typeface="Arial"/>
              </a:rPr>
              <a:t>o</a:t>
            </a:r>
            <a:r>
              <a:rPr sz="800" dirty="0">
                <a:latin typeface="Arial"/>
                <a:cs typeface="Arial"/>
              </a:rPr>
              <a:t>r </a:t>
            </a:r>
            <a:r>
              <a:rPr sz="800" spc="-4" dirty="0">
                <a:latin typeface="Arial"/>
                <a:cs typeface="Arial"/>
              </a:rPr>
              <a:t>propo</a:t>
            </a:r>
            <a:r>
              <a:rPr sz="800" spc="4" dirty="0">
                <a:latin typeface="Arial"/>
                <a:cs typeface="Arial"/>
              </a:rPr>
              <a:t>s</a:t>
            </a:r>
            <a:r>
              <a:rPr sz="800" dirty="0">
                <a:latin typeface="Arial"/>
                <a:cs typeface="Arial"/>
              </a:rPr>
              <a:t>e</a:t>
            </a:r>
            <a:r>
              <a:rPr sz="800" spc="14" dirty="0">
                <a:latin typeface="Arial"/>
                <a:cs typeface="Arial"/>
              </a:rPr>
              <a:t> </a:t>
            </a:r>
            <a:r>
              <a:rPr sz="800" spc="-14" dirty="0">
                <a:latin typeface="Arial"/>
                <a:cs typeface="Arial"/>
              </a:rPr>
              <a:t>w</a:t>
            </a:r>
            <a:r>
              <a:rPr sz="800" spc="-4" dirty="0">
                <a:latin typeface="Arial"/>
                <a:cs typeface="Arial"/>
              </a:rPr>
              <a:t>h</a:t>
            </a:r>
            <a:r>
              <a:rPr sz="800" dirty="0">
                <a:latin typeface="Arial"/>
                <a:cs typeface="Arial"/>
              </a:rPr>
              <a:t>i</a:t>
            </a:r>
            <a:r>
              <a:rPr sz="800" spc="4" dirty="0">
                <a:latin typeface="Arial"/>
                <a:cs typeface="Arial"/>
              </a:rPr>
              <a:t>c</a:t>
            </a:r>
            <a:r>
              <a:rPr sz="800" dirty="0">
                <a:latin typeface="Arial"/>
                <a:cs typeface="Arial"/>
              </a:rPr>
              <a:t>h</a:t>
            </a:r>
            <a:endParaRPr sz="800">
              <a:latin typeface="Arial"/>
              <a:cs typeface="Arial"/>
            </a:endParaRPr>
          </a:p>
          <a:p>
            <a:pPr marL="12700">
              <a:lnSpc>
                <a:spcPct val="95825"/>
              </a:lnSpc>
              <a:spcBef>
                <a:spcPts val="40"/>
              </a:spcBef>
            </a:pPr>
            <a:r>
              <a:rPr sz="800" dirty="0">
                <a:latin typeface="Arial"/>
                <a:cs typeface="Arial"/>
              </a:rPr>
              <a:t>G/L</a:t>
            </a:r>
            <a:r>
              <a:rPr sz="800" spc="-9" dirty="0">
                <a:latin typeface="Arial"/>
                <a:cs typeface="Arial"/>
              </a:rPr>
              <a:t> </a:t>
            </a:r>
            <a:r>
              <a:rPr sz="800" spc="-4" dirty="0">
                <a:latin typeface="Arial"/>
                <a:cs typeface="Arial"/>
              </a:rPr>
              <a:t>a</a:t>
            </a:r>
            <a:r>
              <a:rPr sz="800" spc="4" dirty="0">
                <a:latin typeface="Arial"/>
                <a:cs typeface="Arial"/>
              </a:rPr>
              <a:t>cc</a:t>
            </a:r>
            <a:r>
              <a:rPr sz="800" spc="-4" dirty="0">
                <a:latin typeface="Arial"/>
                <a:cs typeface="Arial"/>
              </a:rPr>
              <a:t>oun</a:t>
            </a:r>
            <a:r>
              <a:rPr sz="800" spc="4" dirty="0">
                <a:latin typeface="Arial"/>
                <a:cs typeface="Arial"/>
              </a:rPr>
              <a:t>t</a:t>
            </a:r>
            <a:r>
              <a:rPr sz="800" dirty="0">
                <a:latin typeface="Arial"/>
                <a:cs typeface="Arial"/>
              </a:rPr>
              <a:t>s</a:t>
            </a:r>
            <a:r>
              <a:rPr sz="800" spc="9" dirty="0">
                <a:latin typeface="Arial"/>
                <a:cs typeface="Arial"/>
              </a:rPr>
              <a:t> </a:t>
            </a:r>
            <a:r>
              <a:rPr sz="800" spc="-4" dirty="0">
                <a:latin typeface="Arial"/>
                <a:cs typeface="Arial"/>
              </a:rPr>
              <a:t>en</a:t>
            </a:r>
            <a:r>
              <a:rPr sz="800" spc="4" dirty="0">
                <a:latin typeface="Arial"/>
                <a:cs typeface="Arial"/>
              </a:rPr>
              <a:t>t</a:t>
            </a:r>
            <a:r>
              <a:rPr sz="800" spc="-4" dirty="0">
                <a:latin typeface="Arial"/>
                <a:cs typeface="Arial"/>
              </a:rPr>
              <a:t>r</a:t>
            </a:r>
            <a:r>
              <a:rPr sz="800" dirty="0">
                <a:latin typeface="Arial"/>
                <a:cs typeface="Arial"/>
              </a:rPr>
              <a:t>ies </a:t>
            </a:r>
            <a:r>
              <a:rPr sz="800" spc="14" dirty="0">
                <a:latin typeface="Arial"/>
                <a:cs typeface="Arial"/>
              </a:rPr>
              <a:t>m</a:t>
            </a:r>
            <a:r>
              <a:rPr sz="800" spc="-4" dirty="0">
                <a:latin typeface="Arial"/>
                <a:cs typeface="Arial"/>
              </a:rPr>
              <a:t>u</a:t>
            </a:r>
            <a:r>
              <a:rPr sz="800" spc="4" dirty="0">
                <a:latin typeface="Arial"/>
                <a:cs typeface="Arial"/>
              </a:rPr>
              <a:t>s</a:t>
            </a:r>
            <a:r>
              <a:rPr sz="800" dirty="0">
                <a:latin typeface="Arial"/>
                <a:cs typeface="Arial"/>
              </a:rPr>
              <a:t>t</a:t>
            </a:r>
            <a:endParaRPr sz="800">
              <a:latin typeface="Arial"/>
              <a:cs typeface="Arial"/>
            </a:endParaRPr>
          </a:p>
        </p:txBody>
      </p:sp>
      <p:sp>
        <p:nvSpPr>
          <p:cNvPr id="7" name="object 7"/>
          <p:cNvSpPr txBox="1"/>
          <p:nvPr/>
        </p:nvSpPr>
        <p:spPr>
          <a:xfrm>
            <a:off x="3533903" y="1756909"/>
            <a:ext cx="829003" cy="151891"/>
          </a:xfrm>
          <a:prstGeom prst="rect">
            <a:avLst/>
          </a:prstGeom>
        </p:spPr>
        <p:txBody>
          <a:bodyPr wrap="square" lIns="0" tIns="0" rIns="0" bIns="0" rtlCol="0">
            <a:noAutofit/>
          </a:bodyPr>
          <a:lstStyle/>
          <a:p>
            <a:pPr marL="12700">
              <a:lnSpc>
                <a:spcPts val="1120"/>
              </a:lnSpc>
              <a:spcBef>
                <a:spcPts val="55"/>
              </a:spcBef>
            </a:pPr>
            <a:r>
              <a:rPr sz="1000" dirty="0">
                <a:latin typeface="Arial"/>
                <a:cs typeface="Arial"/>
              </a:rPr>
              <a:t>n</a:t>
            </a:r>
            <a:r>
              <a:rPr sz="1000" spc="-4" dirty="0">
                <a:latin typeface="Arial"/>
                <a:cs typeface="Arial"/>
              </a:rPr>
              <a:t>u</a:t>
            </a:r>
            <a:r>
              <a:rPr sz="1000" spc="19" dirty="0">
                <a:latin typeface="Arial"/>
                <a:cs typeface="Arial"/>
              </a:rPr>
              <a:t>m</a:t>
            </a:r>
            <a:r>
              <a:rPr sz="1000" dirty="0">
                <a:latin typeface="Arial"/>
                <a:cs typeface="Arial"/>
              </a:rPr>
              <a:t>b</a:t>
            </a:r>
            <a:r>
              <a:rPr sz="1000" spc="-4" dirty="0">
                <a:latin typeface="Arial"/>
                <a:cs typeface="Arial"/>
              </a:rPr>
              <a:t>e</a:t>
            </a:r>
            <a:r>
              <a:rPr sz="1000" dirty="0">
                <a:latin typeface="Arial"/>
                <a:cs typeface="Arial"/>
              </a:rPr>
              <a:t>r</a:t>
            </a:r>
            <a:r>
              <a:rPr sz="1000" spc="-68" dirty="0">
                <a:latin typeface="Arial"/>
                <a:cs typeface="Arial"/>
              </a:rPr>
              <a:t> </a:t>
            </a:r>
            <a:r>
              <a:rPr sz="1000" spc="4" dirty="0">
                <a:latin typeface="Arial"/>
                <a:cs typeface="Arial"/>
              </a:rPr>
              <a:t>r</a:t>
            </a:r>
            <a:r>
              <a:rPr sz="1000" dirty="0">
                <a:latin typeface="Arial"/>
                <a:cs typeface="Arial"/>
              </a:rPr>
              <a:t>a</a:t>
            </a:r>
            <a:r>
              <a:rPr sz="1000" spc="-4" dirty="0">
                <a:latin typeface="Arial"/>
                <a:cs typeface="Arial"/>
              </a:rPr>
              <a:t>n</a:t>
            </a:r>
            <a:r>
              <a:rPr sz="1000" dirty="0">
                <a:latin typeface="Arial"/>
                <a:cs typeface="Arial"/>
              </a:rPr>
              <a:t>ge</a:t>
            </a:r>
            <a:endParaRPr sz="1000">
              <a:latin typeface="Arial"/>
              <a:cs typeface="Arial"/>
            </a:endParaRPr>
          </a:p>
        </p:txBody>
      </p:sp>
      <p:sp>
        <p:nvSpPr>
          <p:cNvPr id="6" name="object 6"/>
          <p:cNvSpPr txBox="1"/>
          <p:nvPr/>
        </p:nvSpPr>
        <p:spPr>
          <a:xfrm>
            <a:off x="4902200" y="1794066"/>
            <a:ext cx="1137560" cy="127508"/>
          </a:xfrm>
          <a:prstGeom prst="rect">
            <a:avLst/>
          </a:prstGeom>
        </p:spPr>
        <p:txBody>
          <a:bodyPr wrap="square" lIns="0" tIns="0" rIns="0" bIns="0" rtlCol="0">
            <a:noAutofit/>
          </a:bodyPr>
          <a:lstStyle/>
          <a:p>
            <a:pPr marL="12700">
              <a:lnSpc>
                <a:spcPct val="95825"/>
              </a:lnSpc>
            </a:pPr>
            <a:r>
              <a:rPr sz="800" spc="-4" dirty="0">
                <a:latin typeface="Arial"/>
                <a:cs typeface="Arial"/>
              </a:rPr>
              <a:t>po</a:t>
            </a:r>
            <a:r>
              <a:rPr sz="800" spc="4" dirty="0">
                <a:latin typeface="Arial"/>
                <a:cs typeface="Arial"/>
              </a:rPr>
              <a:t>st</a:t>
            </a:r>
            <a:r>
              <a:rPr sz="800" dirty="0">
                <a:latin typeface="Arial"/>
                <a:cs typeface="Arial"/>
              </a:rPr>
              <a:t>ing</a:t>
            </a:r>
            <a:r>
              <a:rPr sz="800" spc="216" dirty="0">
                <a:latin typeface="Arial"/>
                <a:cs typeface="Arial"/>
              </a:rPr>
              <a:t> </a:t>
            </a:r>
            <a:r>
              <a:rPr sz="800" spc="4" dirty="0">
                <a:latin typeface="Arial"/>
                <a:cs typeface="Arial"/>
              </a:rPr>
              <a:t>t</a:t>
            </a:r>
            <a:r>
              <a:rPr sz="800" dirty="0">
                <a:latin typeface="Arial"/>
                <a:cs typeface="Arial"/>
              </a:rPr>
              <a:t>o</a:t>
            </a:r>
            <a:r>
              <a:rPr sz="800" spc="4" dirty="0">
                <a:latin typeface="Arial"/>
                <a:cs typeface="Arial"/>
              </a:rPr>
              <a:t> </a:t>
            </a:r>
            <a:r>
              <a:rPr sz="800" spc="-4" dirty="0">
                <a:latin typeface="Arial"/>
                <a:cs typeface="Arial"/>
              </a:rPr>
              <a:t>a</a:t>
            </a:r>
            <a:r>
              <a:rPr sz="800" spc="4" dirty="0">
                <a:latin typeface="Arial"/>
                <a:cs typeface="Arial"/>
              </a:rPr>
              <a:t>cc</a:t>
            </a:r>
            <a:r>
              <a:rPr sz="800" spc="-4" dirty="0">
                <a:latin typeface="Arial"/>
                <a:cs typeface="Arial"/>
              </a:rPr>
              <a:t>oun</a:t>
            </a:r>
            <a:r>
              <a:rPr sz="800" spc="4" dirty="0">
                <a:latin typeface="Arial"/>
                <a:cs typeface="Arial"/>
              </a:rPr>
              <a:t>t</a:t>
            </a:r>
            <a:r>
              <a:rPr sz="800" dirty="0">
                <a:latin typeface="Arial"/>
                <a:cs typeface="Arial"/>
              </a:rPr>
              <a:t>ing</a:t>
            </a:r>
            <a:r>
              <a:rPr sz="800" spc="14" dirty="0">
                <a:latin typeface="Arial"/>
                <a:cs typeface="Arial"/>
              </a:rPr>
              <a:t> </a:t>
            </a:r>
            <a:r>
              <a:rPr sz="800" dirty="0">
                <a:latin typeface="Arial"/>
                <a:cs typeface="Arial"/>
              </a:rPr>
              <a:t>is</a:t>
            </a:r>
            <a:endParaRPr sz="800">
              <a:latin typeface="Arial"/>
              <a:cs typeface="Arial"/>
            </a:endParaRPr>
          </a:p>
        </p:txBody>
      </p:sp>
      <p:sp>
        <p:nvSpPr>
          <p:cNvPr id="5" name="object 5"/>
          <p:cNvSpPr txBox="1"/>
          <p:nvPr/>
        </p:nvSpPr>
        <p:spPr>
          <a:xfrm>
            <a:off x="1831340" y="5377534"/>
            <a:ext cx="8457776" cy="870866"/>
          </a:xfrm>
          <a:prstGeom prst="rect">
            <a:avLst/>
          </a:prstGeom>
        </p:spPr>
        <p:txBody>
          <a:bodyPr wrap="square" lIns="0" tIns="0" rIns="0" bIns="0" rtlCol="0">
            <a:noAutofit/>
          </a:bodyPr>
          <a:lstStyle/>
          <a:p>
            <a:pPr marL="298450" indent="-285750">
              <a:spcBef>
                <a:spcPts val="86"/>
              </a:spcBef>
              <a:buClr>
                <a:srgbClr val="00B0F0"/>
              </a:buClr>
              <a:buFont typeface="Wingdings" panose="05000000000000000000" pitchFamily="2" charset="2"/>
              <a:buChar char="§"/>
            </a:pPr>
            <a:r>
              <a:rPr sz="1400" dirty="0">
                <a:cs typeface="Arial"/>
              </a:rPr>
              <a:t>The billing type controls whether the creation of a billing document will automatically</a:t>
            </a:r>
            <a:r>
              <a:rPr lang="en-US" sz="1400" dirty="0">
                <a:cs typeface="Arial"/>
              </a:rPr>
              <a:t> </a:t>
            </a:r>
            <a:r>
              <a:rPr sz="1400" dirty="0">
                <a:cs typeface="Arial"/>
              </a:rPr>
              <a:t>post entries to accounting</a:t>
            </a:r>
          </a:p>
          <a:p>
            <a:pPr marL="298450" marR="35049" indent="-285750">
              <a:lnSpc>
                <a:spcPct val="95825"/>
              </a:lnSpc>
              <a:spcBef>
                <a:spcPts val="550"/>
              </a:spcBef>
              <a:buClr>
                <a:srgbClr val="00B0F0"/>
              </a:buClr>
              <a:buFont typeface="Wingdings" panose="05000000000000000000" pitchFamily="2" charset="2"/>
              <a:buChar char="§"/>
            </a:pPr>
            <a:r>
              <a:rPr sz="1400" dirty="0">
                <a:cs typeface="Arial"/>
              </a:rPr>
              <a:t>IMG – S</a:t>
            </a:r>
            <a:r>
              <a:rPr sz="1400" spc="-4" dirty="0">
                <a:cs typeface="Arial"/>
              </a:rPr>
              <a:t>a</a:t>
            </a:r>
            <a:r>
              <a:rPr sz="1400" dirty="0">
                <a:cs typeface="Arial"/>
              </a:rPr>
              <a:t>l</a:t>
            </a:r>
            <a:r>
              <a:rPr sz="1400" spc="-9" dirty="0">
                <a:cs typeface="Arial"/>
              </a:rPr>
              <a:t>e</a:t>
            </a:r>
            <a:r>
              <a:rPr sz="1400" dirty="0">
                <a:cs typeface="Arial"/>
              </a:rPr>
              <a:t>s</a:t>
            </a:r>
            <a:r>
              <a:rPr sz="1400" spc="14" dirty="0">
                <a:cs typeface="Arial"/>
              </a:rPr>
              <a:t> </a:t>
            </a:r>
            <a:r>
              <a:rPr sz="1400" dirty="0">
                <a:cs typeface="Arial"/>
              </a:rPr>
              <a:t>a</a:t>
            </a:r>
            <a:r>
              <a:rPr sz="1400" spc="-9" dirty="0">
                <a:cs typeface="Arial"/>
              </a:rPr>
              <a:t>n</a:t>
            </a:r>
            <a:r>
              <a:rPr sz="1400" dirty="0">
                <a:cs typeface="Arial"/>
              </a:rPr>
              <a:t>d</a:t>
            </a:r>
            <a:r>
              <a:rPr sz="1400" spc="9" dirty="0">
                <a:cs typeface="Arial"/>
              </a:rPr>
              <a:t> </a:t>
            </a:r>
            <a:r>
              <a:rPr sz="1400" dirty="0">
                <a:cs typeface="Arial"/>
              </a:rPr>
              <a:t>D</a:t>
            </a:r>
            <a:r>
              <a:rPr sz="1400" spc="-4" dirty="0">
                <a:cs typeface="Arial"/>
              </a:rPr>
              <a:t>i</a:t>
            </a:r>
            <a:r>
              <a:rPr sz="1400" dirty="0">
                <a:cs typeface="Arial"/>
              </a:rPr>
              <a:t>strib</a:t>
            </a:r>
            <a:r>
              <a:rPr sz="1400" spc="-9" dirty="0">
                <a:cs typeface="Arial"/>
              </a:rPr>
              <a:t>u</a:t>
            </a:r>
            <a:r>
              <a:rPr sz="1400" dirty="0">
                <a:cs typeface="Arial"/>
              </a:rPr>
              <a:t>tion</a:t>
            </a:r>
            <a:r>
              <a:rPr sz="1400" spc="24"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4"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19" dirty="0">
                <a:cs typeface="Arial"/>
              </a:rPr>
              <a:t> </a:t>
            </a:r>
            <a:r>
              <a:rPr sz="1400" dirty="0">
                <a:cs typeface="Arial"/>
              </a:rPr>
              <a:t>D</a:t>
            </a:r>
            <a:r>
              <a:rPr sz="1400" spc="-9" dirty="0">
                <a:cs typeface="Arial"/>
              </a:rPr>
              <a:t>o</a:t>
            </a:r>
            <a:r>
              <a:rPr sz="1400" dirty="0">
                <a:cs typeface="Arial"/>
              </a:rPr>
              <a:t>cum</a:t>
            </a:r>
            <a:r>
              <a:rPr sz="1400" spc="-9" dirty="0">
                <a:cs typeface="Arial"/>
              </a:rPr>
              <a:t>e</a:t>
            </a:r>
            <a:r>
              <a:rPr sz="1400" dirty="0">
                <a:cs typeface="Arial"/>
              </a:rPr>
              <a:t>nts</a:t>
            </a:r>
            <a:r>
              <a:rPr sz="1400" spc="19" dirty="0">
                <a:cs typeface="Arial"/>
              </a:rPr>
              <a:t> </a:t>
            </a:r>
            <a:r>
              <a:rPr sz="1400" dirty="0">
                <a:cs typeface="Arial"/>
              </a:rPr>
              <a:t>– D</a:t>
            </a:r>
            <a:r>
              <a:rPr sz="1400" spc="-9" dirty="0">
                <a:cs typeface="Arial"/>
              </a:rPr>
              <a:t>e</a:t>
            </a:r>
            <a:r>
              <a:rPr sz="1400" dirty="0">
                <a:cs typeface="Arial"/>
              </a:rPr>
              <a:t>fine</a:t>
            </a:r>
            <a:r>
              <a:rPr sz="1400" spc="4" dirty="0">
                <a:cs typeface="Arial"/>
              </a:rPr>
              <a:t> </a:t>
            </a:r>
            <a:r>
              <a:rPr sz="1400" dirty="0">
                <a:cs typeface="Arial"/>
              </a:rPr>
              <a:t>b</a:t>
            </a:r>
            <a:r>
              <a:rPr sz="1400" spc="-9" dirty="0">
                <a:cs typeface="Arial"/>
              </a:rPr>
              <a:t>i</a:t>
            </a:r>
            <a:r>
              <a:rPr sz="1400" dirty="0">
                <a:cs typeface="Arial"/>
              </a:rPr>
              <a:t>l</a:t>
            </a:r>
            <a:r>
              <a:rPr sz="1400" spc="-4" dirty="0">
                <a:cs typeface="Arial"/>
              </a:rPr>
              <a:t>l</a:t>
            </a:r>
            <a:r>
              <a:rPr sz="1400" dirty="0">
                <a:cs typeface="Arial"/>
              </a:rPr>
              <a:t>i</a:t>
            </a:r>
            <a:r>
              <a:rPr sz="1400" spc="-9" dirty="0">
                <a:cs typeface="Arial"/>
              </a:rPr>
              <a:t>n</a:t>
            </a:r>
            <a:r>
              <a:rPr sz="1400" dirty="0">
                <a:cs typeface="Arial"/>
              </a:rPr>
              <a:t>g</a:t>
            </a:r>
            <a:r>
              <a:rPr sz="1400" spc="24" dirty="0">
                <a:cs typeface="Arial"/>
              </a:rPr>
              <a:t> </a:t>
            </a:r>
            <a:r>
              <a:rPr sz="1400" dirty="0">
                <a:cs typeface="Arial"/>
              </a:rPr>
              <a:t>t</a:t>
            </a:r>
            <a:r>
              <a:rPr sz="1400" spc="-19" dirty="0">
                <a:cs typeface="Arial"/>
              </a:rPr>
              <a:t>y</a:t>
            </a:r>
            <a:r>
              <a:rPr sz="1400" dirty="0">
                <a:cs typeface="Arial"/>
              </a:rPr>
              <a:t>p</a:t>
            </a:r>
            <a:r>
              <a:rPr sz="1400" spc="-9" dirty="0">
                <a:cs typeface="Arial"/>
              </a:rPr>
              <a:t>e</a:t>
            </a:r>
            <a:r>
              <a:rPr sz="1400" dirty="0">
                <a:cs typeface="Arial"/>
              </a:rPr>
              <a:t>s</a:t>
            </a:r>
          </a:p>
        </p:txBody>
      </p:sp>
      <p:sp>
        <p:nvSpPr>
          <p:cNvPr id="3" name="object 3"/>
          <p:cNvSpPr txBox="1"/>
          <p:nvPr/>
        </p:nvSpPr>
        <p:spPr>
          <a:xfrm>
            <a:off x="2133600" y="1219200"/>
            <a:ext cx="3886200" cy="3962400"/>
          </a:xfrm>
          <a:prstGeom prst="rect">
            <a:avLst/>
          </a:prstGeom>
        </p:spPr>
        <p:txBody>
          <a:bodyPr wrap="square" lIns="0" tIns="0" rIns="0" bIns="0" rtlCol="0">
            <a:noAutofit/>
          </a:bodyPr>
          <a:lstStyle/>
          <a:p>
            <a:pPr>
              <a:lnSpc>
                <a:spcPts val="950"/>
              </a:lnSpc>
              <a:spcBef>
                <a:spcPts val="30"/>
              </a:spcBef>
            </a:pPr>
            <a:endParaRPr sz="950"/>
          </a:p>
          <a:p>
            <a:pPr marR="25924" algn="r">
              <a:lnSpc>
                <a:spcPts val="1495"/>
              </a:lnSpc>
              <a:spcBef>
                <a:spcPts val="2000"/>
              </a:spcBef>
            </a:pPr>
            <a:r>
              <a:rPr sz="1500" baseline="23190" dirty="0">
                <a:latin typeface="Arial"/>
                <a:cs typeface="Arial"/>
              </a:rPr>
              <a:t>O</a:t>
            </a:r>
            <a:r>
              <a:rPr sz="1500" spc="-4" baseline="23190" dirty="0">
                <a:latin typeface="Arial"/>
                <a:cs typeface="Arial"/>
              </a:rPr>
              <a:t>nl</a:t>
            </a:r>
            <a:r>
              <a:rPr sz="1500" baseline="23190" dirty="0">
                <a:latin typeface="Arial"/>
                <a:cs typeface="Arial"/>
              </a:rPr>
              <a:t>y</a:t>
            </a:r>
            <a:r>
              <a:rPr sz="1500" spc="-30" baseline="23190" dirty="0">
                <a:latin typeface="Arial"/>
                <a:cs typeface="Arial"/>
              </a:rPr>
              <a:t> </a:t>
            </a:r>
            <a:r>
              <a:rPr sz="1500" spc="-4" baseline="23190" dirty="0">
                <a:latin typeface="Arial"/>
                <a:cs typeface="Arial"/>
              </a:rPr>
              <a:t>in</a:t>
            </a:r>
            <a:r>
              <a:rPr sz="1500" baseline="23190" dirty="0">
                <a:latin typeface="Arial"/>
                <a:cs typeface="Arial"/>
              </a:rPr>
              <a:t>t</a:t>
            </a:r>
            <a:r>
              <a:rPr sz="1500" spc="-4" baseline="23190" dirty="0">
                <a:latin typeface="Arial"/>
                <a:cs typeface="Arial"/>
              </a:rPr>
              <a:t>e</a:t>
            </a:r>
            <a:r>
              <a:rPr sz="1500" spc="4" baseline="23190" dirty="0">
                <a:latin typeface="Arial"/>
                <a:cs typeface="Arial"/>
              </a:rPr>
              <a:t>r</a:t>
            </a:r>
            <a:r>
              <a:rPr sz="1500" spc="-4" baseline="23190" dirty="0">
                <a:latin typeface="Arial"/>
                <a:cs typeface="Arial"/>
              </a:rPr>
              <a:t>na</a:t>
            </a:r>
            <a:r>
              <a:rPr sz="1500" baseline="23190" dirty="0">
                <a:latin typeface="Arial"/>
                <a:cs typeface="Arial"/>
              </a:rPr>
              <a:t>l                 </a:t>
            </a:r>
            <a:r>
              <a:rPr sz="1500" spc="184" baseline="23190" dirty="0">
                <a:latin typeface="Arial"/>
                <a:cs typeface="Arial"/>
              </a:rPr>
              <a:t> </a:t>
            </a:r>
            <a:r>
              <a:rPr sz="800" spc="4" dirty="0">
                <a:latin typeface="Arial"/>
                <a:cs typeface="Arial"/>
              </a:rPr>
              <a:t>I</a:t>
            </a:r>
            <a:r>
              <a:rPr sz="800" dirty="0">
                <a:latin typeface="Arial"/>
                <a:cs typeface="Arial"/>
              </a:rPr>
              <a:t>f</a:t>
            </a:r>
            <a:r>
              <a:rPr sz="800" spc="-14" dirty="0">
                <a:latin typeface="Arial"/>
                <a:cs typeface="Arial"/>
              </a:rPr>
              <a:t> </a:t>
            </a:r>
            <a:r>
              <a:rPr sz="800" spc="-4" dirty="0">
                <a:latin typeface="Arial"/>
                <a:cs typeface="Arial"/>
              </a:rPr>
              <a:t>a</a:t>
            </a:r>
            <a:r>
              <a:rPr sz="800" spc="4" dirty="0">
                <a:latin typeface="Arial"/>
                <a:cs typeface="Arial"/>
              </a:rPr>
              <a:t>ct</a:t>
            </a:r>
            <a:r>
              <a:rPr sz="800" dirty="0">
                <a:latin typeface="Arial"/>
                <a:cs typeface="Arial"/>
              </a:rPr>
              <a:t>i</a:t>
            </a:r>
            <a:r>
              <a:rPr sz="800" spc="-4" dirty="0">
                <a:latin typeface="Arial"/>
                <a:cs typeface="Arial"/>
              </a:rPr>
              <a:t>va</a:t>
            </a:r>
            <a:r>
              <a:rPr sz="800" spc="4" dirty="0">
                <a:latin typeface="Arial"/>
                <a:cs typeface="Arial"/>
              </a:rPr>
              <a:t>t</a:t>
            </a:r>
            <a:r>
              <a:rPr sz="800" spc="-4" dirty="0">
                <a:latin typeface="Arial"/>
                <a:cs typeface="Arial"/>
              </a:rPr>
              <a:t>e</a:t>
            </a:r>
            <a:r>
              <a:rPr sz="800" dirty="0">
                <a:latin typeface="Arial"/>
                <a:cs typeface="Arial"/>
              </a:rPr>
              <a:t>d</a:t>
            </a:r>
            <a:r>
              <a:rPr sz="800" spc="14" dirty="0">
                <a:latin typeface="Arial"/>
                <a:cs typeface="Arial"/>
              </a:rPr>
              <a:t> </a:t>
            </a:r>
            <a:r>
              <a:rPr sz="800" dirty="0">
                <a:latin typeface="Arial"/>
                <a:cs typeface="Arial"/>
              </a:rPr>
              <a:t>, </a:t>
            </a:r>
            <a:r>
              <a:rPr sz="800" spc="-4" dirty="0">
                <a:latin typeface="Arial"/>
                <a:cs typeface="Arial"/>
              </a:rPr>
              <a:t>au</a:t>
            </a:r>
            <a:r>
              <a:rPr sz="800" spc="4" dirty="0">
                <a:latin typeface="Arial"/>
                <a:cs typeface="Arial"/>
              </a:rPr>
              <a:t>t</a:t>
            </a:r>
            <a:r>
              <a:rPr sz="800" spc="-4" dirty="0">
                <a:latin typeface="Arial"/>
                <a:cs typeface="Arial"/>
              </a:rPr>
              <a:t>o</a:t>
            </a:r>
            <a:r>
              <a:rPr sz="800" spc="14" dirty="0">
                <a:latin typeface="Arial"/>
                <a:cs typeface="Arial"/>
              </a:rPr>
              <a:t>m</a:t>
            </a:r>
            <a:r>
              <a:rPr sz="800" spc="-4" dirty="0">
                <a:latin typeface="Arial"/>
                <a:cs typeface="Arial"/>
              </a:rPr>
              <a:t>a</a:t>
            </a:r>
            <a:r>
              <a:rPr sz="800" spc="4" dirty="0">
                <a:latin typeface="Arial"/>
                <a:cs typeface="Arial"/>
              </a:rPr>
              <a:t>t</a:t>
            </a:r>
            <a:r>
              <a:rPr sz="800" dirty="0">
                <a:latin typeface="Arial"/>
                <a:cs typeface="Arial"/>
              </a:rPr>
              <a:t>ic t</a:t>
            </a:r>
            <a:endParaRPr sz="800">
              <a:latin typeface="Arial"/>
              <a:cs typeface="Arial"/>
            </a:endParaRPr>
          </a:p>
          <a:p>
            <a:pPr marL="1413002">
              <a:lnSpc>
                <a:spcPts val="1049"/>
              </a:lnSpc>
              <a:spcBef>
                <a:spcPts val="914"/>
              </a:spcBef>
            </a:pPr>
            <a:r>
              <a:rPr sz="1500" spc="-4" baseline="-5797" dirty="0">
                <a:latin typeface="Arial"/>
                <a:cs typeface="Arial"/>
              </a:rPr>
              <a:t>i</a:t>
            </a:r>
            <a:r>
              <a:rPr sz="1500" baseline="-5797" dirty="0">
                <a:latin typeface="Arial"/>
                <a:cs typeface="Arial"/>
              </a:rPr>
              <a:t>s</a:t>
            </a:r>
            <a:r>
              <a:rPr sz="1500" spc="-17" baseline="-5797" dirty="0">
                <a:latin typeface="Arial"/>
                <a:cs typeface="Arial"/>
              </a:rPr>
              <a:t> </a:t>
            </a:r>
            <a:r>
              <a:rPr sz="1500" baseline="-5797" dirty="0">
                <a:latin typeface="Arial"/>
                <a:cs typeface="Arial"/>
              </a:rPr>
              <a:t>p</a:t>
            </a:r>
            <a:r>
              <a:rPr sz="1500" spc="-4" baseline="-5797" dirty="0">
                <a:latin typeface="Arial"/>
                <a:cs typeface="Arial"/>
              </a:rPr>
              <a:t>o</a:t>
            </a:r>
            <a:r>
              <a:rPr sz="1500" spc="4" baseline="-5797" dirty="0">
                <a:latin typeface="Arial"/>
                <a:cs typeface="Arial"/>
              </a:rPr>
              <a:t>ss</a:t>
            </a:r>
            <a:r>
              <a:rPr sz="1500" spc="-4" baseline="-5797" dirty="0">
                <a:latin typeface="Arial"/>
                <a:cs typeface="Arial"/>
              </a:rPr>
              <a:t>i</a:t>
            </a:r>
            <a:r>
              <a:rPr sz="1500" baseline="-5797" dirty="0">
                <a:latin typeface="Arial"/>
                <a:cs typeface="Arial"/>
              </a:rPr>
              <a:t>b</a:t>
            </a:r>
            <a:r>
              <a:rPr sz="1500" spc="-4" baseline="-5797" dirty="0">
                <a:latin typeface="Arial"/>
                <a:cs typeface="Arial"/>
              </a:rPr>
              <a:t>l</a:t>
            </a:r>
            <a:r>
              <a:rPr sz="1500" baseline="-5797" dirty="0">
                <a:latin typeface="Arial"/>
                <a:cs typeface="Arial"/>
              </a:rPr>
              <a:t>e                     </a:t>
            </a:r>
            <a:r>
              <a:rPr sz="1500" spc="13" baseline="-5797" dirty="0">
                <a:latin typeface="Arial"/>
                <a:cs typeface="Arial"/>
              </a:rPr>
              <a:t> </a:t>
            </a:r>
            <a:r>
              <a:rPr sz="800" spc="-4" dirty="0">
                <a:latin typeface="Arial"/>
                <a:cs typeface="Arial"/>
              </a:rPr>
              <a:t>no</a:t>
            </a:r>
            <a:r>
              <a:rPr sz="800" dirty="0">
                <a:latin typeface="Arial"/>
                <a:cs typeface="Arial"/>
              </a:rPr>
              <a:t>t</a:t>
            </a:r>
            <a:r>
              <a:rPr sz="800" spc="2" dirty="0">
                <a:latin typeface="Arial"/>
                <a:cs typeface="Arial"/>
              </a:rPr>
              <a:t> </a:t>
            </a:r>
            <a:r>
              <a:rPr sz="800" spc="-4" dirty="0">
                <a:latin typeface="Arial"/>
                <a:cs typeface="Arial"/>
              </a:rPr>
              <a:t>po</a:t>
            </a:r>
            <a:r>
              <a:rPr sz="800" spc="4" dirty="0">
                <a:latin typeface="Arial"/>
                <a:cs typeface="Arial"/>
              </a:rPr>
              <a:t>ss</a:t>
            </a:r>
            <a:r>
              <a:rPr sz="800" dirty="0">
                <a:latin typeface="Arial"/>
                <a:cs typeface="Arial"/>
              </a:rPr>
              <a:t>i</a:t>
            </a:r>
            <a:r>
              <a:rPr sz="800" spc="-4" dirty="0">
                <a:latin typeface="Arial"/>
                <a:cs typeface="Arial"/>
              </a:rPr>
              <a:t>b</a:t>
            </a:r>
            <a:r>
              <a:rPr sz="800" dirty="0">
                <a:latin typeface="Arial"/>
                <a:cs typeface="Arial"/>
              </a:rPr>
              <a:t>le</a:t>
            </a:r>
            <a:endParaRPr sz="800">
              <a:latin typeface="Arial"/>
              <a:cs typeface="Arial"/>
            </a:endParaRPr>
          </a:p>
          <a:p>
            <a:pPr marR="26969" algn="r">
              <a:lnSpc>
                <a:spcPct val="95825"/>
              </a:lnSpc>
              <a:spcBef>
                <a:spcPts val="1857"/>
              </a:spcBef>
            </a:pPr>
            <a:r>
              <a:rPr sz="800" spc="-4" dirty="0">
                <a:latin typeface="Arial"/>
                <a:cs typeface="Arial"/>
              </a:rPr>
              <a:t>Upda</a:t>
            </a:r>
            <a:r>
              <a:rPr sz="800" spc="4" dirty="0">
                <a:latin typeface="Arial"/>
                <a:cs typeface="Arial"/>
              </a:rPr>
              <a:t>t</a:t>
            </a:r>
            <a:r>
              <a:rPr sz="800" dirty="0">
                <a:latin typeface="Arial"/>
                <a:cs typeface="Arial"/>
              </a:rPr>
              <a:t>e</a:t>
            </a:r>
            <a:endParaRPr sz="800">
              <a:latin typeface="Arial"/>
              <a:cs typeface="Arial"/>
            </a:endParaRPr>
          </a:p>
          <a:p>
            <a:pPr marR="114603" algn="r">
              <a:lnSpc>
                <a:spcPct val="95825"/>
              </a:lnSpc>
              <a:spcBef>
                <a:spcPts val="40"/>
              </a:spcBef>
            </a:pPr>
            <a:r>
              <a:rPr sz="800" spc="-4" dirty="0">
                <a:latin typeface="Arial"/>
                <a:cs typeface="Arial"/>
              </a:rPr>
              <a:t>L</a:t>
            </a:r>
            <a:r>
              <a:rPr sz="800" spc="4" dirty="0">
                <a:latin typeface="Arial"/>
                <a:cs typeface="Arial"/>
              </a:rPr>
              <a:t>I</a:t>
            </a:r>
            <a:r>
              <a:rPr sz="800" dirty="0">
                <a:latin typeface="Arial"/>
                <a:cs typeface="Arial"/>
              </a:rPr>
              <a:t>S</a:t>
            </a:r>
            <a:endParaRPr sz="800">
              <a:latin typeface="Arial"/>
              <a:cs typeface="Arial"/>
            </a:endParaRPr>
          </a:p>
          <a:p>
            <a:pPr marL="2861183" marR="206863">
              <a:lnSpc>
                <a:spcPct val="100041"/>
              </a:lnSpc>
              <a:spcBef>
                <a:spcPts val="1209"/>
              </a:spcBef>
            </a:pPr>
            <a:r>
              <a:rPr sz="800" spc="19" dirty="0">
                <a:latin typeface="Arial"/>
                <a:cs typeface="Arial"/>
              </a:rPr>
              <a:t>W</a:t>
            </a:r>
            <a:r>
              <a:rPr sz="800" spc="-4" dirty="0">
                <a:latin typeface="Arial"/>
                <a:cs typeface="Arial"/>
              </a:rPr>
              <a:t>ha</a:t>
            </a:r>
            <a:r>
              <a:rPr sz="800" dirty="0">
                <a:latin typeface="Arial"/>
                <a:cs typeface="Arial"/>
              </a:rPr>
              <a:t>t</a:t>
            </a:r>
            <a:r>
              <a:rPr sz="800" spc="-24" dirty="0">
                <a:latin typeface="Arial"/>
                <a:cs typeface="Arial"/>
              </a:rPr>
              <a:t> </a:t>
            </a:r>
            <a:r>
              <a:rPr sz="800" spc="4" dirty="0">
                <a:latin typeface="Arial"/>
                <a:cs typeface="Arial"/>
              </a:rPr>
              <a:t>t</a:t>
            </a:r>
            <a:r>
              <a:rPr sz="800" spc="-4" dirty="0">
                <a:latin typeface="Arial"/>
                <a:cs typeface="Arial"/>
              </a:rPr>
              <a:t>yp</a:t>
            </a:r>
            <a:r>
              <a:rPr sz="800" dirty="0">
                <a:latin typeface="Arial"/>
                <a:cs typeface="Arial"/>
              </a:rPr>
              <a:t>e</a:t>
            </a:r>
            <a:r>
              <a:rPr sz="800" spc="14" dirty="0">
                <a:latin typeface="Arial"/>
                <a:cs typeface="Arial"/>
              </a:rPr>
              <a:t> </a:t>
            </a:r>
            <a:r>
              <a:rPr sz="800" spc="-4" dirty="0">
                <a:latin typeface="Arial"/>
                <a:cs typeface="Arial"/>
              </a:rPr>
              <a:t>o</a:t>
            </a:r>
            <a:r>
              <a:rPr sz="800" dirty="0">
                <a:latin typeface="Arial"/>
                <a:cs typeface="Arial"/>
              </a:rPr>
              <a:t>f </a:t>
            </a:r>
            <a:r>
              <a:rPr sz="800" spc="-4" dirty="0">
                <a:latin typeface="Arial"/>
                <a:cs typeface="Arial"/>
              </a:rPr>
              <a:t>do</a:t>
            </a:r>
            <a:r>
              <a:rPr sz="800" spc="4" dirty="0">
                <a:latin typeface="Arial"/>
                <a:cs typeface="Arial"/>
              </a:rPr>
              <a:t>c</a:t>
            </a:r>
            <a:r>
              <a:rPr sz="800" spc="-4" dirty="0">
                <a:latin typeface="Arial"/>
                <a:cs typeface="Arial"/>
              </a:rPr>
              <a:t>u</a:t>
            </a:r>
            <a:r>
              <a:rPr sz="800" spc="14" dirty="0">
                <a:latin typeface="Arial"/>
                <a:cs typeface="Arial"/>
              </a:rPr>
              <a:t>m</a:t>
            </a:r>
            <a:r>
              <a:rPr sz="800" spc="-4" dirty="0">
                <a:latin typeface="Arial"/>
                <a:cs typeface="Arial"/>
              </a:rPr>
              <a:t>en</a:t>
            </a:r>
            <a:r>
              <a:rPr sz="800" dirty="0">
                <a:latin typeface="Arial"/>
                <a:cs typeface="Arial"/>
              </a:rPr>
              <a:t>t </a:t>
            </a:r>
            <a:r>
              <a:rPr sz="800" spc="4" dirty="0">
                <a:latin typeface="Arial"/>
                <a:cs typeface="Arial"/>
              </a:rPr>
              <a:t>s</a:t>
            </a:r>
            <a:r>
              <a:rPr sz="800" spc="-4" dirty="0">
                <a:latin typeface="Arial"/>
                <a:cs typeface="Arial"/>
              </a:rPr>
              <a:t>y</a:t>
            </a:r>
            <a:r>
              <a:rPr sz="800" spc="4" dirty="0">
                <a:latin typeface="Arial"/>
                <a:cs typeface="Arial"/>
              </a:rPr>
              <a:t>st</a:t>
            </a:r>
            <a:r>
              <a:rPr sz="800" spc="-4" dirty="0">
                <a:latin typeface="Arial"/>
                <a:cs typeface="Arial"/>
              </a:rPr>
              <a:t>e</a:t>
            </a:r>
            <a:r>
              <a:rPr sz="800" dirty="0">
                <a:latin typeface="Arial"/>
                <a:cs typeface="Arial"/>
              </a:rPr>
              <a:t>m is</a:t>
            </a:r>
            <a:r>
              <a:rPr sz="800" spc="-9" dirty="0">
                <a:latin typeface="Arial"/>
                <a:cs typeface="Arial"/>
              </a:rPr>
              <a:t> </a:t>
            </a:r>
            <a:r>
              <a:rPr sz="800" spc="-4" dirty="0">
                <a:latin typeface="Arial"/>
                <a:cs typeface="Arial"/>
              </a:rPr>
              <a:t>u</a:t>
            </a:r>
            <a:r>
              <a:rPr sz="800" spc="4" dirty="0">
                <a:latin typeface="Arial"/>
                <a:cs typeface="Arial"/>
              </a:rPr>
              <a:t>s</a:t>
            </a:r>
            <a:r>
              <a:rPr sz="800" dirty="0">
                <a:latin typeface="Arial"/>
                <a:cs typeface="Arial"/>
              </a:rPr>
              <a:t>in</a:t>
            </a:r>
            <a:r>
              <a:rPr sz="800" spc="-4" dirty="0">
                <a:latin typeface="Arial"/>
                <a:cs typeface="Arial"/>
              </a:rPr>
              <a:t>g</a:t>
            </a:r>
            <a:r>
              <a:rPr sz="800" dirty="0">
                <a:latin typeface="Arial"/>
                <a:cs typeface="Arial"/>
              </a:rPr>
              <a:t>?</a:t>
            </a:r>
            <a:endParaRPr sz="800">
              <a:latin typeface="Arial"/>
              <a:cs typeface="Arial"/>
            </a:endParaRPr>
          </a:p>
          <a:p>
            <a:pPr marL="2175129" marR="728931" algn="ctr">
              <a:lnSpc>
                <a:spcPct val="100328"/>
              </a:lnSpc>
              <a:spcBef>
                <a:spcPts val="7833"/>
              </a:spcBef>
            </a:pPr>
            <a:r>
              <a:rPr sz="800" spc="4" dirty="0">
                <a:latin typeface="Arial"/>
                <a:cs typeface="Arial"/>
              </a:rPr>
              <a:t>S</a:t>
            </a:r>
            <a:r>
              <a:rPr sz="800" spc="-4" dirty="0">
                <a:latin typeface="Arial"/>
                <a:cs typeface="Arial"/>
              </a:rPr>
              <a:t>y</a:t>
            </a:r>
            <a:r>
              <a:rPr sz="800" spc="4" dirty="0">
                <a:latin typeface="Arial"/>
                <a:cs typeface="Arial"/>
              </a:rPr>
              <a:t>st</a:t>
            </a:r>
            <a:r>
              <a:rPr sz="800" spc="-4" dirty="0">
                <a:latin typeface="Arial"/>
                <a:cs typeface="Arial"/>
              </a:rPr>
              <a:t>e</a:t>
            </a:r>
            <a:r>
              <a:rPr sz="800" dirty="0">
                <a:latin typeface="Arial"/>
                <a:cs typeface="Arial"/>
              </a:rPr>
              <a:t>m</a:t>
            </a:r>
            <a:r>
              <a:rPr sz="800" spc="-14" dirty="0">
                <a:latin typeface="Arial"/>
                <a:cs typeface="Arial"/>
              </a:rPr>
              <a:t> </a:t>
            </a:r>
            <a:r>
              <a:rPr sz="800" spc="-4" dirty="0">
                <a:latin typeface="Arial"/>
                <a:cs typeface="Arial"/>
              </a:rPr>
              <a:t>au</a:t>
            </a:r>
            <a:r>
              <a:rPr sz="800" spc="4" dirty="0">
                <a:latin typeface="Arial"/>
                <a:cs typeface="Arial"/>
              </a:rPr>
              <a:t>t</a:t>
            </a:r>
            <a:r>
              <a:rPr sz="800" spc="-4" dirty="0">
                <a:latin typeface="Arial"/>
                <a:cs typeface="Arial"/>
              </a:rPr>
              <a:t>o</a:t>
            </a:r>
            <a:r>
              <a:rPr sz="800" spc="14" dirty="0">
                <a:latin typeface="Arial"/>
                <a:cs typeface="Arial"/>
              </a:rPr>
              <a:t>m</a:t>
            </a:r>
            <a:r>
              <a:rPr sz="800" spc="-4" dirty="0">
                <a:latin typeface="Arial"/>
                <a:cs typeface="Arial"/>
              </a:rPr>
              <a:t>a</a:t>
            </a:r>
            <a:r>
              <a:rPr sz="800" spc="4" dirty="0">
                <a:latin typeface="Arial"/>
                <a:cs typeface="Arial"/>
              </a:rPr>
              <a:t>t</a:t>
            </a:r>
            <a:r>
              <a:rPr sz="800" dirty="0">
                <a:latin typeface="Arial"/>
                <a:cs typeface="Arial"/>
              </a:rPr>
              <a:t>i</a:t>
            </a:r>
            <a:r>
              <a:rPr sz="800" spc="4" dirty="0">
                <a:latin typeface="Arial"/>
                <a:cs typeface="Arial"/>
              </a:rPr>
              <a:t>c</a:t>
            </a:r>
            <a:r>
              <a:rPr sz="800" spc="-4" dirty="0">
                <a:latin typeface="Arial"/>
                <a:cs typeface="Arial"/>
              </a:rPr>
              <a:t>a</a:t>
            </a:r>
            <a:r>
              <a:rPr sz="800" dirty="0">
                <a:latin typeface="Arial"/>
                <a:cs typeface="Arial"/>
              </a:rPr>
              <a:t>lly </a:t>
            </a:r>
            <a:r>
              <a:rPr sz="800" spc="-4" dirty="0">
                <a:latin typeface="Arial"/>
                <a:cs typeface="Arial"/>
              </a:rPr>
              <a:t>u</a:t>
            </a:r>
            <a:r>
              <a:rPr sz="800" spc="4" dirty="0">
                <a:latin typeface="Arial"/>
                <a:cs typeface="Arial"/>
              </a:rPr>
              <a:t>s</a:t>
            </a:r>
            <a:r>
              <a:rPr sz="800" spc="-4" dirty="0">
                <a:latin typeface="Arial"/>
                <a:cs typeface="Arial"/>
              </a:rPr>
              <a:t>e</a:t>
            </a:r>
            <a:r>
              <a:rPr sz="800" dirty="0">
                <a:latin typeface="Arial"/>
                <a:cs typeface="Arial"/>
              </a:rPr>
              <a:t>s</a:t>
            </a:r>
            <a:r>
              <a:rPr sz="800" spc="-14" dirty="0">
                <a:latin typeface="Arial"/>
                <a:cs typeface="Arial"/>
              </a:rPr>
              <a:t> </a:t>
            </a:r>
            <a:r>
              <a:rPr sz="800" spc="4" dirty="0">
                <a:latin typeface="Arial"/>
                <a:cs typeface="Arial"/>
              </a:rPr>
              <a:t>t</a:t>
            </a:r>
            <a:r>
              <a:rPr sz="800" spc="-4" dirty="0">
                <a:latin typeface="Arial"/>
                <a:cs typeface="Arial"/>
              </a:rPr>
              <a:t>h</a:t>
            </a:r>
            <a:r>
              <a:rPr sz="800" dirty="0">
                <a:latin typeface="Arial"/>
                <a:cs typeface="Arial"/>
              </a:rPr>
              <a:t>is </a:t>
            </a:r>
            <a:r>
              <a:rPr sz="800" spc="-4" dirty="0">
                <a:latin typeface="Arial"/>
                <a:cs typeface="Arial"/>
              </a:rPr>
              <a:t>b</a:t>
            </a:r>
            <a:r>
              <a:rPr sz="800" dirty="0">
                <a:latin typeface="Arial"/>
                <a:cs typeface="Arial"/>
              </a:rPr>
              <a:t>illi</a:t>
            </a:r>
            <a:r>
              <a:rPr sz="800" spc="-4" dirty="0">
                <a:latin typeface="Arial"/>
                <a:cs typeface="Arial"/>
              </a:rPr>
              <a:t>n</a:t>
            </a:r>
            <a:r>
              <a:rPr sz="800" dirty="0">
                <a:latin typeface="Arial"/>
                <a:cs typeface="Arial"/>
              </a:rPr>
              <a:t>g</a:t>
            </a:r>
            <a:r>
              <a:rPr sz="800" spc="4" dirty="0">
                <a:latin typeface="Arial"/>
                <a:cs typeface="Arial"/>
              </a:rPr>
              <a:t> t</a:t>
            </a:r>
            <a:r>
              <a:rPr sz="800" spc="-4" dirty="0">
                <a:latin typeface="Arial"/>
                <a:cs typeface="Arial"/>
              </a:rPr>
              <a:t>yp</a:t>
            </a:r>
            <a:r>
              <a:rPr sz="800" dirty="0">
                <a:latin typeface="Arial"/>
                <a:cs typeface="Arial"/>
              </a:rPr>
              <a:t>e</a:t>
            </a:r>
            <a:endParaRPr sz="800">
              <a:latin typeface="Arial"/>
              <a:cs typeface="Arial"/>
            </a:endParaRPr>
          </a:p>
          <a:p>
            <a:pPr marL="2336419" marR="430714" algn="ctr">
              <a:lnSpc>
                <a:spcPct val="100041"/>
              </a:lnSpc>
              <a:spcBef>
                <a:spcPts val="1195"/>
              </a:spcBef>
            </a:pPr>
            <a:r>
              <a:rPr sz="800" spc="4" dirty="0">
                <a:latin typeface="Arial"/>
                <a:cs typeface="Arial"/>
              </a:rPr>
              <a:t>S</a:t>
            </a:r>
            <a:r>
              <a:rPr sz="800" spc="-4" dirty="0">
                <a:latin typeface="Arial"/>
                <a:cs typeface="Arial"/>
              </a:rPr>
              <a:t>e</a:t>
            </a:r>
            <a:r>
              <a:rPr sz="800" dirty="0">
                <a:latin typeface="Arial"/>
                <a:cs typeface="Arial"/>
              </a:rPr>
              <a:t>le</a:t>
            </a:r>
            <a:r>
              <a:rPr sz="800" spc="4" dirty="0">
                <a:latin typeface="Arial"/>
                <a:cs typeface="Arial"/>
              </a:rPr>
              <a:t>ct</a:t>
            </a:r>
            <a:r>
              <a:rPr sz="800" dirty="0">
                <a:latin typeface="Arial"/>
                <a:cs typeface="Arial"/>
              </a:rPr>
              <a:t>ion</a:t>
            </a:r>
            <a:r>
              <a:rPr sz="800" spc="-9" dirty="0">
                <a:latin typeface="Arial"/>
                <a:cs typeface="Arial"/>
              </a:rPr>
              <a:t> </a:t>
            </a:r>
            <a:r>
              <a:rPr sz="800" spc="-4" dirty="0">
                <a:latin typeface="Arial"/>
                <a:cs typeface="Arial"/>
              </a:rPr>
              <a:t>o</a:t>
            </a:r>
            <a:r>
              <a:rPr sz="800" dirty="0">
                <a:latin typeface="Arial"/>
                <a:cs typeface="Arial"/>
              </a:rPr>
              <a:t>f</a:t>
            </a:r>
            <a:r>
              <a:rPr sz="800" spc="9" dirty="0">
                <a:latin typeface="Arial"/>
                <a:cs typeface="Arial"/>
              </a:rPr>
              <a:t> </a:t>
            </a:r>
            <a:r>
              <a:rPr sz="800" spc="4" dirty="0">
                <a:latin typeface="Arial"/>
                <a:cs typeface="Arial"/>
              </a:rPr>
              <a:t>c</a:t>
            </a:r>
            <a:r>
              <a:rPr sz="800" spc="-4" dirty="0">
                <a:latin typeface="Arial"/>
                <a:cs typeface="Arial"/>
              </a:rPr>
              <a:t>an</a:t>
            </a:r>
            <a:r>
              <a:rPr sz="800" spc="4" dirty="0">
                <a:latin typeface="Arial"/>
                <a:cs typeface="Arial"/>
              </a:rPr>
              <a:t>c</a:t>
            </a:r>
            <a:r>
              <a:rPr sz="800" spc="-4" dirty="0">
                <a:latin typeface="Arial"/>
                <a:cs typeface="Arial"/>
              </a:rPr>
              <a:t>e</a:t>
            </a:r>
            <a:r>
              <a:rPr sz="800" dirty="0">
                <a:latin typeface="Arial"/>
                <a:cs typeface="Arial"/>
              </a:rPr>
              <a:t>ll</a:t>
            </a:r>
            <a:r>
              <a:rPr sz="800" spc="-4" dirty="0">
                <a:latin typeface="Arial"/>
                <a:cs typeface="Arial"/>
              </a:rPr>
              <a:t>a</a:t>
            </a:r>
            <a:r>
              <a:rPr sz="800" spc="4" dirty="0">
                <a:latin typeface="Arial"/>
                <a:cs typeface="Arial"/>
              </a:rPr>
              <a:t>t</a:t>
            </a:r>
            <a:r>
              <a:rPr sz="800" dirty="0">
                <a:latin typeface="Arial"/>
                <a:cs typeface="Arial"/>
              </a:rPr>
              <a:t>ion </a:t>
            </a:r>
            <a:r>
              <a:rPr sz="800" spc="-4" dirty="0">
                <a:latin typeface="Arial"/>
                <a:cs typeface="Arial"/>
              </a:rPr>
              <a:t>b</a:t>
            </a:r>
            <a:r>
              <a:rPr sz="800" dirty="0">
                <a:latin typeface="Arial"/>
                <a:cs typeface="Arial"/>
              </a:rPr>
              <a:t>illi</a:t>
            </a:r>
            <a:r>
              <a:rPr sz="800" spc="-4" dirty="0">
                <a:latin typeface="Arial"/>
                <a:cs typeface="Arial"/>
              </a:rPr>
              <a:t>n</a:t>
            </a:r>
            <a:r>
              <a:rPr sz="800" dirty="0">
                <a:latin typeface="Arial"/>
                <a:cs typeface="Arial"/>
              </a:rPr>
              <a:t>g</a:t>
            </a:r>
            <a:r>
              <a:rPr sz="800" spc="-9" dirty="0">
                <a:latin typeface="Arial"/>
                <a:cs typeface="Arial"/>
              </a:rPr>
              <a:t> </a:t>
            </a:r>
            <a:r>
              <a:rPr sz="800" spc="4" dirty="0">
                <a:latin typeface="Arial"/>
                <a:cs typeface="Arial"/>
              </a:rPr>
              <a:t>t</a:t>
            </a:r>
            <a:r>
              <a:rPr sz="800" spc="-4" dirty="0">
                <a:latin typeface="Arial"/>
                <a:cs typeface="Arial"/>
              </a:rPr>
              <a:t>yp</a:t>
            </a:r>
            <a:r>
              <a:rPr sz="800" dirty="0">
                <a:latin typeface="Arial"/>
                <a:cs typeface="Arial"/>
              </a:rPr>
              <a:t>e</a:t>
            </a:r>
            <a:r>
              <a:rPr sz="800" spc="4" dirty="0">
                <a:latin typeface="Arial"/>
                <a:cs typeface="Arial"/>
              </a:rPr>
              <a:t> </a:t>
            </a:r>
            <a:r>
              <a:rPr sz="800" spc="-14" dirty="0">
                <a:latin typeface="Arial"/>
                <a:cs typeface="Arial"/>
              </a:rPr>
              <a:t>w</a:t>
            </a:r>
            <a:r>
              <a:rPr sz="800" dirty="0">
                <a:latin typeface="Arial"/>
                <a:cs typeface="Arial"/>
              </a:rPr>
              <a:t>ill</a:t>
            </a:r>
            <a:r>
              <a:rPr sz="800" spc="4" dirty="0">
                <a:latin typeface="Arial"/>
                <a:cs typeface="Arial"/>
              </a:rPr>
              <a:t> </a:t>
            </a:r>
            <a:r>
              <a:rPr sz="800" spc="-4" dirty="0">
                <a:latin typeface="Arial"/>
                <a:cs typeface="Arial"/>
              </a:rPr>
              <a:t>depen</a:t>
            </a:r>
            <a:r>
              <a:rPr sz="800" dirty="0">
                <a:latin typeface="Arial"/>
                <a:cs typeface="Arial"/>
              </a:rPr>
              <a:t>d </a:t>
            </a:r>
            <a:r>
              <a:rPr sz="800" spc="-4" dirty="0">
                <a:latin typeface="Arial"/>
                <a:cs typeface="Arial"/>
              </a:rPr>
              <a:t>o</a:t>
            </a:r>
            <a:r>
              <a:rPr sz="800" dirty="0">
                <a:latin typeface="Arial"/>
                <a:cs typeface="Arial"/>
              </a:rPr>
              <a:t>n</a:t>
            </a:r>
            <a:r>
              <a:rPr sz="800" spc="4" dirty="0">
                <a:latin typeface="Arial"/>
                <a:cs typeface="Arial"/>
              </a:rPr>
              <a:t> </a:t>
            </a:r>
            <a:r>
              <a:rPr sz="800" dirty="0">
                <a:latin typeface="Arial"/>
                <a:cs typeface="Arial"/>
              </a:rPr>
              <a:t>‘</a:t>
            </a:r>
            <a:r>
              <a:rPr sz="800" spc="4" dirty="0">
                <a:latin typeface="Arial"/>
                <a:cs typeface="Arial"/>
              </a:rPr>
              <a:t>c</a:t>
            </a:r>
            <a:r>
              <a:rPr sz="800" spc="-4" dirty="0">
                <a:latin typeface="Arial"/>
                <a:cs typeface="Arial"/>
              </a:rPr>
              <a:t>opy</a:t>
            </a:r>
            <a:r>
              <a:rPr sz="800" dirty="0">
                <a:latin typeface="Arial"/>
                <a:cs typeface="Arial"/>
              </a:rPr>
              <a:t>ing </a:t>
            </a:r>
            <a:r>
              <a:rPr sz="800" spc="-4" dirty="0">
                <a:latin typeface="Arial"/>
                <a:cs typeface="Arial"/>
              </a:rPr>
              <a:t>requ</a:t>
            </a:r>
            <a:r>
              <a:rPr sz="800" dirty="0">
                <a:latin typeface="Arial"/>
                <a:cs typeface="Arial"/>
              </a:rPr>
              <a:t>ir</a:t>
            </a:r>
            <a:r>
              <a:rPr sz="800" spc="-4" dirty="0">
                <a:latin typeface="Arial"/>
                <a:cs typeface="Arial"/>
              </a:rPr>
              <a:t>e</a:t>
            </a:r>
            <a:r>
              <a:rPr sz="800" spc="14" dirty="0">
                <a:latin typeface="Arial"/>
                <a:cs typeface="Arial"/>
              </a:rPr>
              <a:t>m</a:t>
            </a:r>
            <a:r>
              <a:rPr sz="800" spc="-4" dirty="0">
                <a:latin typeface="Arial"/>
                <a:cs typeface="Arial"/>
              </a:rPr>
              <a:t>en</a:t>
            </a:r>
            <a:r>
              <a:rPr sz="800" dirty="0">
                <a:latin typeface="Arial"/>
                <a:cs typeface="Arial"/>
              </a:rPr>
              <a:t>t </a:t>
            </a:r>
            <a:r>
              <a:rPr sz="800" spc="-4" dirty="0">
                <a:latin typeface="Arial"/>
                <a:cs typeface="Arial"/>
              </a:rPr>
              <a:t>a</a:t>
            </a:r>
            <a:r>
              <a:rPr sz="800" dirty="0">
                <a:latin typeface="Arial"/>
                <a:cs typeface="Arial"/>
              </a:rPr>
              <a:t>l</a:t>
            </a:r>
            <a:r>
              <a:rPr sz="800" spc="4" dirty="0">
                <a:latin typeface="Arial"/>
                <a:cs typeface="Arial"/>
              </a:rPr>
              <a:t>s</a:t>
            </a:r>
            <a:r>
              <a:rPr sz="800" spc="-4" dirty="0">
                <a:latin typeface="Arial"/>
                <a:cs typeface="Arial"/>
              </a:rPr>
              <a:t>o</a:t>
            </a:r>
            <a:r>
              <a:rPr sz="800" dirty="0">
                <a:latin typeface="Arial"/>
                <a:cs typeface="Arial"/>
              </a:rPr>
              <a:t>’.</a:t>
            </a:r>
            <a:endParaRPr sz="800">
              <a:latin typeface="Arial"/>
              <a:cs typeface="Arial"/>
            </a:endParaRPr>
          </a:p>
        </p:txBody>
      </p:sp>
      <p:sp>
        <p:nvSpPr>
          <p:cNvPr id="2" name="object 2"/>
          <p:cNvSpPr txBox="1"/>
          <p:nvPr/>
        </p:nvSpPr>
        <p:spPr>
          <a:xfrm>
            <a:off x="6172200" y="1219200"/>
            <a:ext cx="3886200" cy="3962400"/>
          </a:xfrm>
          <a:prstGeom prst="rect">
            <a:avLst/>
          </a:prstGeom>
        </p:spPr>
        <p:txBody>
          <a:bodyPr wrap="square" lIns="0" tIns="0" rIns="0" bIns="0" rtlCol="0">
            <a:noAutofit/>
          </a:bodyPr>
          <a:lstStyle/>
          <a:p>
            <a:pPr marL="2075776" marR="1293679" algn="ctr">
              <a:lnSpc>
                <a:spcPct val="95825"/>
              </a:lnSpc>
              <a:spcBef>
                <a:spcPts val="85"/>
              </a:spcBef>
            </a:pPr>
            <a:r>
              <a:rPr sz="800" spc="-4" dirty="0">
                <a:latin typeface="Arial"/>
                <a:cs typeface="Arial"/>
              </a:rPr>
              <a:t>b</a:t>
            </a:r>
            <a:r>
              <a:rPr sz="800" dirty="0">
                <a:latin typeface="Arial"/>
                <a:cs typeface="Arial"/>
              </a:rPr>
              <a:t>e</a:t>
            </a:r>
            <a:r>
              <a:rPr sz="800" spc="4" dirty="0">
                <a:latin typeface="Arial"/>
                <a:cs typeface="Arial"/>
              </a:rPr>
              <a:t> </a:t>
            </a:r>
            <a:r>
              <a:rPr sz="800" spc="-4" dirty="0">
                <a:latin typeface="Arial"/>
                <a:cs typeface="Arial"/>
              </a:rPr>
              <a:t>po</a:t>
            </a:r>
            <a:r>
              <a:rPr sz="800" spc="4" dirty="0">
                <a:latin typeface="Arial"/>
                <a:cs typeface="Arial"/>
              </a:rPr>
              <a:t>st</a:t>
            </a:r>
            <a:r>
              <a:rPr sz="800" spc="-4" dirty="0">
                <a:latin typeface="Arial"/>
                <a:cs typeface="Arial"/>
              </a:rPr>
              <a:t>ed</a:t>
            </a:r>
            <a:r>
              <a:rPr sz="800" dirty="0">
                <a:latin typeface="Arial"/>
                <a:cs typeface="Arial"/>
              </a:rPr>
              <a:t>.</a:t>
            </a:r>
            <a:endParaRPr sz="800">
              <a:latin typeface="Arial"/>
              <a:cs typeface="Arial"/>
            </a:endParaRPr>
          </a:p>
          <a:p>
            <a:pPr marL="2547316" marR="487534" indent="150" algn="ctr">
              <a:lnSpc>
                <a:spcPct val="100041"/>
              </a:lnSpc>
              <a:spcBef>
                <a:spcPts val="4962"/>
              </a:spcBef>
            </a:pPr>
            <a:r>
              <a:rPr sz="800" spc="-4" dirty="0">
                <a:latin typeface="Arial"/>
                <a:cs typeface="Arial"/>
              </a:rPr>
              <a:t>U</a:t>
            </a:r>
            <a:r>
              <a:rPr sz="800" spc="4" dirty="0">
                <a:latin typeface="Arial"/>
                <a:cs typeface="Arial"/>
              </a:rPr>
              <a:t>s</a:t>
            </a:r>
            <a:r>
              <a:rPr sz="800" spc="-4" dirty="0">
                <a:latin typeface="Arial"/>
                <a:cs typeface="Arial"/>
              </a:rPr>
              <a:t>e</a:t>
            </a:r>
            <a:r>
              <a:rPr sz="800" dirty="0">
                <a:latin typeface="Arial"/>
                <a:cs typeface="Arial"/>
              </a:rPr>
              <a:t>d</a:t>
            </a:r>
            <a:r>
              <a:rPr sz="800" spc="-9" dirty="0">
                <a:latin typeface="Arial"/>
                <a:cs typeface="Arial"/>
              </a:rPr>
              <a:t> </a:t>
            </a:r>
            <a:r>
              <a:rPr sz="800" spc="4" dirty="0">
                <a:latin typeface="Arial"/>
                <a:cs typeface="Arial"/>
              </a:rPr>
              <a:t>f</a:t>
            </a:r>
            <a:r>
              <a:rPr sz="800" spc="-4" dirty="0">
                <a:latin typeface="Arial"/>
                <a:cs typeface="Arial"/>
              </a:rPr>
              <a:t>o</a:t>
            </a:r>
            <a:r>
              <a:rPr sz="800" dirty="0">
                <a:latin typeface="Arial"/>
                <a:cs typeface="Arial"/>
              </a:rPr>
              <a:t>r </a:t>
            </a:r>
            <a:r>
              <a:rPr sz="800" spc="-4" dirty="0">
                <a:latin typeface="Arial"/>
                <a:cs typeface="Arial"/>
              </a:rPr>
              <a:t>pr</a:t>
            </a:r>
            <a:r>
              <a:rPr sz="800" dirty="0">
                <a:latin typeface="Arial"/>
                <a:cs typeface="Arial"/>
              </a:rPr>
              <a:t>i</a:t>
            </a:r>
            <a:r>
              <a:rPr sz="800" spc="4" dirty="0">
                <a:latin typeface="Arial"/>
                <a:cs typeface="Arial"/>
              </a:rPr>
              <a:t>c</a:t>
            </a:r>
            <a:r>
              <a:rPr sz="800" dirty="0">
                <a:latin typeface="Arial"/>
                <a:cs typeface="Arial"/>
              </a:rPr>
              <a:t>ing </a:t>
            </a:r>
            <a:r>
              <a:rPr sz="800" spc="-4" dirty="0">
                <a:latin typeface="Arial"/>
                <a:cs typeface="Arial"/>
              </a:rPr>
              <a:t>de</a:t>
            </a:r>
            <a:r>
              <a:rPr sz="800" spc="4" dirty="0">
                <a:latin typeface="Arial"/>
                <a:cs typeface="Arial"/>
              </a:rPr>
              <a:t>t</a:t>
            </a:r>
            <a:r>
              <a:rPr sz="800" spc="-4" dirty="0">
                <a:latin typeface="Arial"/>
                <a:cs typeface="Arial"/>
              </a:rPr>
              <a:t>er</a:t>
            </a:r>
            <a:r>
              <a:rPr sz="800" spc="14" dirty="0">
                <a:latin typeface="Arial"/>
                <a:cs typeface="Arial"/>
              </a:rPr>
              <a:t>m</a:t>
            </a:r>
            <a:r>
              <a:rPr sz="800" dirty="0">
                <a:latin typeface="Arial"/>
                <a:cs typeface="Arial"/>
              </a:rPr>
              <a:t>in</a:t>
            </a:r>
            <a:r>
              <a:rPr sz="800" spc="-4" dirty="0">
                <a:latin typeface="Arial"/>
                <a:cs typeface="Arial"/>
              </a:rPr>
              <a:t>a</a:t>
            </a:r>
            <a:r>
              <a:rPr sz="800" spc="4" dirty="0">
                <a:latin typeface="Arial"/>
                <a:cs typeface="Arial"/>
              </a:rPr>
              <a:t>t</a:t>
            </a:r>
            <a:r>
              <a:rPr sz="800" dirty="0">
                <a:latin typeface="Arial"/>
                <a:cs typeface="Arial"/>
              </a:rPr>
              <a:t>ion</a:t>
            </a:r>
            <a:r>
              <a:rPr sz="800" spc="-9" dirty="0">
                <a:latin typeface="Arial"/>
                <a:cs typeface="Arial"/>
              </a:rPr>
              <a:t> </a:t>
            </a:r>
            <a:r>
              <a:rPr sz="800" spc="-14" dirty="0">
                <a:latin typeface="Arial"/>
                <a:cs typeface="Arial"/>
              </a:rPr>
              <a:t>w</a:t>
            </a:r>
            <a:r>
              <a:rPr sz="800" dirty="0">
                <a:latin typeface="Arial"/>
                <a:cs typeface="Arial"/>
              </a:rPr>
              <a:t>i</a:t>
            </a:r>
            <a:r>
              <a:rPr sz="800" spc="4" dirty="0">
                <a:latin typeface="Arial"/>
                <a:cs typeface="Arial"/>
              </a:rPr>
              <a:t>t</a:t>
            </a:r>
            <a:r>
              <a:rPr sz="800" dirty="0">
                <a:latin typeface="Arial"/>
                <a:cs typeface="Arial"/>
              </a:rPr>
              <a:t>h </a:t>
            </a:r>
            <a:r>
              <a:rPr sz="800" spc="4" dirty="0">
                <a:latin typeface="Arial"/>
                <a:cs typeface="Arial"/>
              </a:rPr>
              <a:t>s</a:t>
            </a:r>
            <a:r>
              <a:rPr sz="800" spc="-4" dirty="0">
                <a:latin typeface="Arial"/>
                <a:cs typeface="Arial"/>
              </a:rPr>
              <a:t>a</a:t>
            </a:r>
            <a:r>
              <a:rPr sz="800" dirty="0">
                <a:latin typeface="Arial"/>
                <a:cs typeface="Arial"/>
              </a:rPr>
              <a:t>les</a:t>
            </a:r>
            <a:r>
              <a:rPr sz="800" spc="-14" dirty="0">
                <a:latin typeface="Arial"/>
                <a:cs typeface="Arial"/>
              </a:rPr>
              <a:t> </a:t>
            </a:r>
            <a:r>
              <a:rPr sz="800" spc="-4" dirty="0">
                <a:latin typeface="Arial"/>
                <a:cs typeface="Arial"/>
              </a:rPr>
              <a:t>area</a:t>
            </a:r>
            <a:r>
              <a:rPr sz="800" dirty="0">
                <a:latin typeface="Arial"/>
                <a:cs typeface="Arial"/>
              </a:rPr>
              <a:t>.</a:t>
            </a:r>
            <a:endParaRPr sz="800">
              <a:latin typeface="Arial"/>
              <a:cs typeface="Arial"/>
            </a:endParaRPr>
          </a:p>
          <a:p>
            <a:pPr marL="2787523" marR="576636" indent="1571" algn="ctr">
              <a:lnSpc>
                <a:spcPct val="100041"/>
              </a:lnSpc>
              <a:spcBef>
                <a:spcPts val="9122"/>
              </a:spcBef>
            </a:pPr>
            <a:r>
              <a:rPr sz="800" spc="-4" dirty="0">
                <a:latin typeface="Arial"/>
                <a:cs typeface="Arial"/>
              </a:rPr>
              <a:t>U</a:t>
            </a:r>
            <a:r>
              <a:rPr sz="800" spc="4" dirty="0">
                <a:latin typeface="Arial"/>
                <a:cs typeface="Arial"/>
              </a:rPr>
              <a:t>s</a:t>
            </a:r>
            <a:r>
              <a:rPr sz="800" spc="-4" dirty="0">
                <a:latin typeface="Arial"/>
                <a:cs typeface="Arial"/>
              </a:rPr>
              <a:t>e</a:t>
            </a:r>
            <a:r>
              <a:rPr sz="800" dirty="0">
                <a:latin typeface="Arial"/>
                <a:cs typeface="Arial"/>
              </a:rPr>
              <a:t>d</a:t>
            </a:r>
            <a:r>
              <a:rPr sz="800" spc="-9" dirty="0">
                <a:latin typeface="Arial"/>
                <a:cs typeface="Arial"/>
              </a:rPr>
              <a:t> </a:t>
            </a:r>
            <a:r>
              <a:rPr sz="800" spc="4" dirty="0">
                <a:latin typeface="Arial"/>
                <a:cs typeface="Arial"/>
              </a:rPr>
              <a:t>t</a:t>
            </a:r>
            <a:r>
              <a:rPr sz="800" dirty="0">
                <a:latin typeface="Arial"/>
                <a:cs typeface="Arial"/>
              </a:rPr>
              <a:t>o </a:t>
            </a:r>
            <a:r>
              <a:rPr sz="800" spc="-4" dirty="0">
                <a:latin typeface="Arial"/>
                <a:cs typeface="Arial"/>
              </a:rPr>
              <a:t>de</a:t>
            </a:r>
            <a:r>
              <a:rPr sz="800" spc="4" dirty="0">
                <a:latin typeface="Arial"/>
                <a:cs typeface="Arial"/>
              </a:rPr>
              <a:t>t</a:t>
            </a:r>
            <a:r>
              <a:rPr sz="800" spc="-4" dirty="0">
                <a:latin typeface="Arial"/>
                <a:cs typeface="Arial"/>
              </a:rPr>
              <a:t>er</a:t>
            </a:r>
            <a:r>
              <a:rPr sz="800" spc="14" dirty="0">
                <a:latin typeface="Arial"/>
                <a:cs typeface="Arial"/>
              </a:rPr>
              <a:t>m</a:t>
            </a:r>
            <a:r>
              <a:rPr sz="800" dirty="0">
                <a:latin typeface="Arial"/>
                <a:cs typeface="Arial"/>
              </a:rPr>
              <a:t>ine </a:t>
            </a:r>
            <a:r>
              <a:rPr sz="800" spc="-4" dirty="0">
                <a:latin typeface="Arial"/>
                <a:cs typeface="Arial"/>
              </a:rPr>
              <a:t>ou</a:t>
            </a:r>
            <a:r>
              <a:rPr sz="800" spc="4" dirty="0">
                <a:latin typeface="Arial"/>
                <a:cs typeface="Arial"/>
              </a:rPr>
              <a:t>t</a:t>
            </a:r>
            <a:r>
              <a:rPr sz="800" spc="-4" dirty="0">
                <a:latin typeface="Arial"/>
                <a:cs typeface="Arial"/>
              </a:rPr>
              <a:t>pu</a:t>
            </a:r>
            <a:r>
              <a:rPr sz="800" dirty="0">
                <a:latin typeface="Arial"/>
                <a:cs typeface="Arial"/>
              </a:rPr>
              <a:t>t</a:t>
            </a:r>
            <a:r>
              <a:rPr sz="800" spc="9" dirty="0">
                <a:latin typeface="Arial"/>
                <a:cs typeface="Arial"/>
              </a:rPr>
              <a:t> </a:t>
            </a:r>
            <a:r>
              <a:rPr sz="800" spc="4" dirty="0">
                <a:latin typeface="Arial"/>
                <a:cs typeface="Arial"/>
              </a:rPr>
              <a:t>t</a:t>
            </a:r>
            <a:r>
              <a:rPr sz="800" spc="-4" dirty="0">
                <a:latin typeface="Arial"/>
                <a:cs typeface="Arial"/>
              </a:rPr>
              <a:t>yp</a:t>
            </a:r>
            <a:r>
              <a:rPr sz="800" dirty="0">
                <a:latin typeface="Arial"/>
                <a:cs typeface="Arial"/>
              </a:rPr>
              <a:t>e</a:t>
            </a:r>
            <a:endParaRPr sz="800">
              <a:latin typeface="Arial"/>
              <a:cs typeface="Arial"/>
            </a:endParaRPr>
          </a:p>
        </p:txBody>
      </p:sp>
      <p:sp>
        <p:nvSpPr>
          <p:cNvPr id="4" name="Title 3"/>
          <p:cNvSpPr>
            <a:spLocks noGrp="1"/>
          </p:cNvSpPr>
          <p:nvPr>
            <p:ph type="title"/>
          </p:nvPr>
        </p:nvSpPr>
        <p:spPr/>
        <p:txBody>
          <a:bodyPr/>
          <a:lstStyle/>
          <a:p>
            <a:r>
              <a:rPr lang="en-US" sz="2400" dirty="0">
                <a:latin typeface="+mn-lt"/>
                <a:cs typeface="Arial"/>
              </a:rPr>
              <a:t>Billing Type-Controls</a:t>
            </a:r>
            <a:br>
              <a:rPr lang="en-US" sz="2800" dirty="0">
                <a:latin typeface="Arial"/>
                <a:cs typeface="Arial"/>
              </a:rPr>
            </a:b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2133600" y="2286001"/>
            <a:ext cx="3200400" cy="2847975"/>
          </a:xfrm>
          <a:prstGeom prst="rect">
            <a:avLst/>
          </a:prstGeom>
          <a:blipFill>
            <a:blip r:embed="rId2" cstate="print"/>
            <a:stretch>
              <a:fillRect/>
            </a:stretch>
          </a:blipFill>
        </p:spPr>
        <p:txBody>
          <a:bodyPr wrap="square" lIns="0" tIns="0" rIns="0" bIns="0" rtlCol="0">
            <a:noAutofit/>
          </a:bodyPr>
          <a:lstStyle/>
          <a:p>
            <a:endParaRPr/>
          </a:p>
        </p:txBody>
      </p:sp>
      <p:sp>
        <p:nvSpPr>
          <p:cNvPr id="20" name="object 20"/>
          <p:cNvSpPr/>
          <p:nvPr/>
        </p:nvSpPr>
        <p:spPr>
          <a:xfrm>
            <a:off x="2119313" y="2271649"/>
            <a:ext cx="3228975" cy="2876550"/>
          </a:xfrm>
          <a:custGeom>
            <a:avLst/>
            <a:gdLst/>
            <a:ahLst/>
            <a:cxnLst/>
            <a:rect l="l" t="t" r="r" b="b"/>
            <a:pathLst>
              <a:path w="3228975" h="2876550">
                <a:moveTo>
                  <a:pt x="0" y="2876550"/>
                </a:moveTo>
                <a:lnTo>
                  <a:pt x="3228975" y="2876550"/>
                </a:lnTo>
                <a:lnTo>
                  <a:pt x="3228975" y="0"/>
                </a:lnTo>
                <a:lnTo>
                  <a:pt x="0" y="0"/>
                </a:lnTo>
                <a:lnTo>
                  <a:pt x="0" y="2876550"/>
                </a:lnTo>
                <a:close/>
              </a:path>
            </a:pathLst>
          </a:custGeom>
          <a:ln w="28575">
            <a:solidFill>
              <a:srgbClr val="000000"/>
            </a:solidFill>
          </a:ln>
        </p:spPr>
        <p:txBody>
          <a:bodyPr wrap="square" lIns="0" tIns="0" rIns="0" bIns="0" rtlCol="0">
            <a:noAutofit/>
          </a:bodyPr>
          <a:lstStyle/>
          <a:p>
            <a:endParaRPr/>
          </a:p>
        </p:txBody>
      </p:sp>
      <p:sp>
        <p:nvSpPr>
          <p:cNvPr id="17" name="object 17"/>
          <p:cNvSpPr/>
          <p:nvPr/>
        </p:nvSpPr>
        <p:spPr>
          <a:xfrm>
            <a:off x="6400800" y="2286000"/>
            <a:ext cx="3200400" cy="2819400"/>
          </a:xfrm>
          <a:prstGeom prst="rect">
            <a:avLst/>
          </a:prstGeom>
          <a:blipFill>
            <a:blip r:embed="rId3" cstate="print"/>
            <a:stretch>
              <a:fillRect/>
            </a:stretch>
          </a:blipFill>
        </p:spPr>
        <p:txBody>
          <a:bodyPr wrap="square" lIns="0" tIns="0" rIns="0" bIns="0" rtlCol="0">
            <a:noAutofit/>
          </a:bodyPr>
          <a:lstStyle/>
          <a:p>
            <a:endParaRPr/>
          </a:p>
        </p:txBody>
      </p:sp>
      <p:sp>
        <p:nvSpPr>
          <p:cNvPr id="18" name="object 18"/>
          <p:cNvSpPr/>
          <p:nvPr/>
        </p:nvSpPr>
        <p:spPr>
          <a:xfrm>
            <a:off x="6386450" y="2271650"/>
            <a:ext cx="3228975" cy="2847975"/>
          </a:xfrm>
          <a:custGeom>
            <a:avLst/>
            <a:gdLst/>
            <a:ahLst/>
            <a:cxnLst/>
            <a:rect l="l" t="t" r="r" b="b"/>
            <a:pathLst>
              <a:path w="3228975" h="2847975">
                <a:moveTo>
                  <a:pt x="0" y="2847975"/>
                </a:moveTo>
                <a:lnTo>
                  <a:pt x="3228975" y="2847975"/>
                </a:lnTo>
                <a:lnTo>
                  <a:pt x="3228975" y="0"/>
                </a:lnTo>
                <a:lnTo>
                  <a:pt x="0" y="0"/>
                </a:lnTo>
                <a:lnTo>
                  <a:pt x="0" y="2847975"/>
                </a:lnTo>
                <a:close/>
              </a:path>
            </a:pathLst>
          </a:custGeom>
          <a:ln w="28575">
            <a:solidFill>
              <a:srgbClr val="000000"/>
            </a:solidFill>
          </a:ln>
        </p:spPr>
        <p:txBody>
          <a:bodyPr wrap="square" lIns="0" tIns="0" rIns="0" bIns="0" rtlCol="0">
            <a:noAutofit/>
          </a:bodyPr>
          <a:lstStyle/>
          <a:p>
            <a:endParaRPr/>
          </a:p>
        </p:txBody>
      </p:sp>
      <p:sp>
        <p:nvSpPr>
          <p:cNvPr id="14" name="object 14"/>
          <p:cNvSpPr txBox="1"/>
          <p:nvPr/>
        </p:nvSpPr>
        <p:spPr>
          <a:xfrm>
            <a:off x="1907540" y="1293130"/>
            <a:ext cx="6779260" cy="320576"/>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sz="1600" dirty="0">
                <a:cs typeface="Arial"/>
              </a:rPr>
              <a:t>A</a:t>
            </a:r>
            <a:r>
              <a:rPr sz="1600" spc="-125" dirty="0">
                <a:cs typeface="Arial"/>
              </a:rPr>
              <a:t> </a:t>
            </a:r>
            <a:r>
              <a:rPr sz="1600" dirty="0">
                <a:cs typeface="Arial"/>
              </a:rPr>
              <a:t>factor</a:t>
            </a:r>
            <a:r>
              <a:rPr sz="1600" spc="-24" dirty="0">
                <a:cs typeface="Arial"/>
              </a:rPr>
              <a:t> </a:t>
            </a:r>
            <a:r>
              <a:rPr sz="1600" dirty="0">
                <a:cs typeface="Arial"/>
              </a:rPr>
              <a:t>that</a:t>
            </a:r>
            <a:r>
              <a:rPr sz="1600" spc="-34" dirty="0">
                <a:cs typeface="Arial"/>
              </a:rPr>
              <a:t> </a:t>
            </a:r>
            <a:r>
              <a:rPr sz="1600" dirty="0">
                <a:cs typeface="Arial"/>
              </a:rPr>
              <a:t>blo</a:t>
            </a:r>
            <a:r>
              <a:rPr sz="1600" spc="4" dirty="0">
                <a:cs typeface="Arial"/>
              </a:rPr>
              <a:t>c</a:t>
            </a:r>
            <a:r>
              <a:rPr sz="1600" dirty="0">
                <a:cs typeface="Arial"/>
              </a:rPr>
              <a:t>ks</a:t>
            </a:r>
            <a:r>
              <a:rPr sz="1600" spc="-14" dirty="0">
                <a:cs typeface="Arial"/>
              </a:rPr>
              <a:t> </a:t>
            </a:r>
            <a:r>
              <a:rPr sz="1600" dirty="0">
                <a:cs typeface="Arial"/>
              </a:rPr>
              <a:t>do</a:t>
            </a:r>
            <a:r>
              <a:rPr sz="1600" spc="9" dirty="0">
                <a:cs typeface="Arial"/>
              </a:rPr>
              <a:t>c</a:t>
            </a:r>
            <a:r>
              <a:rPr sz="1600" dirty="0">
                <a:cs typeface="Arial"/>
              </a:rPr>
              <a:t>ument</a:t>
            </a:r>
            <a:r>
              <a:rPr lang="en-US" sz="1600" dirty="0">
                <a:cs typeface="Arial"/>
              </a:rPr>
              <a:t> p</a:t>
            </a:r>
            <a:r>
              <a:rPr lang="en-US" sz="1600" spc="4" dirty="0">
                <a:cs typeface="Arial"/>
              </a:rPr>
              <a:t>r</a:t>
            </a:r>
            <a:r>
              <a:rPr lang="en-US" sz="1600" dirty="0">
                <a:cs typeface="Arial"/>
              </a:rPr>
              <a:t>o</a:t>
            </a:r>
            <a:r>
              <a:rPr lang="en-US" sz="1600" spc="4" dirty="0">
                <a:cs typeface="Arial"/>
              </a:rPr>
              <a:t>c</a:t>
            </a:r>
            <a:r>
              <a:rPr lang="en-US" sz="1600" dirty="0">
                <a:cs typeface="Arial"/>
              </a:rPr>
              <a:t>e</a:t>
            </a:r>
            <a:r>
              <a:rPr lang="en-US" sz="1600" spc="4" dirty="0">
                <a:cs typeface="Arial"/>
              </a:rPr>
              <a:t>s</a:t>
            </a:r>
            <a:r>
              <a:rPr lang="en-US" sz="1600" dirty="0">
                <a:cs typeface="Arial"/>
              </a:rPr>
              <a:t>si</a:t>
            </a:r>
            <a:r>
              <a:rPr lang="en-US" sz="1600" spc="4" dirty="0">
                <a:cs typeface="Arial"/>
              </a:rPr>
              <a:t>n</a:t>
            </a:r>
            <a:r>
              <a:rPr lang="en-US" sz="1600" dirty="0">
                <a:cs typeface="Arial"/>
              </a:rPr>
              <a:t>g</a:t>
            </a:r>
            <a:r>
              <a:rPr lang="en-US" sz="1600" spc="-49" dirty="0">
                <a:cs typeface="Arial"/>
              </a:rPr>
              <a:t> </a:t>
            </a:r>
            <a:r>
              <a:rPr lang="en-US" sz="1600" dirty="0">
                <a:cs typeface="Arial"/>
              </a:rPr>
              <a:t>of do</a:t>
            </a:r>
            <a:r>
              <a:rPr lang="en-US" sz="1600" spc="9" dirty="0">
                <a:cs typeface="Arial"/>
              </a:rPr>
              <a:t>c</a:t>
            </a:r>
            <a:r>
              <a:rPr lang="en-US" sz="1600" dirty="0">
                <a:cs typeface="Arial"/>
              </a:rPr>
              <a:t>uments</a:t>
            </a:r>
            <a:r>
              <a:rPr lang="en-US" sz="2000" dirty="0">
                <a:latin typeface="Arial"/>
                <a:cs typeface="Arial"/>
              </a:rPr>
              <a:t>.</a:t>
            </a:r>
          </a:p>
          <a:p>
            <a:pPr marL="12700">
              <a:lnSpc>
                <a:spcPts val="2150"/>
              </a:lnSpc>
              <a:spcBef>
                <a:spcPts val="107"/>
              </a:spcBef>
            </a:pPr>
            <a:endParaRPr sz="2000" dirty="0">
              <a:latin typeface="Arial"/>
              <a:cs typeface="Arial"/>
            </a:endParaRPr>
          </a:p>
        </p:txBody>
      </p:sp>
      <p:sp>
        <p:nvSpPr>
          <p:cNvPr id="12" name="object 12"/>
          <p:cNvSpPr txBox="1"/>
          <p:nvPr/>
        </p:nvSpPr>
        <p:spPr>
          <a:xfrm>
            <a:off x="2440940" y="1899340"/>
            <a:ext cx="1618284"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D</a:t>
            </a:r>
            <a:r>
              <a:rPr spc="-4" dirty="0">
                <a:latin typeface="Arial"/>
                <a:cs typeface="Arial"/>
              </a:rPr>
              <a:t>e</a:t>
            </a:r>
            <a:r>
              <a:rPr dirty="0">
                <a:latin typeface="Arial"/>
                <a:cs typeface="Arial"/>
              </a:rPr>
              <a:t>fine</a:t>
            </a:r>
            <a:r>
              <a:rPr spc="-4" dirty="0">
                <a:latin typeface="Arial"/>
                <a:cs typeface="Arial"/>
              </a:rPr>
              <a:t> </a:t>
            </a:r>
            <a:r>
              <a:rPr dirty="0">
                <a:latin typeface="Arial"/>
                <a:cs typeface="Arial"/>
              </a:rPr>
              <a:t>bl</a:t>
            </a:r>
            <a:r>
              <a:rPr spc="-9" dirty="0">
                <a:latin typeface="Arial"/>
                <a:cs typeface="Arial"/>
              </a:rPr>
              <a:t>o</a:t>
            </a:r>
            <a:r>
              <a:rPr dirty="0">
                <a:latin typeface="Arial"/>
                <a:cs typeface="Arial"/>
              </a:rPr>
              <a:t>cki</a:t>
            </a:r>
            <a:r>
              <a:rPr spc="-9" dirty="0">
                <a:latin typeface="Arial"/>
                <a:cs typeface="Arial"/>
              </a:rPr>
              <a:t>n</a:t>
            </a:r>
            <a:r>
              <a:rPr dirty="0">
                <a:latin typeface="Arial"/>
                <a:cs typeface="Arial"/>
              </a:rPr>
              <a:t>g</a:t>
            </a:r>
          </a:p>
        </p:txBody>
      </p:sp>
      <p:sp>
        <p:nvSpPr>
          <p:cNvPr id="11" name="object 11"/>
          <p:cNvSpPr txBox="1"/>
          <p:nvPr/>
        </p:nvSpPr>
        <p:spPr>
          <a:xfrm>
            <a:off x="4065829" y="1899340"/>
            <a:ext cx="757377"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re</a:t>
            </a:r>
            <a:r>
              <a:rPr spc="-9" dirty="0">
                <a:latin typeface="Arial"/>
                <a:cs typeface="Arial"/>
              </a:rPr>
              <a:t>a</a:t>
            </a:r>
            <a:r>
              <a:rPr dirty="0">
                <a:latin typeface="Arial"/>
                <a:cs typeface="Arial"/>
              </a:rPr>
              <a:t>son</a:t>
            </a:r>
            <a:endParaRPr>
              <a:latin typeface="Arial"/>
              <a:cs typeface="Arial"/>
            </a:endParaRPr>
          </a:p>
        </p:txBody>
      </p:sp>
      <p:sp>
        <p:nvSpPr>
          <p:cNvPr id="10" name="object 10"/>
          <p:cNvSpPr txBox="1"/>
          <p:nvPr/>
        </p:nvSpPr>
        <p:spPr>
          <a:xfrm>
            <a:off x="5946776" y="1913691"/>
            <a:ext cx="744575"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Assi</a:t>
            </a:r>
            <a:r>
              <a:rPr spc="-9" dirty="0">
                <a:latin typeface="Arial"/>
                <a:cs typeface="Arial"/>
              </a:rPr>
              <a:t>g</a:t>
            </a:r>
            <a:r>
              <a:rPr dirty="0">
                <a:latin typeface="Arial"/>
                <a:cs typeface="Arial"/>
              </a:rPr>
              <a:t>n</a:t>
            </a:r>
            <a:endParaRPr>
              <a:latin typeface="Arial"/>
              <a:cs typeface="Arial"/>
            </a:endParaRPr>
          </a:p>
        </p:txBody>
      </p:sp>
      <p:sp>
        <p:nvSpPr>
          <p:cNvPr id="9" name="object 9"/>
          <p:cNvSpPr txBox="1"/>
          <p:nvPr/>
        </p:nvSpPr>
        <p:spPr>
          <a:xfrm>
            <a:off x="6695212" y="1913691"/>
            <a:ext cx="895223" cy="254000"/>
          </a:xfrm>
          <a:prstGeom prst="rect">
            <a:avLst/>
          </a:prstGeom>
        </p:spPr>
        <p:txBody>
          <a:bodyPr wrap="square" lIns="0" tIns="0" rIns="0" bIns="0" rtlCol="0">
            <a:noAutofit/>
          </a:bodyPr>
          <a:lstStyle/>
          <a:p>
            <a:pPr marL="12700">
              <a:lnSpc>
                <a:spcPts val="1939"/>
              </a:lnSpc>
              <a:spcBef>
                <a:spcPts val="97"/>
              </a:spcBef>
            </a:pPr>
            <a:r>
              <a:rPr spc="-4" dirty="0">
                <a:latin typeface="Arial"/>
                <a:cs typeface="Arial"/>
              </a:rPr>
              <a:t>b</a:t>
            </a:r>
            <a:r>
              <a:rPr dirty="0">
                <a:latin typeface="Arial"/>
                <a:cs typeface="Arial"/>
              </a:rPr>
              <a:t>l</a:t>
            </a:r>
            <a:r>
              <a:rPr spc="-9" dirty="0">
                <a:latin typeface="Arial"/>
                <a:cs typeface="Arial"/>
              </a:rPr>
              <a:t>o</a:t>
            </a:r>
            <a:r>
              <a:rPr dirty="0">
                <a:latin typeface="Arial"/>
                <a:cs typeface="Arial"/>
              </a:rPr>
              <a:t>cki</a:t>
            </a:r>
            <a:r>
              <a:rPr spc="-9" dirty="0">
                <a:latin typeface="Arial"/>
                <a:cs typeface="Arial"/>
              </a:rPr>
              <a:t>n</a:t>
            </a:r>
            <a:r>
              <a:rPr dirty="0">
                <a:latin typeface="Arial"/>
                <a:cs typeface="Arial"/>
              </a:rPr>
              <a:t>g</a:t>
            </a:r>
          </a:p>
        </p:txBody>
      </p:sp>
      <p:sp>
        <p:nvSpPr>
          <p:cNvPr id="8" name="object 8"/>
          <p:cNvSpPr txBox="1"/>
          <p:nvPr/>
        </p:nvSpPr>
        <p:spPr>
          <a:xfrm>
            <a:off x="7595438" y="1913691"/>
            <a:ext cx="870534"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re</a:t>
            </a:r>
            <a:r>
              <a:rPr spc="-9" dirty="0">
                <a:latin typeface="Arial"/>
                <a:cs typeface="Arial"/>
              </a:rPr>
              <a:t>a</a:t>
            </a:r>
            <a:r>
              <a:rPr dirty="0">
                <a:latin typeface="Arial"/>
                <a:cs typeface="Arial"/>
              </a:rPr>
              <a:t>so</a:t>
            </a:r>
            <a:r>
              <a:rPr spc="-9" dirty="0">
                <a:latin typeface="Arial"/>
                <a:cs typeface="Arial"/>
              </a:rPr>
              <a:t>n</a:t>
            </a:r>
            <a:r>
              <a:rPr dirty="0">
                <a:latin typeface="Arial"/>
                <a:cs typeface="Arial"/>
              </a:rPr>
              <a:t>s</a:t>
            </a:r>
            <a:endParaRPr>
              <a:latin typeface="Arial"/>
              <a:cs typeface="Arial"/>
            </a:endParaRPr>
          </a:p>
        </p:txBody>
      </p:sp>
      <p:sp>
        <p:nvSpPr>
          <p:cNvPr id="7" name="object 7"/>
          <p:cNvSpPr txBox="1"/>
          <p:nvPr/>
        </p:nvSpPr>
        <p:spPr>
          <a:xfrm>
            <a:off x="8471662" y="1913691"/>
            <a:ext cx="326466"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for</a:t>
            </a:r>
            <a:endParaRPr>
              <a:latin typeface="Arial"/>
              <a:cs typeface="Arial"/>
            </a:endParaRPr>
          </a:p>
        </p:txBody>
      </p:sp>
      <p:sp>
        <p:nvSpPr>
          <p:cNvPr id="6" name="object 6"/>
          <p:cNvSpPr txBox="1"/>
          <p:nvPr/>
        </p:nvSpPr>
        <p:spPr>
          <a:xfrm>
            <a:off x="8801990" y="1913691"/>
            <a:ext cx="1337335"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Bil</a:t>
            </a:r>
            <a:r>
              <a:rPr spc="-9"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9" dirty="0">
                <a:latin typeface="Arial"/>
                <a:cs typeface="Arial"/>
              </a:rPr>
              <a:t> </a:t>
            </a:r>
            <a:r>
              <a:rPr spc="-79" dirty="0">
                <a:latin typeface="Arial"/>
                <a:cs typeface="Arial"/>
              </a:rPr>
              <a:t>T</a:t>
            </a:r>
            <a:r>
              <a:rPr spc="-25" dirty="0">
                <a:latin typeface="Arial"/>
                <a:cs typeface="Arial"/>
              </a:rPr>
              <a:t>y</a:t>
            </a:r>
            <a:r>
              <a:rPr dirty="0">
                <a:latin typeface="Arial"/>
                <a:cs typeface="Arial"/>
              </a:rPr>
              <a:t>p</a:t>
            </a:r>
            <a:r>
              <a:rPr spc="-9" dirty="0">
                <a:latin typeface="Arial"/>
                <a:cs typeface="Arial"/>
              </a:rPr>
              <a:t>e</a:t>
            </a:r>
            <a:r>
              <a:rPr dirty="0">
                <a:latin typeface="Arial"/>
                <a:cs typeface="Arial"/>
              </a:rPr>
              <a:t>s</a:t>
            </a:r>
            <a:endParaRPr>
              <a:latin typeface="Arial"/>
              <a:cs typeface="Arial"/>
            </a:endParaRPr>
          </a:p>
        </p:txBody>
      </p:sp>
      <p:sp>
        <p:nvSpPr>
          <p:cNvPr id="5" name="object 5"/>
          <p:cNvSpPr txBox="1"/>
          <p:nvPr/>
        </p:nvSpPr>
        <p:spPr>
          <a:xfrm>
            <a:off x="1831341" y="5405258"/>
            <a:ext cx="7719653" cy="940046"/>
          </a:xfrm>
          <a:prstGeom prst="rect">
            <a:avLst/>
          </a:prstGeom>
        </p:spPr>
        <p:txBody>
          <a:bodyPr wrap="square" lIns="0" tIns="0" rIns="0" bIns="0" rtlCol="0">
            <a:noAutofit/>
          </a:bodyPr>
          <a:lstStyle/>
          <a:p>
            <a:pPr marL="298450" marR="26730" indent="-285750">
              <a:lnSpc>
                <a:spcPts val="1939"/>
              </a:lnSpc>
              <a:spcBef>
                <a:spcPts val="97"/>
              </a:spcBef>
              <a:buClr>
                <a:srgbClr val="00B0F0"/>
              </a:buClr>
              <a:buFont typeface="Wingdings" panose="05000000000000000000" pitchFamily="2" charset="2"/>
              <a:buChar char="§"/>
            </a:pPr>
            <a:r>
              <a:rPr sz="1400" dirty="0">
                <a:cs typeface="Arial"/>
              </a:rPr>
              <a:t>M</a:t>
            </a:r>
            <a:r>
              <a:rPr sz="1400" spc="-4" dirty="0">
                <a:cs typeface="Arial"/>
              </a:rPr>
              <a:t>en</a:t>
            </a:r>
            <a:r>
              <a:rPr sz="1400" dirty="0">
                <a:cs typeface="Arial"/>
              </a:rPr>
              <a:t>u Path</a:t>
            </a:r>
            <a:r>
              <a:rPr sz="1400" spc="-4" dirty="0">
                <a:cs typeface="Arial"/>
              </a:rPr>
              <a:t> </a:t>
            </a:r>
            <a:r>
              <a:rPr sz="1400" spc="4" dirty="0">
                <a:cs typeface="Arial"/>
              </a:rPr>
              <a:t>f</a:t>
            </a:r>
            <a:r>
              <a:rPr sz="1400" spc="-4" dirty="0">
                <a:cs typeface="Arial"/>
              </a:rPr>
              <a:t>o</a:t>
            </a:r>
            <a:r>
              <a:rPr sz="1400" dirty="0">
                <a:cs typeface="Arial"/>
              </a:rPr>
              <a:t>r</a:t>
            </a:r>
            <a:r>
              <a:rPr sz="1400" spc="-4" dirty="0">
                <a:cs typeface="Arial"/>
              </a:rPr>
              <a:t> </a:t>
            </a:r>
            <a:r>
              <a:rPr sz="1400" dirty="0">
                <a:cs typeface="Arial"/>
              </a:rPr>
              <a:t>c</a:t>
            </a:r>
            <a:r>
              <a:rPr sz="1400" spc="-4" dirty="0">
                <a:cs typeface="Arial"/>
              </a:rPr>
              <a:t>on</a:t>
            </a:r>
            <a:r>
              <a:rPr sz="1400" dirty="0">
                <a:cs typeface="Arial"/>
              </a:rPr>
              <a:t>fi</a:t>
            </a:r>
            <a:r>
              <a:rPr sz="1400" spc="-4" dirty="0">
                <a:cs typeface="Arial"/>
              </a:rPr>
              <a:t>gu</a:t>
            </a:r>
            <a:r>
              <a:rPr sz="1400" dirty="0">
                <a:cs typeface="Arial"/>
              </a:rPr>
              <a:t>r</a:t>
            </a:r>
            <a:r>
              <a:rPr sz="1400" spc="-4" dirty="0">
                <a:cs typeface="Arial"/>
              </a:rPr>
              <a:t>a</a:t>
            </a:r>
            <a:r>
              <a:rPr sz="1400" dirty="0">
                <a:cs typeface="Arial"/>
              </a:rPr>
              <a:t>ti</a:t>
            </a:r>
            <a:r>
              <a:rPr sz="1400" spc="-4" dirty="0">
                <a:cs typeface="Arial"/>
              </a:rPr>
              <a:t>on</a:t>
            </a:r>
            <a:r>
              <a:rPr sz="1400" dirty="0">
                <a:cs typeface="Arial"/>
              </a:rPr>
              <a:t>:</a:t>
            </a:r>
          </a:p>
          <a:p>
            <a:pPr marL="755650" lvl="1" indent="-285750">
              <a:lnSpc>
                <a:spcPct val="100041"/>
              </a:lnSpc>
              <a:spcBef>
                <a:spcPts val="1073"/>
              </a:spcBef>
              <a:buClr>
                <a:srgbClr val="C00000"/>
              </a:buClr>
              <a:buFont typeface="Wingdings" panose="05000000000000000000" pitchFamily="2" charset="2"/>
              <a:buChar char="§"/>
            </a:pPr>
            <a:r>
              <a:rPr sz="1400" dirty="0">
                <a:cs typeface="Arial"/>
              </a:rPr>
              <a:t>IMG</a:t>
            </a:r>
            <a:r>
              <a:rPr sz="1400" spc="-9" dirty="0">
                <a:cs typeface="Arial"/>
              </a:rPr>
              <a:t> </a:t>
            </a:r>
            <a:r>
              <a:rPr sz="1400" dirty="0">
                <a:cs typeface="Arial"/>
              </a:rPr>
              <a:t>– S</a:t>
            </a:r>
            <a:r>
              <a:rPr sz="1400" spc="-4" dirty="0">
                <a:cs typeface="Arial"/>
              </a:rPr>
              <a:t>a</a:t>
            </a:r>
            <a:r>
              <a:rPr sz="1400" dirty="0">
                <a:cs typeface="Arial"/>
              </a:rPr>
              <a:t>l</a:t>
            </a:r>
            <a:r>
              <a:rPr sz="1400" spc="-9" dirty="0">
                <a:cs typeface="Arial"/>
              </a:rPr>
              <a:t>e</a:t>
            </a:r>
            <a:r>
              <a:rPr sz="1400" dirty="0">
                <a:cs typeface="Arial"/>
              </a:rPr>
              <a:t>s</a:t>
            </a:r>
            <a:r>
              <a:rPr sz="1400" spc="14" dirty="0">
                <a:cs typeface="Arial"/>
              </a:rPr>
              <a:t> </a:t>
            </a:r>
            <a:r>
              <a:rPr sz="1400" dirty="0">
                <a:cs typeface="Arial"/>
              </a:rPr>
              <a:t>a</a:t>
            </a:r>
            <a:r>
              <a:rPr sz="1400" spc="-9" dirty="0">
                <a:cs typeface="Arial"/>
              </a:rPr>
              <a:t>n</a:t>
            </a:r>
            <a:r>
              <a:rPr sz="1400" dirty="0">
                <a:cs typeface="Arial"/>
              </a:rPr>
              <a:t>d D</a:t>
            </a:r>
            <a:r>
              <a:rPr sz="1400" spc="-9" dirty="0">
                <a:cs typeface="Arial"/>
              </a:rPr>
              <a:t>i</a:t>
            </a:r>
            <a:r>
              <a:rPr sz="1400" dirty="0">
                <a:cs typeface="Arial"/>
              </a:rPr>
              <a:t>strib</a:t>
            </a:r>
            <a:r>
              <a:rPr sz="1400" spc="-9" dirty="0">
                <a:cs typeface="Arial"/>
              </a:rPr>
              <a:t>u</a:t>
            </a:r>
            <a:r>
              <a:rPr sz="1400" dirty="0">
                <a:cs typeface="Arial"/>
              </a:rPr>
              <a:t>tion</a:t>
            </a:r>
            <a:r>
              <a:rPr sz="1400" spc="24"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19"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4" dirty="0">
                <a:cs typeface="Arial"/>
              </a:rPr>
              <a:t> </a:t>
            </a:r>
            <a:r>
              <a:rPr sz="1400" dirty="0">
                <a:cs typeface="Arial"/>
              </a:rPr>
              <a:t>D</a:t>
            </a:r>
            <a:r>
              <a:rPr sz="1400" spc="-9" dirty="0">
                <a:cs typeface="Arial"/>
              </a:rPr>
              <a:t>o</a:t>
            </a:r>
            <a:r>
              <a:rPr sz="1400" dirty="0">
                <a:cs typeface="Arial"/>
              </a:rPr>
              <a:t>cum</a:t>
            </a:r>
            <a:r>
              <a:rPr sz="1400" spc="-9" dirty="0">
                <a:cs typeface="Arial"/>
              </a:rPr>
              <a:t>e</a:t>
            </a:r>
            <a:r>
              <a:rPr sz="1400" dirty="0">
                <a:cs typeface="Arial"/>
              </a:rPr>
              <a:t>nts</a:t>
            </a:r>
            <a:r>
              <a:rPr sz="1400" spc="19" dirty="0">
                <a:cs typeface="Arial"/>
              </a:rPr>
              <a:t> </a:t>
            </a:r>
            <a:r>
              <a:rPr sz="1400" dirty="0">
                <a:cs typeface="Arial"/>
              </a:rPr>
              <a:t>– D</a:t>
            </a:r>
            <a:r>
              <a:rPr sz="1400" spc="-9" dirty="0">
                <a:cs typeface="Arial"/>
              </a:rPr>
              <a:t>e</a:t>
            </a:r>
            <a:r>
              <a:rPr sz="1400" dirty="0">
                <a:cs typeface="Arial"/>
              </a:rPr>
              <a:t>fine</a:t>
            </a:r>
            <a:r>
              <a:rPr sz="1400" spc="4" dirty="0">
                <a:cs typeface="Arial"/>
              </a:rPr>
              <a:t> </a:t>
            </a:r>
            <a:r>
              <a:rPr sz="1400" dirty="0">
                <a:cs typeface="Arial"/>
              </a:rPr>
              <a:t>b</a:t>
            </a:r>
            <a:r>
              <a:rPr sz="1400" spc="-9" dirty="0">
                <a:cs typeface="Arial"/>
              </a:rPr>
              <a:t>l</a:t>
            </a:r>
            <a:r>
              <a:rPr sz="1400" dirty="0">
                <a:cs typeface="Arial"/>
              </a:rPr>
              <a:t>ock</a:t>
            </a:r>
            <a:r>
              <a:rPr sz="1400" spc="-9" dirty="0">
                <a:cs typeface="Arial"/>
              </a:rPr>
              <a:t>i</a:t>
            </a:r>
            <a:r>
              <a:rPr sz="1400" dirty="0">
                <a:cs typeface="Arial"/>
              </a:rPr>
              <a:t>ng re</a:t>
            </a:r>
            <a:r>
              <a:rPr sz="1400" spc="-9" dirty="0">
                <a:cs typeface="Arial"/>
              </a:rPr>
              <a:t>a</a:t>
            </a:r>
            <a:r>
              <a:rPr sz="1400" dirty="0">
                <a:cs typeface="Arial"/>
              </a:rPr>
              <a:t>so</a:t>
            </a:r>
            <a:r>
              <a:rPr sz="1400" spc="-9" dirty="0">
                <a:cs typeface="Arial"/>
              </a:rPr>
              <a:t>n</a:t>
            </a:r>
            <a:r>
              <a:rPr sz="1400" dirty="0">
                <a:cs typeface="Arial"/>
              </a:rPr>
              <a:t>s </a:t>
            </a:r>
            <a:r>
              <a:rPr sz="1400" spc="4" dirty="0">
                <a:cs typeface="Arial"/>
              </a:rPr>
              <a:t>f</a:t>
            </a:r>
            <a:r>
              <a:rPr sz="1400" dirty="0">
                <a:cs typeface="Arial"/>
              </a:rPr>
              <a:t>or </a:t>
            </a:r>
            <a:r>
              <a:rPr sz="1400" spc="-4" dirty="0">
                <a:cs typeface="Arial"/>
              </a:rPr>
              <a:t>b</a:t>
            </a:r>
            <a:r>
              <a:rPr sz="1400" dirty="0">
                <a:cs typeface="Arial"/>
              </a:rPr>
              <a:t>i</a:t>
            </a:r>
            <a:r>
              <a:rPr sz="1400" spc="-4" dirty="0">
                <a:cs typeface="Arial"/>
              </a:rPr>
              <a:t>l</a:t>
            </a:r>
            <a:r>
              <a:rPr sz="1400" dirty="0">
                <a:cs typeface="Arial"/>
              </a:rPr>
              <a:t>l</a:t>
            </a:r>
            <a:r>
              <a:rPr sz="1400" spc="-4" dirty="0">
                <a:cs typeface="Arial"/>
              </a:rPr>
              <a:t>i</a:t>
            </a:r>
            <a:r>
              <a:rPr sz="1400" dirty="0">
                <a:cs typeface="Arial"/>
              </a:rPr>
              <a:t>ng</a:t>
            </a:r>
          </a:p>
        </p:txBody>
      </p:sp>
      <p:sp>
        <p:nvSpPr>
          <p:cNvPr id="3" name="object 3"/>
          <p:cNvSpPr txBox="1"/>
          <p:nvPr/>
        </p:nvSpPr>
        <p:spPr>
          <a:xfrm>
            <a:off x="6386450" y="2271650"/>
            <a:ext cx="3228975" cy="2847975"/>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2119313" y="2271649"/>
            <a:ext cx="3228975" cy="2876550"/>
          </a:xfrm>
          <a:prstGeom prst="rect">
            <a:avLst/>
          </a:prstGeom>
        </p:spPr>
        <p:txBody>
          <a:bodyPr wrap="square" lIns="0" tIns="0" rIns="0" bIns="0" rtlCol="0">
            <a:noAutofit/>
          </a:bodyPr>
          <a:lstStyle/>
          <a:p>
            <a:pPr marL="25400">
              <a:lnSpc>
                <a:spcPts val="1000"/>
              </a:lnSpc>
            </a:pPr>
            <a:endParaRPr sz="1000"/>
          </a:p>
        </p:txBody>
      </p:sp>
      <p:sp>
        <p:nvSpPr>
          <p:cNvPr id="4" name="Title 3"/>
          <p:cNvSpPr>
            <a:spLocks noGrp="1"/>
          </p:cNvSpPr>
          <p:nvPr>
            <p:ph type="title"/>
          </p:nvPr>
        </p:nvSpPr>
        <p:spPr/>
        <p:txBody>
          <a:bodyPr>
            <a:normAutofit fontScale="90000"/>
          </a:bodyPr>
          <a:lstStyle/>
          <a:p>
            <a:r>
              <a:rPr lang="en-US" sz="2400" dirty="0">
                <a:latin typeface="+mn-lt"/>
                <a:cs typeface="Arial"/>
              </a:rPr>
              <a:t>Bi</a:t>
            </a:r>
            <a:r>
              <a:rPr lang="en-US" sz="2400" spc="9" dirty="0">
                <a:latin typeface="+mn-lt"/>
                <a:cs typeface="Arial"/>
              </a:rPr>
              <a:t>l</a:t>
            </a:r>
            <a:r>
              <a:rPr lang="en-US" sz="2400" dirty="0">
                <a:latin typeface="+mn-lt"/>
                <a:cs typeface="Arial"/>
              </a:rPr>
              <a:t>l</a:t>
            </a:r>
            <a:r>
              <a:rPr lang="en-US" sz="2400" spc="9" dirty="0">
                <a:latin typeface="+mn-lt"/>
                <a:cs typeface="Arial"/>
              </a:rPr>
              <a:t>i</a:t>
            </a:r>
            <a:r>
              <a:rPr lang="en-US" sz="2400" dirty="0">
                <a:latin typeface="+mn-lt"/>
                <a:cs typeface="Arial"/>
              </a:rPr>
              <a:t>ng</a:t>
            </a:r>
            <a:r>
              <a:rPr lang="en-US" sz="2400" spc="-29" dirty="0">
                <a:latin typeface="+mn-lt"/>
                <a:cs typeface="Arial"/>
              </a:rPr>
              <a:t> </a:t>
            </a:r>
            <a:r>
              <a:rPr lang="en-US" sz="2400" dirty="0">
                <a:latin typeface="+mn-lt"/>
                <a:cs typeface="Arial"/>
              </a:rPr>
              <a:t>–</a:t>
            </a:r>
            <a:r>
              <a:rPr lang="en-US" sz="2400" spc="-2" dirty="0">
                <a:latin typeface="+mn-lt"/>
                <a:cs typeface="Arial"/>
              </a:rPr>
              <a:t> </a:t>
            </a:r>
            <a:r>
              <a:rPr lang="en-US" sz="2400" dirty="0">
                <a:latin typeface="+mn-lt"/>
                <a:cs typeface="Arial"/>
              </a:rPr>
              <a:t>Blocking</a:t>
            </a:r>
            <a:r>
              <a:rPr lang="en-US" sz="2400" spc="24" dirty="0">
                <a:latin typeface="+mn-lt"/>
                <a:cs typeface="Arial"/>
              </a:rPr>
              <a:t> </a:t>
            </a:r>
            <a:r>
              <a:rPr lang="en-US" sz="2400" dirty="0">
                <a:latin typeface="+mn-lt"/>
                <a:cs typeface="Arial"/>
              </a:rPr>
              <a:t>Reasons</a:t>
            </a:r>
            <a:br>
              <a:rPr lang="en-US" sz="2800" dirty="0">
                <a:latin typeface="Arial"/>
                <a:cs typeface="Arial"/>
              </a:rPr>
            </a:b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3276601" y="1295400"/>
            <a:ext cx="4570349" cy="3962400"/>
          </a:xfrm>
          <a:prstGeom prst="rect">
            <a:avLst/>
          </a:prstGeom>
          <a:blipFill>
            <a:blip r:embed="rId2" cstate="print"/>
            <a:stretch>
              <a:fillRect/>
            </a:stretch>
          </a:blipFill>
        </p:spPr>
        <p:txBody>
          <a:bodyPr wrap="square" lIns="0" tIns="0" rIns="0" bIns="0" rtlCol="0">
            <a:noAutofit/>
          </a:bodyPr>
          <a:lstStyle/>
          <a:p>
            <a:endParaRPr/>
          </a:p>
        </p:txBody>
      </p:sp>
      <p:sp>
        <p:nvSpPr>
          <p:cNvPr id="12" name="object 12"/>
          <p:cNvSpPr/>
          <p:nvPr/>
        </p:nvSpPr>
        <p:spPr>
          <a:xfrm>
            <a:off x="3276600" y="1295400"/>
            <a:ext cx="4570476" cy="3962400"/>
          </a:xfrm>
          <a:custGeom>
            <a:avLst/>
            <a:gdLst/>
            <a:ahLst/>
            <a:cxnLst/>
            <a:rect l="l" t="t" r="r" b="b"/>
            <a:pathLst>
              <a:path w="4570476" h="3962400">
                <a:moveTo>
                  <a:pt x="0" y="3962400"/>
                </a:moveTo>
                <a:lnTo>
                  <a:pt x="4570476" y="3962400"/>
                </a:lnTo>
                <a:lnTo>
                  <a:pt x="4570476" y="0"/>
                </a:lnTo>
                <a:lnTo>
                  <a:pt x="0" y="0"/>
                </a:lnTo>
                <a:lnTo>
                  <a:pt x="0" y="3962400"/>
                </a:lnTo>
                <a:close/>
              </a:path>
            </a:pathLst>
          </a:custGeom>
          <a:ln w="28575">
            <a:solidFill>
              <a:srgbClr val="000000"/>
            </a:solidFill>
          </a:ln>
        </p:spPr>
        <p:txBody>
          <a:bodyPr wrap="square" lIns="0" tIns="0" rIns="0" bIns="0" rtlCol="0">
            <a:noAutofit/>
          </a:bodyPr>
          <a:lstStyle/>
          <a:p>
            <a:endParaRPr/>
          </a:p>
        </p:txBody>
      </p:sp>
      <p:sp>
        <p:nvSpPr>
          <p:cNvPr id="13" name="object 13"/>
          <p:cNvSpPr/>
          <p:nvPr/>
        </p:nvSpPr>
        <p:spPr>
          <a:xfrm>
            <a:off x="4127500" y="3127376"/>
            <a:ext cx="3263900" cy="1597025"/>
          </a:xfrm>
          <a:custGeom>
            <a:avLst/>
            <a:gdLst/>
            <a:ahLst/>
            <a:cxnLst/>
            <a:rect l="l" t="t" r="r" b="b"/>
            <a:pathLst>
              <a:path w="3263900" h="1597025">
                <a:moveTo>
                  <a:pt x="2044700" y="898525"/>
                </a:moveTo>
                <a:lnTo>
                  <a:pt x="0" y="0"/>
                </a:lnTo>
                <a:lnTo>
                  <a:pt x="2044700" y="1108075"/>
                </a:lnTo>
                <a:lnTo>
                  <a:pt x="2044700" y="1457325"/>
                </a:lnTo>
                <a:lnTo>
                  <a:pt x="2044937" y="1465550"/>
                </a:lnTo>
                <a:lnTo>
                  <a:pt x="2053926" y="1507401"/>
                </a:lnTo>
                <a:lnTo>
                  <a:pt x="2074421" y="1543529"/>
                </a:lnTo>
                <a:lnTo>
                  <a:pt x="2104369" y="1571879"/>
                </a:lnTo>
                <a:lnTo>
                  <a:pt x="2141713" y="1590396"/>
                </a:lnTo>
                <a:lnTo>
                  <a:pt x="2184400" y="1597025"/>
                </a:lnTo>
                <a:lnTo>
                  <a:pt x="3124200" y="1597025"/>
                </a:lnTo>
                <a:lnTo>
                  <a:pt x="3174276" y="1587798"/>
                </a:lnTo>
                <a:lnTo>
                  <a:pt x="3210404" y="1567303"/>
                </a:lnTo>
                <a:lnTo>
                  <a:pt x="3238754" y="1537355"/>
                </a:lnTo>
                <a:lnTo>
                  <a:pt x="3257271" y="1500011"/>
                </a:lnTo>
                <a:lnTo>
                  <a:pt x="3263900" y="1457325"/>
                </a:lnTo>
                <a:lnTo>
                  <a:pt x="3263900" y="898525"/>
                </a:lnTo>
                <a:lnTo>
                  <a:pt x="3254658" y="848448"/>
                </a:lnTo>
                <a:lnTo>
                  <a:pt x="3234139" y="812320"/>
                </a:lnTo>
                <a:lnTo>
                  <a:pt x="3204175" y="783970"/>
                </a:lnTo>
                <a:lnTo>
                  <a:pt x="3166838" y="765453"/>
                </a:lnTo>
                <a:lnTo>
                  <a:pt x="3124200" y="758825"/>
                </a:lnTo>
                <a:lnTo>
                  <a:pt x="2184400" y="758825"/>
                </a:lnTo>
                <a:lnTo>
                  <a:pt x="2134323" y="768051"/>
                </a:lnTo>
                <a:lnTo>
                  <a:pt x="2098195" y="788546"/>
                </a:lnTo>
                <a:lnTo>
                  <a:pt x="2069845" y="818494"/>
                </a:lnTo>
                <a:lnTo>
                  <a:pt x="2051328" y="855838"/>
                </a:lnTo>
                <a:lnTo>
                  <a:pt x="2044700" y="898525"/>
                </a:lnTo>
                <a:close/>
              </a:path>
            </a:pathLst>
          </a:custGeom>
          <a:solidFill>
            <a:srgbClr val="FFFF99"/>
          </a:solidFill>
        </p:spPr>
        <p:txBody>
          <a:bodyPr wrap="square" lIns="0" tIns="0" rIns="0" bIns="0" rtlCol="0">
            <a:noAutofit/>
          </a:bodyPr>
          <a:lstStyle/>
          <a:p>
            <a:endParaRPr/>
          </a:p>
        </p:txBody>
      </p:sp>
      <p:sp>
        <p:nvSpPr>
          <p:cNvPr id="5" name="object 5"/>
          <p:cNvSpPr txBox="1"/>
          <p:nvPr/>
        </p:nvSpPr>
        <p:spPr>
          <a:xfrm>
            <a:off x="1831340" y="5710305"/>
            <a:ext cx="8608060" cy="665480"/>
          </a:xfrm>
          <a:prstGeom prst="rect">
            <a:avLst/>
          </a:prstGeom>
        </p:spPr>
        <p:txBody>
          <a:bodyPr wrap="square" lIns="0" tIns="0" rIns="0" bIns="0" rtlCol="0">
            <a:noAutofit/>
          </a:bodyPr>
          <a:lstStyle/>
          <a:p>
            <a:pPr marL="298450" indent="-285750">
              <a:lnSpc>
                <a:spcPts val="1939"/>
              </a:lnSpc>
              <a:spcBef>
                <a:spcPts val="97"/>
              </a:spcBef>
              <a:buClr>
                <a:srgbClr val="00B0F0"/>
              </a:buClr>
              <a:buFont typeface="Wingdings" panose="05000000000000000000" pitchFamily="2" charset="2"/>
              <a:buChar char="§"/>
            </a:pPr>
            <a:r>
              <a:rPr sz="1400" dirty="0">
                <a:cs typeface="Arial"/>
              </a:rPr>
              <a:t>SAP</a:t>
            </a:r>
            <a:r>
              <a:rPr sz="1400" spc="-44" dirty="0">
                <a:cs typeface="Arial"/>
              </a:rPr>
              <a:t> </a:t>
            </a:r>
            <a:r>
              <a:rPr sz="1400" dirty="0">
                <a:cs typeface="Arial"/>
              </a:rPr>
              <a:t>E</a:t>
            </a:r>
            <a:r>
              <a:rPr sz="1400" spc="-4" dirty="0">
                <a:cs typeface="Arial"/>
              </a:rPr>
              <a:t>a</a:t>
            </a:r>
            <a:r>
              <a:rPr sz="1400" dirty="0">
                <a:cs typeface="Arial"/>
              </a:rPr>
              <a:t>sy</a:t>
            </a:r>
            <a:r>
              <a:rPr sz="1400" spc="-89" dirty="0">
                <a:cs typeface="Arial"/>
              </a:rPr>
              <a:t> </a:t>
            </a:r>
            <a:r>
              <a:rPr sz="1400" dirty="0">
                <a:cs typeface="Arial"/>
              </a:rPr>
              <a:t>Acc</a:t>
            </a:r>
            <a:r>
              <a:rPr sz="1400" spc="-4" dirty="0">
                <a:cs typeface="Arial"/>
              </a:rPr>
              <a:t>e</a:t>
            </a:r>
            <a:r>
              <a:rPr sz="1400" dirty="0">
                <a:cs typeface="Arial"/>
              </a:rPr>
              <a:t>ss</a:t>
            </a:r>
            <a:r>
              <a:rPr sz="1400" spc="4" dirty="0">
                <a:cs typeface="Arial"/>
              </a:rPr>
              <a:t> </a:t>
            </a:r>
            <a:r>
              <a:rPr sz="1400" dirty="0">
                <a:cs typeface="Arial"/>
              </a:rPr>
              <a:t>– S</a:t>
            </a:r>
            <a:r>
              <a:rPr sz="1400" spc="-4" dirty="0">
                <a:cs typeface="Arial"/>
              </a:rPr>
              <a:t>a</a:t>
            </a:r>
            <a:r>
              <a:rPr sz="1400" dirty="0">
                <a:cs typeface="Arial"/>
              </a:rPr>
              <a:t>l</a:t>
            </a:r>
            <a:r>
              <a:rPr sz="1400" spc="-9" dirty="0">
                <a:cs typeface="Arial"/>
              </a:rPr>
              <a:t>e</a:t>
            </a:r>
            <a:r>
              <a:rPr sz="1400" dirty="0">
                <a:cs typeface="Arial"/>
              </a:rPr>
              <a:t>s a</a:t>
            </a:r>
            <a:r>
              <a:rPr sz="1400" spc="-4" dirty="0">
                <a:cs typeface="Arial"/>
              </a:rPr>
              <a:t>n</a:t>
            </a:r>
            <a:r>
              <a:rPr sz="1400" dirty="0">
                <a:cs typeface="Arial"/>
              </a:rPr>
              <a:t>d</a:t>
            </a:r>
            <a:r>
              <a:rPr sz="1400" spc="9" dirty="0">
                <a:cs typeface="Arial"/>
              </a:rPr>
              <a:t> </a:t>
            </a:r>
            <a:r>
              <a:rPr sz="1400" dirty="0">
                <a:cs typeface="Arial"/>
              </a:rPr>
              <a:t>D</a:t>
            </a:r>
            <a:r>
              <a:rPr sz="1400" spc="-4" dirty="0">
                <a:cs typeface="Arial"/>
              </a:rPr>
              <a:t>i</a:t>
            </a:r>
            <a:r>
              <a:rPr sz="1400" dirty="0">
                <a:cs typeface="Arial"/>
              </a:rPr>
              <a:t>strib</a:t>
            </a:r>
            <a:r>
              <a:rPr sz="1400" spc="-9" dirty="0">
                <a:cs typeface="Arial"/>
              </a:rPr>
              <a:t>u</a:t>
            </a:r>
            <a:r>
              <a:rPr sz="1400" dirty="0">
                <a:cs typeface="Arial"/>
              </a:rPr>
              <a:t>tion</a:t>
            </a:r>
            <a:r>
              <a:rPr sz="1400" spc="24"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9" dirty="0">
                <a:cs typeface="Arial"/>
              </a:rPr>
              <a:t> </a:t>
            </a:r>
            <a:r>
              <a:rPr sz="1400" dirty="0">
                <a:cs typeface="Arial"/>
              </a:rPr>
              <a:t>– Bi</a:t>
            </a:r>
            <a:r>
              <a:rPr sz="1400" spc="-4" dirty="0">
                <a:cs typeface="Arial"/>
              </a:rPr>
              <a:t>l</a:t>
            </a:r>
            <a:r>
              <a:rPr sz="1400" dirty="0">
                <a:cs typeface="Arial"/>
              </a:rPr>
              <a:t>l</a:t>
            </a:r>
            <a:r>
              <a:rPr sz="1400" spc="-4" dirty="0">
                <a:cs typeface="Arial"/>
              </a:rPr>
              <a:t>i</a:t>
            </a:r>
            <a:r>
              <a:rPr sz="1400" dirty="0">
                <a:cs typeface="Arial"/>
              </a:rPr>
              <a:t>ng</a:t>
            </a:r>
            <a:r>
              <a:rPr sz="1400" spc="19" dirty="0">
                <a:cs typeface="Arial"/>
              </a:rPr>
              <a:t> </a:t>
            </a:r>
            <a:r>
              <a:rPr sz="1400" dirty="0">
                <a:cs typeface="Arial"/>
              </a:rPr>
              <a:t>D</a:t>
            </a:r>
            <a:r>
              <a:rPr sz="1400" spc="-9" dirty="0">
                <a:cs typeface="Arial"/>
              </a:rPr>
              <a:t>o</a:t>
            </a:r>
            <a:r>
              <a:rPr sz="1400" dirty="0">
                <a:cs typeface="Arial"/>
              </a:rPr>
              <a:t>cum</a:t>
            </a:r>
            <a:r>
              <a:rPr sz="1400" spc="-9" dirty="0">
                <a:cs typeface="Arial"/>
              </a:rPr>
              <a:t>e</a:t>
            </a:r>
            <a:r>
              <a:rPr sz="1400" dirty="0">
                <a:cs typeface="Arial"/>
              </a:rPr>
              <a:t>nts</a:t>
            </a:r>
            <a:r>
              <a:rPr lang="en-US" sz="1400" dirty="0">
                <a:cs typeface="Arial"/>
              </a:rPr>
              <a:t>-Create</a:t>
            </a:r>
            <a:endParaRPr sz="1400" dirty="0">
              <a:cs typeface="Arial"/>
            </a:endParaRPr>
          </a:p>
          <a:p>
            <a:pPr marL="298450" marR="34290" indent="-285750">
              <a:lnSpc>
                <a:spcPct val="95825"/>
              </a:lnSpc>
              <a:spcBef>
                <a:spcPts val="1073"/>
              </a:spcBef>
              <a:buClr>
                <a:srgbClr val="00B0F0"/>
              </a:buClr>
              <a:buFont typeface="Wingdings" panose="05000000000000000000" pitchFamily="2" charset="2"/>
              <a:buChar char="§"/>
            </a:pPr>
            <a:r>
              <a:rPr sz="1400" spc="-54" dirty="0">
                <a:cs typeface="Arial"/>
              </a:rPr>
              <a:t>T</a:t>
            </a:r>
            <a:r>
              <a:rPr sz="1400" dirty="0">
                <a:cs typeface="Arial"/>
              </a:rPr>
              <a:t>ra</a:t>
            </a:r>
            <a:r>
              <a:rPr sz="1400" spc="-9" dirty="0">
                <a:cs typeface="Arial"/>
              </a:rPr>
              <a:t>n</a:t>
            </a:r>
            <a:r>
              <a:rPr sz="1400" dirty="0">
                <a:cs typeface="Arial"/>
              </a:rPr>
              <a:t>sacti</a:t>
            </a:r>
            <a:r>
              <a:rPr sz="1400" spc="-9" dirty="0">
                <a:cs typeface="Arial"/>
              </a:rPr>
              <a:t>o</a:t>
            </a:r>
            <a:r>
              <a:rPr sz="1400" dirty="0">
                <a:cs typeface="Arial"/>
              </a:rPr>
              <a:t>n</a:t>
            </a:r>
            <a:r>
              <a:rPr sz="1400" spc="-9" dirty="0">
                <a:cs typeface="Arial"/>
              </a:rPr>
              <a:t> </a:t>
            </a:r>
            <a:r>
              <a:rPr sz="1400" dirty="0">
                <a:cs typeface="Arial"/>
              </a:rPr>
              <a:t>C</a:t>
            </a:r>
            <a:r>
              <a:rPr sz="1400" spc="-9" dirty="0">
                <a:cs typeface="Arial"/>
              </a:rPr>
              <a:t>o</a:t>
            </a:r>
            <a:r>
              <a:rPr sz="1400" dirty="0">
                <a:cs typeface="Arial"/>
              </a:rPr>
              <a:t>de</a:t>
            </a:r>
            <a:r>
              <a:rPr sz="1400" spc="4" dirty="0">
                <a:cs typeface="Arial"/>
              </a:rPr>
              <a:t> </a:t>
            </a:r>
            <a:r>
              <a:rPr sz="1400" dirty="0">
                <a:cs typeface="Arial"/>
              </a:rPr>
              <a:t>:</a:t>
            </a:r>
            <a:r>
              <a:rPr sz="1400" spc="4" dirty="0">
                <a:cs typeface="Arial"/>
              </a:rPr>
              <a:t> </a:t>
            </a:r>
            <a:r>
              <a:rPr sz="1400" dirty="0">
                <a:cs typeface="Arial"/>
              </a:rPr>
              <a:t>VF01</a:t>
            </a:r>
          </a:p>
        </p:txBody>
      </p:sp>
      <p:sp>
        <p:nvSpPr>
          <p:cNvPr id="2" name="object 2"/>
          <p:cNvSpPr txBox="1"/>
          <p:nvPr/>
        </p:nvSpPr>
        <p:spPr>
          <a:xfrm>
            <a:off x="3276600" y="1295400"/>
            <a:ext cx="4570476" cy="3962400"/>
          </a:xfrm>
          <a:prstGeom prst="rect">
            <a:avLst/>
          </a:prstGeom>
        </p:spPr>
        <p:txBody>
          <a:bodyPr wrap="square" lIns="0" tIns="0" rIns="0" bIns="0" rtlCol="0">
            <a:noAutofit/>
          </a:bodyPr>
          <a:lstStyle/>
          <a:p>
            <a:pPr>
              <a:lnSpc>
                <a:spcPts val="1000"/>
              </a:lnSpc>
            </a:pPr>
            <a:endParaRPr sz="1000"/>
          </a:p>
          <a:p>
            <a:pPr marL="3023966" marR="584895" indent="1798" algn="ctr">
              <a:lnSpc>
                <a:spcPct val="100041"/>
              </a:lnSpc>
              <a:spcBef>
                <a:spcPts val="20123"/>
              </a:spcBef>
            </a:pPr>
            <a:r>
              <a:rPr sz="1000" spc="-4" dirty="0">
                <a:latin typeface="Arial"/>
                <a:cs typeface="Arial"/>
              </a:rPr>
              <a:t>E</a:t>
            </a:r>
            <a:r>
              <a:rPr sz="1000" dirty="0">
                <a:latin typeface="Arial"/>
                <a:cs typeface="Arial"/>
              </a:rPr>
              <a:t>nt</a:t>
            </a:r>
            <a:r>
              <a:rPr sz="1000" spc="-4" dirty="0">
                <a:latin typeface="Arial"/>
                <a:cs typeface="Arial"/>
              </a:rPr>
              <a:t>e</a:t>
            </a:r>
            <a:r>
              <a:rPr sz="1000" dirty="0">
                <a:latin typeface="Arial"/>
                <a:cs typeface="Arial"/>
              </a:rPr>
              <a:t>r</a:t>
            </a:r>
            <a:r>
              <a:rPr sz="1000" spc="-33" dirty="0">
                <a:latin typeface="Arial"/>
                <a:cs typeface="Arial"/>
              </a:rPr>
              <a:t> </a:t>
            </a:r>
            <a:r>
              <a:rPr sz="1000" spc="4" dirty="0">
                <a:latin typeface="Arial"/>
                <a:cs typeface="Arial"/>
              </a:rPr>
              <a:t>r</a:t>
            </a:r>
            <a:r>
              <a:rPr sz="1000" dirty="0">
                <a:latin typeface="Arial"/>
                <a:cs typeface="Arial"/>
              </a:rPr>
              <a:t>e</a:t>
            </a:r>
            <a:r>
              <a:rPr sz="1000" spc="9" dirty="0">
                <a:latin typeface="Arial"/>
                <a:cs typeface="Arial"/>
              </a:rPr>
              <a:t>f</a:t>
            </a:r>
            <a:r>
              <a:rPr sz="1000" dirty="0">
                <a:latin typeface="Arial"/>
                <a:cs typeface="Arial"/>
              </a:rPr>
              <a:t>eren</a:t>
            </a:r>
            <a:r>
              <a:rPr sz="1000" spc="4" dirty="0">
                <a:latin typeface="Arial"/>
                <a:cs typeface="Arial"/>
              </a:rPr>
              <a:t>c</a:t>
            </a:r>
            <a:r>
              <a:rPr sz="1000" dirty="0">
                <a:latin typeface="Arial"/>
                <a:cs typeface="Arial"/>
              </a:rPr>
              <a:t>e 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 n</a:t>
            </a:r>
            <a:r>
              <a:rPr sz="1000" spc="-4" dirty="0">
                <a:latin typeface="Arial"/>
                <a:cs typeface="Arial"/>
              </a:rPr>
              <a:t>u</a:t>
            </a:r>
            <a:r>
              <a:rPr sz="1000" spc="19" dirty="0">
                <a:latin typeface="Arial"/>
                <a:cs typeface="Arial"/>
              </a:rPr>
              <a:t>m</a:t>
            </a:r>
            <a:r>
              <a:rPr sz="1000" dirty="0">
                <a:latin typeface="Arial"/>
                <a:cs typeface="Arial"/>
              </a:rPr>
              <a:t>b</a:t>
            </a:r>
            <a:r>
              <a:rPr sz="1000" spc="-4" dirty="0">
                <a:latin typeface="Arial"/>
                <a:cs typeface="Arial"/>
              </a:rPr>
              <a:t>e</a:t>
            </a:r>
            <a:r>
              <a:rPr sz="1000" dirty="0">
                <a:latin typeface="Arial"/>
                <a:cs typeface="Arial"/>
              </a:rPr>
              <a:t>r</a:t>
            </a:r>
            <a:r>
              <a:rPr sz="1000" spc="-68" dirty="0">
                <a:latin typeface="Arial"/>
                <a:cs typeface="Arial"/>
              </a:rPr>
              <a:t> </a:t>
            </a:r>
            <a:r>
              <a:rPr sz="1000" dirty="0">
                <a:latin typeface="Arial"/>
                <a:cs typeface="Arial"/>
              </a:rPr>
              <a:t>or</a:t>
            </a:r>
            <a:r>
              <a:rPr sz="1000" spc="-8" dirty="0">
                <a:latin typeface="Arial"/>
                <a:cs typeface="Arial"/>
              </a:rPr>
              <a:t> </a:t>
            </a:r>
            <a:r>
              <a:rPr sz="1000" spc="4" dirty="0">
                <a:latin typeface="Arial"/>
                <a:cs typeface="Arial"/>
              </a:rPr>
              <a:t>s</a:t>
            </a:r>
            <a:r>
              <a:rPr sz="1000" dirty="0">
                <a:latin typeface="Arial"/>
                <a:cs typeface="Arial"/>
              </a:rPr>
              <a:t>e</a:t>
            </a:r>
            <a:r>
              <a:rPr sz="1000" spc="-4" dirty="0">
                <a:latin typeface="Arial"/>
                <a:cs typeface="Arial"/>
              </a:rPr>
              <a:t>l</a:t>
            </a:r>
            <a:r>
              <a:rPr sz="1000" dirty="0">
                <a:latin typeface="Arial"/>
                <a:cs typeface="Arial"/>
              </a:rPr>
              <a:t>e</a:t>
            </a:r>
            <a:r>
              <a:rPr sz="1000" spc="4" dirty="0">
                <a:latin typeface="Arial"/>
                <a:cs typeface="Arial"/>
              </a:rPr>
              <a:t>c</a:t>
            </a:r>
            <a:r>
              <a:rPr sz="1000" dirty="0">
                <a:latin typeface="Arial"/>
                <a:cs typeface="Arial"/>
              </a:rPr>
              <a:t>t </a:t>
            </a:r>
            <a:r>
              <a:rPr sz="1000" spc="9" dirty="0">
                <a:latin typeface="Arial"/>
                <a:cs typeface="Arial"/>
              </a:rPr>
              <a:t>f</a:t>
            </a:r>
            <a:r>
              <a:rPr sz="1000" spc="4" dirty="0">
                <a:latin typeface="Arial"/>
                <a:cs typeface="Arial"/>
              </a:rPr>
              <a:t>r</a:t>
            </a:r>
            <a:r>
              <a:rPr sz="1000" dirty="0">
                <a:latin typeface="Arial"/>
                <a:cs typeface="Arial"/>
              </a:rPr>
              <a:t>om</a:t>
            </a:r>
            <a:r>
              <a:rPr sz="1000" spc="-34" dirty="0">
                <a:latin typeface="Arial"/>
                <a:cs typeface="Arial"/>
              </a:rPr>
              <a:t> </a:t>
            </a:r>
            <a:r>
              <a:rPr sz="1000" dirty="0">
                <a:latin typeface="Arial"/>
                <a:cs typeface="Arial"/>
              </a:rPr>
              <a:t>the</a:t>
            </a:r>
            <a:r>
              <a:rPr sz="1000" spc="-28" dirty="0">
                <a:latin typeface="Arial"/>
                <a:cs typeface="Arial"/>
              </a:rPr>
              <a:t> </a:t>
            </a:r>
            <a:r>
              <a:rPr sz="1000" spc="-4" dirty="0">
                <a:latin typeface="Arial"/>
                <a:cs typeface="Arial"/>
              </a:rPr>
              <a:t>li</a:t>
            </a:r>
            <a:r>
              <a:rPr sz="1000" spc="4" dirty="0">
                <a:latin typeface="Arial"/>
                <a:cs typeface="Arial"/>
              </a:rPr>
              <a:t>s</a:t>
            </a:r>
            <a:r>
              <a:rPr sz="1000" dirty="0">
                <a:latin typeface="Arial"/>
                <a:cs typeface="Arial"/>
              </a:rPr>
              <a:t>t</a:t>
            </a:r>
            <a:endParaRPr sz="1000">
              <a:latin typeface="Arial"/>
              <a:cs typeface="Arial"/>
            </a:endParaRPr>
          </a:p>
        </p:txBody>
      </p:sp>
      <p:sp>
        <p:nvSpPr>
          <p:cNvPr id="3" name="Title 2"/>
          <p:cNvSpPr>
            <a:spLocks noGrp="1"/>
          </p:cNvSpPr>
          <p:nvPr>
            <p:ph type="title"/>
          </p:nvPr>
        </p:nvSpPr>
        <p:spPr/>
        <p:txBody>
          <a:bodyPr>
            <a:normAutofit fontScale="90000"/>
          </a:bodyPr>
          <a:lstStyle/>
          <a:p>
            <a:r>
              <a:rPr lang="en-US" sz="2700" dirty="0">
                <a:latin typeface="+mn-lt"/>
                <a:cs typeface="Arial"/>
              </a:rPr>
              <a:t>Bi</a:t>
            </a:r>
            <a:r>
              <a:rPr lang="en-US" sz="2700" spc="9" dirty="0">
                <a:latin typeface="+mn-lt"/>
                <a:cs typeface="Arial"/>
              </a:rPr>
              <a:t>l</a:t>
            </a:r>
            <a:r>
              <a:rPr lang="en-US" sz="2700" dirty="0">
                <a:latin typeface="+mn-lt"/>
                <a:cs typeface="Arial"/>
              </a:rPr>
              <a:t>l</a:t>
            </a:r>
            <a:r>
              <a:rPr lang="en-US" sz="2700" spc="9" dirty="0">
                <a:latin typeface="+mn-lt"/>
                <a:cs typeface="Arial"/>
              </a:rPr>
              <a:t>i</a:t>
            </a:r>
            <a:r>
              <a:rPr lang="en-US" sz="2700" dirty="0">
                <a:latin typeface="+mn-lt"/>
                <a:cs typeface="Arial"/>
              </a:rPr>
              <a:t>ng Document-Create</a:t>
            </a:r>
            <a:br>
              <a:rPr lang="en-US" sz="2800" dirty="0">
                <a:latin typeface="Arial"/>
                <a:cs typeface="Arial"/>
              </a:rPr>
            </a:b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17"/>
          <p:cNvSpPr/>
          <p:nvPr/>
        </p:nvSpPr>
        <p:spPr>
          <a:xfrm>
            <a:off x="1981201" y="1295400"/>
            <a:ext cx="7621651" cy="2647950"/>
          </a:xfrm>
          <a:prstGeom prst="rect">
            <a:avLst/>
          </a:prstGeom>
          <a:blipFill>
            <a:blip r:embed="rId2" cstate="print"/>
            <a:stretch>
              <a:fillRect/>
            </a:stretch>
          </a:blipFill>
        </p:spPr>
        <p:txBody>
          <a:bodyPr wrap="square" lIns="0" tIns="0" rIns="0" bIns="0" rtlCol="0">
            <a:noAutofit/>
          </a:bodyPr>
          <a:lstStyle/>
          <a:p>
            <a:endParaRPr/>
          </a:p>
        </p:txBody>
      </p:sp>
      <p:sp>
        <p:nvSpPr>
          <p:cNvPr id="18" name="object 18"/>
          <p:cNvSpPr/>
          <p:nvPr/>
        </p:nvSpPr>
        <p:spPr>
          <a:xfrm>
            <a:off x="1966912" y="1281050"/>
            <a:ext cx="7650226" cy="2676525"/>
          </a:xfrm>
          <a:custGeom>
            <a:avLst/>
            <a:gdLst/>
            <a:ahLst/>
            <a:cxnLst/>
            <a:rect l="l" t="t" r="r" b="b"/>
            <a:pathLst>
              <a:path w="7650226" h="2676525">
                <a:moveTo>
                  <a:pt x="0" y="2676525"/>
                </a:moveTo>
                <a:lnTo>
                  <a:pt x="7650226" y="2676525"/>
                </a:lnTo>
                <a:lnTo>
                  <a:pt x="7650226" y="0"/>
                </a:lnTo>
                <a:lnTo>
                  <a:pt x="0" y="0"/>
                </a:lnTo>
                <a:lnTo>
                  <a:pt x="0" y="2676525"/>
                </a:lnTo>
                <a:close/>
              </a:path>
            </a:pathLst>
          </a:custGeom>
          <a:ln w="28575">
            <a:solidFill>
              <a:srgbClr val="000000"/>
            </a:solidFill>
          </a:ln>
        </p:spPr>
        <p:txBody>
          <a:bodyPr wrap="square" lIns="0" tIns="0" rIns="0" bIns="0" rtlCol="0">
            <a:noAutofit/>
          </a:bodyPr>
          <a:lstStyle/>
          <a:p>
            <a:endParaRPr/>
          </a:p>
        </p:txBody>
      </p:sp>
      <p:sp>
        <p:nvSpPr>
          <p:cNvPr id="19" name="object 19"/>
          <p:cNvSpPr/>
          <p:nvPr/>
        </p:nvSpPr>
        <p:spPr>
          <a:xfrm>
            <a:off x="6400800" y="3200400"/>
            <a:ext cx="3581400" cy="2743200"/>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6400800" y="3200400"/>
            <a:ext cx="3570986" cy="2743200"/>
          </a:xfrm>
          <a:custGeom>
            <a:avLst/>
            <a:gdLst/>
            <a:ahLst/>
            <a:cxnLst/>
            <a:rect l="l" t="t" r="r" b="b"/>
            <a:pathLst>
              <a:path w="3570986" h="2743200">
                <a:moveTo>
                  <a:pt x="0" y="2743200"/>
                </a:moveTo>
                <a:lnTo>
                  <a:pt x="3570986" y="2743200"/>
                </a:lnTo>
                <a:lnTo>
                  <a:pt x="3570986" y="0"/>
                </a:lnTo>
                <a:lnTo>
                  <a:pt x="0" y="0"/>
                </a:lnTo>
                <a:lnTo>
                  <a:pt x="0" y="2743200"/>
                </a:lnTo>
                <a:close/>
              </a:path>
            </a:pathLst>
          </a:custGeom>
          <a:ln w="28575">
            <a:solidFill>
              <a:srgbClr val="000000"/>
            </a:solidFill>
          </a:ln>
        </p:spPr>
        <p:txBody>
          <a:bodyPr wrap="square" lIns="0" tIns="0" rIns="0" bIns="0" rtlCol="0">
            <a:noAutofit/>
          </a:bodyPr>
          <a:lstStyle/>
          <a:p>
            <a:endParaRPr/>
          </a:p>
        </p:txBody>
      </p:sp>
      <p:sp>
        <p:nvSpPr>
          <p:cNvPr id="10" name="object 10"/>
          <p:cNvSpPr txBox="1"/>
          <p:nvPr/>
        </p:nvSpPr>
        <p:spPr>
          <a:xfrm>
            <a:off x="2136140" y="6015106"/>
            <a:ext cx="3274060" cy="157095"/>
          </a:xfrm>
          <a:prstGeom prst="rect">
            <a:avLst/>
          </a:prstGeom>
        </p:spPr>
        <p:txBody>
          <a:bodyPr wrap="square" lIns="0" tIns="0" rIns="0" bIns="0" rtlCol="0">
            <a:noAutofit/>
          </a:bodyPr>
          <a:lstStyle/>
          <a:p>
            <a:pPr marL="12700">
              <a:lnSpc>
                <a:spcPts val="1939"/>
              </a:lnSpc>
              <a:spcBef>
                <a:spcPts val="97"/>
              </a:spcBef>
            </a:pPr>
            <a:r>
              <a:rPr sz="2000" dirty="0">
                <a:cs typeface="Arial"/>
              </a:rPr>
              <a:t>VF01</a:t>
            </a:r>
            <a:r>
              <a:rPr sz="2000" spc="-9" dirty="0">
                <a:cs typeface="Arial"/>
              </a:rPr>
              <a:t> </a:t>
            </a:r>
            <a:r>
              <a:rPr sz="2000" dirty="0">
                <a:cs typeface="Arial"/>
              </a:rPr>
              <a:t>– Cr</a:t>
            </a:r>
            <a:r>
              <a:rPr sz="2000" spc="-4" dirty="0">
                <a:cs typeface="Arial"/>
              </a:rPr>
              <a:t>e</a:t>
            </a:r>
            <a:r>
              <a:rPr sz="2000" dirty="0">
                <a:cs typeface="Arial"/>
              </a:rPr>
              <a:t>ate</a:t>
            </a:r>
            <a:r>
              <a:rPr sz="2000" spc="9" dirty="0">
                <a:cs typeface="Arial"/>
              </a:rPr>
              <a:t> </a:t>
            </a:r>
            <a:r>
              <a:rPr sz="2000" dirty="0">
                <a:cs typeface="Arial"/>
              </a:rPr>
              <a:t>Bi</a:t>
            </a:r>
            <a:r>
              <a:rPr sz="2000" spc="-4" dirty="0">
                <a:cs typeface="Arial"/>
              </a:rPr>
              <a:t>l</a:t>
            </a:r>
            <a:r>
              <a:rPr sz="2000" dirty="0">
                <a:cs typeface="Arial"/>
              </a:rPr>
              <a:t>l</a:t>
            </a:r>
            <a:r>
              <a:rPr sz="2000" spc="-4" dirty="0">
                <a:cs typeface="Arial"/>
              </a:rPr>
              <a:t>i</a:t>
            </a:r>
            <a:r>
              <a:rPr sz="2000" dirty="0">
                <a:cs typeface="Arial"/>
              </a:rPr>
              <a:t>ng</a:t>
            </a:r>
          </a:p>
        </p:txBody>
      </p:sp>
      <p:sp>
        <p:nvSpPr>
          <p:cNvPr id="8" name="object 8"/>
          <p:cNvSpPr txBox="1"/>
          <p:nvPr/>
        </p:nvSpPr>
        <p:spPr>
          <a:xfrm>
            <a:off x="1966912" y="1281050"/>
            <a:ext cx="7650226" cy="1919351"/>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9617139" y="1281050"/>
            <a:ext cx="354647" cy="1919351"/>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1966913" y="3200400"/>
            <a:ext cx="4433887" cy="757174"/>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6400800" y="3200400"/>
            <a:ext cx="3216338" cy="757174"/>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9617139" y="3200400"/>
            <a:ext cx="354647" cy="757174"/>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1966913" y="3957574"/>
            <a:ext cx="4433887" cy="1986026"/>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6400800" y="3957574"/>
            <a:ext cx="3570986" cy="1986026"/>
          </a:xfrm>
          <a:prstGeom prst="rect">
            <a:avLst/>
          </a:prstGeom>
        </p:spPr>
        <p:txBody>
          <a:bodyPr wrap="square" lIns="0" tIns="0" rIns="0" bIns="0" rtlCol="0">
            <a:noAutofit/>
          </a:bodyPr>
          <a:lstStyle/>
          <a:p>
            <a:pPr marL="25400">
              <a:lnSpc>
                <a:spcPts val="1000"/>
              </a:lnSpc>
            </a:pPr>
            <a:endParaRPr sz="1000"/>
          </a:p>
        </p:txBody>
      </p:sp>
      <p:sp>
        <p:nvSpPr>
          <p:cNvPr id="9" name="Title 8"/>
          <p:cNvSpPr>
            <a:spLocks noGrp="1"/>
          </p:cNvSpPr>
          <p:nvPr>
            <p:ph type="title"/>
          </p:nvPr>
        </p:nvSpPr>
        <p:spPr/>
        <p:txBody>
          <a:bodyPr>
            <a:normAutofit fontScale="90000"/>
          </a:bodyPr>
          <a:lstStyle/>
          <a:p>
            <a:r>
              <a:rPr lang="en-US" sz="2700" dirty="0">
                <a:latin typeface="+mn-lt"/>
                <a:cs typeface="Arial"/>
              </a:rPr>
              <a:t>Bi</a:t>
            </a:r>
            <a:r>
              <a:rPr lang="en-US" sz="2700" spc="9" dirty="0">
                <a:latin typeface="+mn-lt"/>
                <a:cs typeface="Arial"/>
              </a:rPr>
              <a:t>l</a:t>
            </a:r>
            <a:r>
              <a:rPr lang="en-US" sz="2700" dirty="0">
                <a:latin typeface="+mn-lt"/>
                <a:cs typeface="Arial"/>
              </a:rPr>
              <a:t>l</a:t>
            </a:r>
            <a:r>
              <a:rPr lang="en-US" sz="2700" spc="9" dirty="0">
                <a:latin typeface="+mn-lt"/>
                <a:cs typeface="Arial"/>
              </a:rPr>
              <a:t>i</a:t>
            </a:r>
            <a:r>
              <a:rPr lang="en-US" sz="2700" dirty="0">
                <a:latin typeface="+mn-lt"/>
                <a:cs typeface="Arial"/>
              </a:rPr>
              <a:t>ng Document-Header Views</a:t>
            </a:r>
            <a:br>
              <a:rPr lang="en-US" sz="2800" dirty="0">
                <a:latin typeface="Arial"/>
                <a:cs typeface="Arial"/>
              </a:rPr>
            </a:b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p:nvPr/>
        </p:nvSpPr>
        <p:spPr>
          <a:xfrm>
            <a:off x="2057400" y="1295400"/>
            <a:ext cx="7583424" cy="2647950"/>
          </a:xfrm>
          <a:prstGeom prst="rect">
            <a:avLst/>
          </a:prstGeom>
          <a:blipFill>
            <a:blip r:embed="rId2" cstate="print"/>
            <a:stretch>
              <a:fillRect/>
            </a:stretch>
          </a:blipFill>
        </p:spPr>
        <p:txBody>
          <a:bodyPr wrap="square" lIns="0" tIns="0" rIns="0" bIns="0" rtlCol="0">
            <a:noAutofit/>
          </a:bodyPr>
          <a:lstStyle/>
          <a:p>
            <a:endParaRPr/>
          </a:p>
        </p:txBody>
      </p:sp>
      <p:sp>
        <p:nvSpPr>
          <p:cNvPr id="17" name="object 17"/>
          <p:cNvSpPr/>
          <p:nvPr/>
        </p:nvSpPr>
        <p:spPr>
          <a:xfrm>
            <a:off x="2043112" y="1281050"/>
            <a:ext cx="7612126" cy="2676525"/>
          </a:xfrm>
          <a:custGeom>
            <a:avLst/>
            <a:gdLst/>
            <a:ahLst/>
            <a:cxnLst/>
            <a:rect l="l" t="t" r="r" b="b"/>
            <a:pathLst>
              <a:path w="7612126" h="2676525">
                <a:moveTo>
                  <a:pt x="0" y="2676525"/>
                </a:moveTo>
                <a:lnTo>
                  <a:pt x="7612126" y="2676525"/>
                </a:lnTo>
                <a:lnTo>
                  <a:pt x="7612126" y="0"/>
                </a:lnTo>
                <a:lnTo>
                  <a:pt x="0" y="0"/>
                </a:lnTo>
                <a:lnTo>
                  <a:pt x="0" y="2676525"/>
                </a:lnTo>
                <a:close/>
              </a:path>
            </a:pathLst>
          </a:custGeom>
          <a:ln w="28575">
            <a:solidFill>
              <a:srgbClr val="000000"/>
            </a:solidFill>
          </a:ln>
        </p:spPr>
        <p:txBody>
          <a:bodyPr wrap="square" lIns="0" tIns="0" rIns="0" bIns="0" rtlCol="0">
            <a:noAutofit/>
          </a:bodyPr>
          <a:lstStyle/>
          <a:p>
            <a:endParaRPr/>
          </a:p>
        </p:txBody>
      </p:sp>
      <p:sp>
        <p:nvSpPr>
          <p:cNvPr id="18" name="object 18"/>
          <p:cNvSpPr/>
          <p:nvPr/>
        </p:nvSpPr>
        <p:spPr>
          <a:xfrm>
            <a:off x="4953000" y="3733800"/>
            <a:ext cx="3657600" cy="2819400"/>
          </a:xfrm>
          <a:prstGeom prst="rect">
            <a:avLst/>
          </a:prstGeom>
          <a:blipFill>
            <a:blip r:embed="rId3" cstate="print"/>
            <a:stretch>
              <a:fillRect/>
            </a:stretch>
          </a:blipFill>
        </p:spPr>
        <p:txBody>
          <a:bodyPr wrap="square" lIns="0" tIns="0" rIns="0" bIns="0" rtlCol="0">
            <a:noAutofit/>
          </a:bodyPr>
          <a:lstStyle/>
          <a:p>
            <a:endParaRPr/>
          </a:p>
        </p:txBody>
      </p:sp>
      <p:sp>
        <p:nvSpPr>
          <p:cNvPr id="19" name="object 19"/>
          <p:cNvSpPr/>
          <p:nvPr/>
        </p:nvSpPr>
        <p:spPr>
          <a:xfrm>
            <a:off x="4955667" y="3745598"/>
            <a:ext cx="3651377" cy="2795016"/>
          </a:xfrm>
          <a:custGeom>
            <a:avLst/>
            <a:gdLst/>
            <a:ahLst/>
            <a:cxnLst/>
            <a:rect l="l" t="t" r="r" b="b"/>
            <a:pathLst>
              <a:path w="3651377" h="2795016">
                <a:moveTo>
                  <a:pt x="0" y="2795016"/>
                </a:moveTo>
                <a:lnTo>
                  <a:pt x="3651377" y="2795016"/>
                </a:lnTo>
                <a:lnTo>
                  <a:pt x="3651377" y="0"/>
                </a:lnTo>
                <a:lnTo>
                  <a:pt x="0" y="0"/>
                </a:lnTo>
                <a:lnTo>
                  <a:pt x="0" y="2795016"/>
                </a:lnTo>
                <a:close/>
              </a:path>
            </a:pathLst>
          </a:custGeom>
          <a:ln w="28575">
            <a:solidFill>
              <a:srgbClr val="000000"/>
            </a:solidFill>
          </a:ln>
        </p:spPr>
        <p:txBody>
          <a:bodyPr wrap="square" lIns="0" tIns="0" rIns="0" bIns="0" rtlCol="0">
            <a:noAutofit/>
          </a:bodyPr>
          <a:lstStyle/>
          <a:p>
            <a:endParaRPr/>
          </a:p>
        </p:txBody>
      </p:sp>
      <p:sp>
        <p:nvSpPr>
          <p:cNvPr id="8" name="object 8"/>
          <p:cNvSpPr txBox="1"/>
          <p:nvPr/>
        </p:nvSpPr>
        <p:spPr>
          <a:xfrm>
            <a:off x="2043112" y="1281050"/>
            <a:ext cx="7612126" cy="2464549"/>
          </a:xfrm>
          <a:prstGeom prst="rect">
            <a:avLst/>
          </a:prstGeom>
        </p:spPr>
        <p:txBody>
          <a:bodyPr wrap="square" lIns="0" tIns="0" rIns="0" bIns="0" rtlCol="0">
            <a:noAutofit/>
          </a:bodyPr>
          <a:lstStyle/>
          <a:p>
            <a:pPr marL="25400">
              <a:lnSpc>
                <a:spcPts val="1000"/>
              </a:lnSpc>
            </a:pPr>
            <a:endParaRPr sz="1000"/>
          </a:p>
        </p:txBody>
      </p:sp>
      <p:sp>
        <p:nvSpPr>
          <p:cNvPr id="7" name="object 7"/>
          <p:cNvSpPr txBox="1"/>
          <p:nvPr/>
        </p:nvSpPr>
        <p:spPr>
          <a:xfrm>
            <a:off x="2043112" y="3745599"/>
            <a:ext cx="2912554" cy="211975"/>
          </a:xfrm>
          <a:prstGeom prst="rect">
            <a:avLst/>
          </a:prstGeom>
        </p:spPr>
        <p:txBody>
          <a:bodyPr wrap="square" lIns="0" tIns="0" rIns="0" bIns="0" rtlCol="0">
            <a:noAutofit/>
          </a:bodyPr>
          <a:lstStyle/>
          <a:p>
            <a:pPr marL="25400">
              <a:lnSpc>
                <a:spcPts val="1000"/>
              </a:lnSpc>
            </a:pPr>
            <a:endParaRPr sz="1000"/>
          </a:p>
        </p:txBody>
      </p:sp>
      <p:sp>
        <p:nvSpPr>
          <p:cNvPr id="6" name="object 6"/>
          <p:cNvSpPr txBox="1"/>
          <p:nvPr/>
        </p:nvSpPr>
        <p:spPr>
          <a:xfrm>
            <a:off x="4955667" y="3745599"/>
            <a:ext cx="3651377" cy="211975"/>
          </a:xfrm>
          <a:prstGeom prst="rect">
            <a:avLst/>
          </a:prstGeom>
        </p:spPr>
        <p:txBody>
          <a:bodyPr wrap="square" lIns="0" tIns="0" rIns="0" bIns="0" rtlCol="0">
            <a:noAutofit/>
          </a:bodyPr>
          <a:lstStyle/>
          <a:p>
            <a:pPr marL="25400">
              <a:lnSpc>
                <a:spcPts val="1000"/>
              </a:lnSpc>
            </a:pPr>
            <a:endParaRPr sz="1000"/>
          </a:p>
        </p:txBody>
      </p:sp>
      <p:sp>
        <p:nvSpPr>
          <p:cNvPr id="5" name="object 5"/>
          <p:cNvSpPr txBox="1"/>
          <p:nvPr/>
        </p:nvSpPr>
        <p:spPr>
          <a:xfrm>
            <a:off x="8607044" y="3745599"/>
            <a:ext cx="1048194" cy="211975"/>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2028698" y="3352800"/>
            <a:ext cx="2912554" cy="2583040"/>
          </a:xfrm>
          <a:prstGeom prst="rect">
            <a:avLst/>
          </a:prstGeom>
        </p:spPr>
        <p:txBody>
          <a:bodyPr wrap="square" lIns="0" tIns="0" rIns="0" bIns="0" rtlCol="0">
            <a:noAutofit/>
          </a:bodyPr>
          <a:lstStyle/>
          <a:p>
            <a:pPr>
              <a:lnSpc>
                <a:spcPts val="1000"/>
              </a:lnSpc>
            </a:pPr>
            <a:endParaRPr sz="1000" dirty="0"/>
          </a:p>
          <a:p>
            <a:pPr marL="140779">
              <a:lnSpc>
                <a:spcPct val="95825"/>
              </a:lnSpc>
              <a:spcBef>
                <a:spcPts val="16150"/>
              </a:spcBef>
            </a:pPr>
            <a:r>
              <a:rPr dirty="0">
                <a:cs typeface="Arial"/>
              </a:rPr>
              <a:t>VF01</a:t>
            </a:r>
            <a:r>
              <a:rPr spc="-14" dirty="0">
                <a:cs typeface="Arial"/>
              </a:rPr>
              <a:t> </a:t>
            </a:r>
            <a:r>
              <a:rPr dirty="0">
                <a:cs typeface="Arial"/>
              </a:rPr>
              <a:t>–</a:t>
            </a:r>
            <a:r>
              <a:rPr spc="-9" dirty="0">
                <a:cs typeface="Arial"/>
              </a:rPr>
              <a:t> </a:t>
            </a:r>
            <a:r>
              <a:rPr dirty="0">
                <a:cs typeface="Arial"/>
              </a:rPr>
              <a:t>Cr</a:t>
            </a:r>
            <a:r>
              <a:rPr spc="4" dirty="0">
                <a:cs typeface="Arial"/>
              </a:rPr>
              <a:t>e</a:t>
            </a:r>
            <a:r>
              <a:rPr dirty="0">
                <a:cs typeface="Arial"/>
              </a:rPr>
              <a:t>a</a:t>
            </a:r>
            <a:r>
              <a:rPr spc="4" dirty="0">
                <a:cs typeface="Arial"/>
              </a:rPr>
              <a:t>t</a:t>
            </a:r>
            <a:r>
              <a:rPr dirty="0">
                <a:cs typeface="Arial"/>
              </a:rPr>
              <a:t>e</a:t>
            </a:r>
            <a:r>
              <a:rPr spc="-25" dirty="0">
                <a:cs typeface="Arial"/>
              </a:rPr>
              <a:t> </a:t>
            </a:r>
            <a:r>
              <a:rPr dirty="0">
                <a:cs typeface="Arial"/>
              </a:rPr>
              <a:t>Bil</a:t>
            </a:r>
            <a:r>
              <a:rPr spc="-9" dirty="0">
                <a:cs typeface="Arial"/>
              </a:rPr>
              <a:t>l</a:t>
            </a:r>
            <a:r>
              <a:rPr dirty="0">
                <a:cs typeface="Arial"/>
              </a:rPr>
              <a:t>ing</a:t>
            </a:r>
          </a:p>
        </p:txBody>
      </p:sp>
      <p:sp>
        <p:nvSpPr>
          <p:cNvPr id="3" name="object 3"/>
          <p:cNvSpPr txBox="1"/>
          <p:nvPr/>
        </p:nvSpPr>
        <p:spPr>
          <a:xfrm>
            <a:off x="4955667" y="3957574"/>
            <a:ext cx="3651377" cy="2583040"/>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8607044" y="3957574"/>
            <a:ext cx="1048194" cy="2583040"/>
          </a:xfrm>
          <a:prstGeom prst="rect">
            <a:avLst/>
          </a:prstGeom>
        </p:spPr>
        <p:txBody>
          <a:bodyPr wrap="square" lIns="0" tIns="0" rIns="0" bIns="0" rtlCol="0">
            <a:noAutofit/>
          </a:bodyPr>
          <a:lstStyle/>
          <a:p>
            <a:pPr marL="25400">
              <a:lnSpc>
                <a:spcPts val="1000"/>
              </a:lnSpc>
            </a:pPr>
            <a:endParaRPr sz="1000"/>
          </a:p>
        </p:txBody>
      </p:sp>
      <p:sp>
        <p:nvSpPr>
          <p:cNvPr id="9" name="Title 8"/>
          <p:cNvSpPr>
            <a:spLocks noGrp="1"/>
          </p:cNvSpPr>
          <p:nvPr>
            <p:ph type="title"/>
          </p:nvPr>
        </p:nvSpPr>
        <p:spPr/>
        <p:txBody>
          <a:bodyPr>
            <a:normAutofit fontScale="90000"/>
          </a:bodyPr>
          <a:lstStyle/>
          <a:p>
            <a:r>
              <a:rPr lang="en-US" sz="2700" dirty="0">
                <a:latin typeface="+mn-lt"/>
                <a:cs typeface="Arial"/>
              </a:rPr>
              <a:t>Billing Document-Item Views</a:t>
            </a:r>
            <a:br>
              <a:rPr lang="en-US" sz="2800" dirty="0">
                <a:latin typeface="Arial"/>
                <a:cs typeface="Arial"/>
              </a:rPr>
            </a:b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p:nvPr/>
        </p:nvSpPr>
        <p:spPr>
          <a:xfrm>
            <a:off x="6781801" y="2971800"/>
            <a:ext cx="3275457" cy="3276600"/>
          </a:xfrm>
          <a:prstGeom prst="rect">
            <a:avLst/>
          </a:prstGeom>
          <a:blipFill>
            <a:blip r:embed="rId2" cstate="print"/>
            <a:stretch>
              <a:fillRect/>
            </a:stretch>
          </a:blipFill>
        </p:spPr>
        <p:txBody>
          <a:bodyPr wrap="square" lIns="0" tIns="0" rIns="0" bIns="0" rtlCol="0">
            <a:noAutofit/>
          </a:bodyPr>
          <a:lstStyle/>
          <a:p>
            <a:endParaRPr/>
          </a:p>
        </p:txBody>
      </p:sp>
      <p:sp>
        <p:nvSpPr>
          <p:cNvPr id="17" name="object 17"/>
          <p:cNvSpPr/>
          <p:nvPr/>
        </p:nvSpPr>
        <p:spPr>
          <a:xfrm>
            <a:off x="6781800" y="2971800"/>
            <a:ext cx="3276600" cy="3276600"/>
          </a:xfrm>
          <a:custGeom>
            <a:avLst/>
            <a:gdLst/>
            <a:ahLst/>
            <a:cxnLst/>
            <a:rect l="l" t="t" r="r" b="b"/>
            <a:pathLst>
              <a:path w="3276600" h="3276600">
                <a:moveTo>
                  <a:pt x="0" y="3276600"/>
                </a:moveTo>
                <a:lnTo>
                  <a:pt x="3276600" y="3276600"/>
                </a:lnTo>
                <a:lnTo>
                  <a:pt x="3276600" y="0"/>
                </a:lnTo>
                <a:lnTo>
                  <a:pt x="0" y="0"/>
                </a:lnTo>
                <a:lnTo>
                  <a:pt x="0" y="3276600"/>
                </a:lnTo>
                <a:close/>
              </a:path>
            </a:pathLst>
          </a:custGeom>
          <a:ln w="28575">
            <a:solidFill>
              <a:srgbClr val="000000"/>
            </a:solidFill>
          </a:ln>
        </p:spPr>
        <p:txBody>
          <a:bodyPr wrap="square" lIns="0" tIns="0" rIns="0" bIns="0" rtlCol="0">
            <a:noAutofit/>
          </a:bodyPr>
          <a:lstStyle/>
          <a:p>
            <a:endParaRPr/>
          </a:p>
        </p:txBody>
      </p:sp>
      <p:sp>
        <p:nvSpPr>
          <p:cNvPr id="18" name="object 18"/>
          <p:cNvSpPr/>
          <p:nvPr/>
        </p:nvSpPr>
        <p:spPr>
          <a:xfrm>
            <a:off x="6705600" y="2286000"/>
            <a:ext cx="2286000" cy="1338326"/>
          </a:xfrm>
          <a:custGeom>
            <a:avLst/>
            <a:gdLst/>
            <a:ahLst/>
            <a:cxnLst/>
            <a:rect l="l" t="t" r="r" b="b"/>
            <a:pathLst>
              <a:path w="2286000" h="1338326">
                <a:moveTo>
                  <a:pt x="0" y="311150"/>
                </a:moveTo>
                <a:lnTo>
                  <a:pt x="0" y="444500"/>
                </a:lnTo>
                <a:lnTo>
                  <a:pt x="961" y="457641"/>
                </a:lnTo>
                <a:lnTo>
                  <a:pt x="16648" y="496350"/>
                </a:lnTo>
                <a:lnTo>
                  <a:pt x="47650" y="523292"/>
                </a:lnTo>
                <a:lnTo>
                  <a:pt x="88900" y="533400"/>
                </a:lnTo>
                <a:lnTo>
                  <a:pt x="1333500" y="533400"/>
                </a:lnTo>
                <a:lnTo>
                  <a:pt x="2079625" y="1338326"/>
                </a:lnTo>
                <a:lnTo>
                  <a:pt x="1905000" y="533400"/>
                </a:lnTo>
                <a:lnTo>
                  <a:pt x="2197100" y="533400"/>
                </a:lnTo>
                <a:lnTo>
                  <a:pt x="2210241" y="532438"/>
                </a:lnTo>
                <a:lnTo>
                  <a:pt x="2248950" y="516751"/>
                </a:lnTo>
                <a:lnTo>
                  <a:pt x="2275892" y="485749"/>
                </a:lnTo>
                <a:lnTo>
                  <a:pt x="2286000" y="444500"/>
                </a:lnTo>
                <a:lnTo>
                  <a:pt x="2286000" y="88900"/>
                </a:lnTo>
                <a:lnTo>
                  <a:pt x="2276532" y="48895"/>
                </a:lnTo>
                <a:lnTo>
                  <a:pt x="2250072" y="17467"/>
                </a:lnTo>
                <a:lnTo>
                  <a:pt x="2211675" y="1185"/>
                </a:lnTo>
                <a:lnTo>
                  <a:pt x="2197100" y="0"/>
                </a:lnTo>
                <a:lnTo>
                  <a:pt x="88900" y="0"/>
                </a:lnTo>
                <a:lnTo>
                  <a:pt x="48895" y="9467"/>
                </a:lnTo>
                <a:lnTo>
                  <a:pt x="17467" y="35927"/>
                </a:lnTo>
                <a:lnTo>
                  <a:pt x="1185" y="74324"/>
                </a:lnTo>
                <a:lnTo>
                  <a:pt x="0" y="88900"/>
                </a:lnTo>
                <a:lnTo>
                  <a:pt x="0" y="311150"/>
                </a:lnTo>
                <a:close/>
              </a:path>
            </a:pathLst>
          </a:custGeom>
          <a:solidFill>
            <a:srgbClr val="FFFF99"/>
          </a:solidFill>
        </p:spPr>
        <p:txBody>
          <a:bodyPr wrap="square" lIns="0" tIns="0" rIns="0" bIns="0" rtlCol="0">
            <a:noAutofit/>
          </a:bodyPr>
          <a:lstStyle/>
          <a:p>
            <a:endParaRPr/>
          </a:p>
        </p:txBody>
      </p:sp>
      <p:sp>
        <p:nvSpPr>
          <p:cNvPr id="14" name="object 14"/>
          <p:cNvSpPr/>
          <p:nvPr/>
        </p:nvSpPr>
        <p:spPr>
          <a:xfrm>
            <a:off x="2057400" y="1828800"/>
            <a:ext cx="4191000" cy="3657600"/>
          </a:xfrm>
          <a:prstGeom prst="rect">
            <a:avLst/>
          </a:prstGeom>
          <a:blipFill>
            <a:blip r:embed="rId3" cstate="print"/>
            <a:stretch>
              <a:fillRect/>
            </a:stretch>
          </a:blipFill>
        </p:spPr>
        <p:txBody>
          <a:bodyPr wrap="square" lIns="0" tIns="0" rIns="0" bIns="0" rtlCol="0">
            <a:noAutofit/>
          </a:bodyPr>
          <a:lstStyle/>
          <a:p>
            <a:endParaRPr/>
          </a:p>
        </p:txBody>
      </p:sp>
      <p:sp>
        <p:nvSpPr>
          <p:cNvPr id="15" name="object 15"/>
          <p:cNvSpPr/>
          <p:nvPr/>
        </p:nvSpPr>
        <p:spPr>
          <a:xfrm>
            <a:off x="2043113" y="1814450"/>
            <a:ext cx="4219575" cy="3686175"/>
          </a:xfrm>
          <a:custGeom>
            <a:avLst/>
            <a:gdLst/>
            <a:ahLst/>
            <a:cxnLst/>
            <a:rect l="l" t="t" r="r" b="b"/>
            <a:pathLst>
              <a:path w="4219575" h="3686175">
                <a:moveTo>
                  <a:pt x="0" y="3686175"/>
                </a:moveTo>
                <a:lnTo>
                  <a:pt x="4219575" y="3686175"/>
                </a:lnTo>
                <a:lnTo>
                  <a:pt x="4219575" y="0"/>
                </a:lnTo>
                <a:lnTo>
                  <a:pt x="0" y="0"/>
                </a:lnTo>
                <a:lnTo>
                  <a:pt x="0" y="3686175"/>
                </a:lnTo>
                <a:close/>
              </a:path>
            </a:pathLst>
          </a:custGeom>
          <a:ln w="28575">
            <a:solidFill>
              <a:srgbClr val="000000"/>
            </a:solidFill>
          </a:ln>
        </p:spPr>
        <p:txBody>
          <a:bodyPr wrap="square" lIns="0" tIns="0" rIns="0" bIns="0" rtlCol="0">
            <a:noAutofit/>
          </a:bodyPr>
          <a:lstStyle/>
          <a:p>
            <a:endParaRPr/>
          </a:p>
        </p:txBody>
      </p:sp>
      <p:sp>
        <p:nvSpPr>
          <p:cNvPr id="8" name="object 8"/>
          <p:cNvSpPr txBox="1"/>
          <p:nvPr/>
        </p:nvSpPr>
        <p:spPr>
          <a:xfrm>
            <a:off x="6554216" y="1490088"/>
            <a:ext cx="3730625" cy="528320"/>
          </a:xfrm>
          <a:prstGeom prst="rect">
            <a:avLst/>
          </a:prstGeom>
        </p:spPr>
        <p:txBody>
          <a:bodyPr wrap="square" lIns="0" tIns="0" rIns="0" bIns="0" rtlCol="0">
            <a:noAutofit/>
          </a:bodyPr>
          <a:lstStyle/>
          <a:p>
            <a:pPr marL="12700">
              <a:spcBef>
                <a:spcPts val="97"/>
              </a:spcBef>
            </a:pPr>
            <a:r>
              <a:rPr spc="-184" dirty="0">
                <a:cs typeface="Arial"/>
              </a:rPr>
              <a:t>T</a:t>
            </a:r>
            <a:r>
              <a:rPr dirty="0">
                <a:cs typeface="Arial"/>
              </a:rPr>
              <a:t>o</a:t>
            </a:r>
            <a:r>
              <a:rPr spc="-25" dirty="0">
                <a:cs typeface="Arial"/>
              </a:rPr>
              <a:t> </a:t>
            </a:r>
            <a:r>
              <a:rPr dirty="0">
                <a:cs typeface="Arial"/>
              </a:rPr>
              <a:t>vi</a:t>
            </a:r>
            <a:r>
              <a:rPr spc="-9" dirty="0">
                <a:cs typeface="Arial"/>
              </a:rPr>
              <a:t>e</a:t>
            </a:r>
            <a:r>
              <a:rPr dirty="0">
                <a:cs typeface="Arial"/>
              </a:rPr>
              <a:t>w</a:t>
            </a:r>
            <a:r>
              <a:rPr spc="14" dirty="0">
                <a:cs typeface="Arial"/>
              </a:rPr>
              <a:t> </a:t>
            </a:r>
            <a:r>
              <a:rPr dirty="0">
                <a:cs typeface="Arial"/>
              </a:rPr>
              <a:t>acc</a:t>
            </a:r>
            <a:r>
              <a:rPr spc="-9" dirty="0">
                <a:cs typeface="Arial"/>
              </a:rPr>
              <a:t>o</a:t>
            </a:r>
            <a:r>
              <a:rPr dirty="0">
                <a:cs typeface="Arial"/>
              </a:rPr>
              <a:t>u</a:t>
            </a:r>
            <a:r>
              <a:rPr spc="-9" dirty="0">
                <a:cs typeface="Arial"/>
              </a:rPr>
              <a:t>n</a:t>
            </a:r>
            <a:r>
              <a:rPr dirty="0">
                <a:cs typeface="Arial"/>
              </a:rPr>
              <a:t>ting</a:t>
            </a:r>
            <a:r>
              <a:rPr spc="4" dirty="0">
                <a:cs typeface="Arial"/>
              </a:rPr>
              <a:t> </a:t>
            </a:r>
            <a:r>
              <a:rPr dirty="0">
                <a:cs typeface="Arial"/>
              </a:rPr>
              <a:t>d</a:t>
            </a:r>
            <a:r>
              <a:rPr spc="-9" dirty="0">
                <a:cs typeface="Arial"/>
              </a:rPr>
              <a:t>o</a:t>
            </a:r>
            <a:r>
              <a:rPr dirty="0">
                <a:cs typeface="Arial"/>
              </a:rPr>
              <a:t>cum</a:t>
            </a:r>
            <a:r>
              <a:rPr spc="-4" dirty="0">
                <a:cs typeface="Arial"/>
              </a:rPr>
              <a:t>e</a:t>
            </a:r>
            <a:r>
              <a:rPr dirty="0">
                <a:cs typeface="Arial"/>
              </a:rPr>
              <a:t>nt,</a:t>
            </a:r>
            <a:r>
              <a:rPr lang="en-US" dirty="0">
                <a:cs typeface="Arial"/>
              </a:rPr>
              <a:t> click on </a:t>
            </a:r>
            <a:r>
              <a:rPr dirty="0">
                <a:cs typeface="Arial"/>
              </a:rPr>
              <a:t>‘Acc</a:t>
            </a:r>
            <a:r>
              <a:rPr spc="-4" dirty="0">
                <a:cs typeface="Arial"/>
              </a:rPr>
              <a:t>o</a:t>
            </a:r>
            <a:r>
              <a:rPr dirty="0">
                <a:cs typeface="Arial"/>
              </a:rPr>
              <a:t>u</a:t>
            </a:r>
            <a:r>
              <a:rPr spc="-9" dirty="0">
                <a:cs typeface="Arial"/>
              </a:rPr>
              <a:t>n</a:t>
            </a:r>
            <a:r>
              <a:rPr dirty="0">
                <a:cs typeface="Arial"/>
              </a:rPr>
              <a:t>ting</a:t>
            </a:r>
            <a:r>
              <a:rPr spc="4" dirty="0">
                <a:cs typeface="Arial"/>
              </a:rPr>
              <a:t> </a:t>
            </a:r>
            <a:r>
              <a:rPr sz="2200" dirty="0">
                <a:latin typeface="Arial"/>
                <a:cs typeface="Arial"/>
              </a:rPr>
              <a:t>’</a:t>
            </a:r>
          </a:p>
        </p:txBody>
      </p:sp>
      <p:sp>
        <p:nvSpPr>
          <p:cNvPr id="5" name="object 5"/>
          <p:cNvSpPr txBox="1"/>
          <p:nvPr/>
        </p:nvSpPr>
        <p:spPr>
          <a:xfrm>
            <a:off x="6967220" y="2373289"/>
            <a:ext cx="1775136" cy="417068"/>
          </a:xfrm>
          <a:prstGeom prst="rect">
            <a:avLst/>
          </a:prstGeom>
        </p:spPr>
        <p:txBody>
          <a:bodyPr wrap="square" lIns="0" tIns="0" rIns="0" bIns="0" rtlCol="0">
            <a:noAutofit/>
          </a:bodyPr>
          <a:lstStyle/>
          <a:p>
            <a:pPr algn="ctr">
              <a:lnSpc>
                <a:spcPts val="1535"/>
              </a:lnSpc>
              <a:spcBef>
                <a:spcPts val="76"/>
              </a:spcBef>
            </a:pPr>
            <a:r>
              <a:rPr sz="1400" dirty="0">
                <a:latin typeface="Arial"/>
                <a:cs typeface="Arial"/>
              </a:rPr>
              <a:t>A</a:t>
            </a:r>
            <a:r>
              <a:rPr sz="1400" spc="4" dirty="0">
                <a:latin typeface="Arial"/>
                <a:cs typeface="Arial"/>
              </a:rPr>
              <a:t>cc</a:t>
            </a:r>
            <a:r>
              <a:rPr sz="1400" dirty="0">
                <a:latin typeface="Arial"/>
                <a:cs typeface="Arial"/>
              </a:rPr>
              <a:t>ounti</a:t>
            </a:r>
            <a:r>
              <a:rPr sz="1400" spc="-9" dirty="0">
                <a:latin typeface="Arial"/>
                <a:cs typeface="Arial"/>
              </a:rPr>
              <a:t>n</a:t>
            </a:r>
            <a:r>
              <a:rPr sz="1400" dirty="0">
                <a:latin typeface="Arial"/>
                <a:cs typeface="Arial"/>
              </a:rPr>
              <a:t>g</a:t>
            </a:r>
            <a:r>
              <a:rPr sz="1400" spc="-50" dirty="0">
                <a:latin typeface="Arial"/>
                <a:cs typeface="Arial"/>
              </a:rPr>
              <a:t> </a:t>
            </a:r>
            <a:r>
              <a:rPr sz="1400" spc="-4" dirty="0">
                <a:latin typeface="Arial"/>
                <a:cs typeface="Arial"/>
              </a:rPr>
              <a:t>D</a:t>
            </a:r>
            <a:r>
              <a:rPr sz="1400" dirty="0">
                <a:latin typeface="Arial"/>
                <a:cs typeface="Arial"/>
              </a:rPr>
              <a:t>o</a:t>
            </a:r>
            <a:r>
              <a:rPr sz="1400" spc="4" dirty="0">
                <a:latin typeface="Arial"/>
                <a:cs typeface="Arial"/>
              </a:rPr>
              <a:t>c</a:t>
            </a:r>
            <a:r>
              <a:rPr sz="1400" dirty="0">
                <a:latin typeface="Arial"/>
                <a:cs typeface="Arial"/>
              </a:rPr>
              <a:t>u</a:t>
            </a:r>
            <a:r>
              <a:rPr sz="1400" spc="-4" dirty="0">
                <a:latin typeface="Arial"/>
                <a:cs typeface="Arial"/>
              </a:rPr>
              <a:t>m</a:t>
            </a:r>
            <a:r>
              <a:rPr sz="1400" dirty="0">
                <a:latin typeface="Arial"/>
                <a:cs typeface="Arial"/>
              </a:rPr>
              <a:t>ent</a:t>
            </a:r>
            <a:endParaRPr sz="1400">
              <a:latin typeface="Arial"/>
              <a:cs typeface="Arial"/>
            </a:endParaRPr>
          </a:p>
          <a:p>
            <a:pPr marL="582764" marR="595494" algn="ctr">
              <a:lnSpc>
                <a:spcPct val="95825"/>
              </a:lnSpc>
            </a:pPr>
            <a:r>
              <a:rPr sz="1400" spc="-4" dirty="0">
                <a:latin typeface="Arial"/>
                <a:cs typeface="Arial"/>
              </a:rPr>
              <a:t>D</a:t>
            </a:r>
            <a:r>
              <a:rPr sz="1400" dirty="0">
                <a:latin typeface="Arial"/>
                <a:cs typeface="Arial"/>
              </a:rPr>
              <a:t>e</a:t>
            </a:r>
            <a:r>
              <a:rPr sz="1400" spc="4" dirty="0">
                <a:latin typeface="Arial"/>
                <a:cs typeface="Arial"/>
              </a:rPr>
              <a:t>t</a:t>
            </a:r>
            <a:r>
              <a:rPr sz="1400" dirty="0">
                <a:latin typeface="Arial"/>
                <a:cs typeface="Arial"/>
              </a:rPr>
              <a:t>ails</a:t>
            </a:r>
            <a:endParaRPr sz="1400">
              <a:latin typeface="Arial"/>
              <a:cs typeface="Arial"/>
            </a:endParaRPr>
          </a:p>
        </p:txBody>
      </p:sp>
      <p:sp>
        <p:nvSpPr>
          <p:cNvPr id="3" name="object 3"/>
          <p:cNvSpPr txBox="1"/>
          <p:nvPr/>
        </p:nvSpPr>
        <p:spPr>
          <a:xfrm>
            <a:off x="6781800" y="2971800"/>
            <a:ext cx="3276600" cy="3276600"/>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2043113" y="1814450"/>
            <a:ext cx="4219575" cy="3686175"/>
          </a:xfrm>
          <a:prstGeom prst="rect">
            <a:avLst/>
          </a:prstGeom>
        </p:spPr>
        <p:txBody>
          <a:bodyPr wrap="square" lIns="0" tIns="0" rIns="0" bIns="0" rtlCol="0">
            <a:noAutofit/>
          </a:bodyPr>
          <a:lstStyle/>
          <a:p>
            <a:pPr marL="25400">
              <a:lnSpc>
                <a:spcPts val="1000"/>
              </a:lnSpc>
            </a:pPr>
            <a:endParaRPr sz="1000"/>
          </a:p>
        </p:txBody>
      </p:sp>
      <p:sp>
        <p:nvSpPr>
          <p:cNvPr id="4" name="Title 3"/>
          <p:cNvSpPr>
            <a:spLocks noGrp="1"/>
          </p:cNvSpPr>
          <p:nvPr>
            <p:ph type="title"/>
          </p:nvPr>
        </p:nvSpPr>
        <p:spPr/>
        <p:txBody>
          <a:bodyPr>
            <a:normAutofit fontScale="90000"/>
          </a:bodyPr>
          <a:lstStyle/>
          <a:p>
            <a:r>
              <a:rPr lang="en-US" sz="2700" dirty="0">
                <a:latin typeface="+mn-lt"/>
                <a:cs typeface="Arial"/>
              </a:rPr>
              <a:t>Billing-Associated Functions</a:t>
            </a:r>
            <a:br>
              <a:rPr lang="en-US" sz="2800" dirty="0">
                <a:latin typeface="Arial"/>
                <a:cs typeface="Arial"/>
              </a:rPr>
            </a:b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5" name="Content Placeholder 2"/>
          <p:cNvSpPr>
            <a:spLocks noGrp="1"/>
          </p:cNvSpPr>
          <p:nvPr>
            <p:ph type="body" sz="quarter" idx="11"/>
          </p:nvPr>
        </p:nvSpPr>
        <p:spPr>
          <a:xfrm>
            <a:off x="7234708" y="1209358"/>
            <a:ext cx="4195292" cy="3507114"/>
          </a:xfrm>
          <a:prstGeom prst="rect">
            <a:avLst/>
          </a:prstGeom>
        </p:spPr>
        <p:txBody>
          <a:bodyPr wrap="square">
            <a:spAutoFit/>
          </a:bodyPr>
          <a:lstStyle/>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 Document-Item Views</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Billing-Associated Functions</a:t>
            </a:r>
          </a:p>
          <a:p>
            <a:pPr marL="719138" lvl="1" indent="-342900" defTabSz="914400">
              <a:lnSpc>
                <a:spcPct val="100000"/>
              </a:lnSpc>
              <a:spcBef>
                <a:spcPts val="600"/>
              </a:spcBef>
              <a:buClr>
                <a:schemeClr val="accent2"/>
              </a:buClr>
              <a:buFont typeface="Arial" panose="020B0604020202020204" pitchFamily="34" charset="0"/>
              <a:buChar char="•"/>
            </a:pPr>
            <a:r>
              <a:rPr lang="en-US" altLang="en-US" sz="1400" dirty="0">
                <a:solidFill>
                  <a:prstClr val="black"/>
                </a:solidFill>
              </a:rPr>
              <a:t>Copy Controls</a:t>
            </a:r>
          </a:p>
          <a:p>
            <a:pPr marL="719138" lvl="1" indent="-342900" defTabSz="914400">
              <a:lnSpc>
                <a:spcPct val="100000"/>
              </a:lnSpc>
              <a:spcBef>
                <a:spcPts val="600"/>
              </a:spcBef>
              <a:buClr>
                <a:schemeClr val="accent2"/>
              </a:buClr>
              <a:buFont typeface="Arial" panose="020B0604020202020204" pitchFamily="34" charset="0"/>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Special Billing Process</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Transaction Codes</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Fiori Apps</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Tips and Tricks</a:t>
            </a:r>
          </a:p>
          <a:p>
            <a:pPr marL="257175" lvl="1" indent="-257175" defTabSz="914400">
              <a:spcBef>
                <a:spcPts val="500"/>
              </a:spcBef>
              <a:buClr>
                <a:srgbClr val="00B0F0"/>
              </a:buClr>
              <a:buFont typeface="Wingdings" panose="05000000000000000000" pitchFamily="2" charset="2"/>
              <a:buChar char="§"/>
            </a:pPr>
            <a:endParaRPr lang="en-US" altLang="en-US" sz="1400" dirty="0">
              <a:solidFill>
                <a:prstClr val="black"/>
              </a:solidFill>
            </a:endParaRPr>
          </a:p>
          <a:p>
            <a:pPr marL="257175" lvl="1" indent="-257175" defTabSz="914400">
              <a:spcBef>
                <a:spcPts val="500"/>
              </a:spcBef>
              <a:buClr>
                <a:srgbClr val="00B0F0"/>
              </a:buClr>
              <a:buFont typeface="Wingdings" panose="05000000000000000000" pitchFamily="2" charset="2"/>
              <a:buChar char="§"/>
            </a:pPr>
            <a:r>
              <a:rPr lang="en-US" altLang="en-US" sz="1400" dirty="0">
                <a:solidFill>
                  <a:prstClr val="black"/>
                </a:solidFill>
              </a:rPr>
              <a:t>Additional Info</a:t>
            </a:r>
          </a:p>
        </p:txBody>
      </p:sp>
      <p:sp>
        <p:nvSpPr>
          <p:cNvPr id="2" name="Title 1"/>
          <p:cNvSpPr>
            <a:spLocks noGrp="1"/>
          </p:cNvSpPr>
          <p:nvPr>
            <p:ph type="title" idx="4294967295"/>
          </p:nvPr>
        </p:nvSpPr>
        <p:spPr>
          <a:xfrm>
            <a:off x="609600" y="810419"/>
            <a:ext cx="3810000" cy="858838"/>
          </a:xfrm>
        </p:spPr>
        <p:txBody>
          <a:bodyPr vert="horz" lIns="0" tIns="180000" rIns="0" bIns="0" rtlCol="0" anchor="t">
            <a:noAutofit/>
          </a:bodyPr>
          <a:lstStyle/>
          <a:p>
            <a:pPr defTabSz="914400">
              <a:spcBef>
                <a:spcPts val="1000"/>
              </a:spcBef>
              <a:buFont typeface="Arial" panose="020B0604020202020204" pitchFamily="34" charset="0"/>
            </a:pPr>
            <a:r>
              <a:rPr lang="en-US" altLang="en-US" sz="3600" dirty="0">
                <a:solidFill>
                  <a:schemeClr val="bg1"/>
                </a:solidFill>
                <a:ea typeface="+mn-ea"/>
                <a:cs typeface="+mn-cs"/>
              </a:rPr>
              <a:t>Lesson Objectives</a:t>
            </a:r>
            <a:br>
              <a:rPr lang="en-US" altLang="en-US" sz="3600" dirty="0">
                <a:solidFill>
                  <a:schemeClr val="bg1"/>
                </a:solidFill>
                <a:ea typeface="+mn-ea"/>
                <a:cs typeface="+mn-cs"/>
              </a:rPr>
            </a:br>
            <a:endParaRPr lang="en-US" sz="3600" dirty="0">
              <a:solidFill>
                <a:schemeClr val="bg1"/>
              </a:solidFill>
              <a:ea typeface="+mn-ea"/>
              <a:cs typeface="+mn-cs"/>
            </a:endParaRPr>
          </a:p>
        </p:txBody>
      </p:sp>
    </p:spTree>
    <p:extLst>
      <p:ext uri="{BB962C8B-B14F-4D97-AF65-F5344CB8AC3E}">
        <p14:creationId xmlns:p14="http://schemas.microsoft.com/office/powerpoint/2010/main" val="2792705531"/>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1905000" y="1295400"/>
            <a:ext cx="4114800" cy="3581400"/>
          </a:xfrm>
          <a:prstGeom prst="rect">
            <a:avLst/>
          </a:prstGeom>
          <a:blipFill>
            <a:blip r:embed="rId2" cstate="print"/>
            <a:stretch>
              <a:fillRect/>
            </a:stretch>
          </a:blipFill>
        </p:spPr>
        <p:txBody>
          <a:bodyPr wrap="square" lIns="0" tIns="0" rIns="0" bIns="0" rtlCol="0">
            <a:noAutofit/>
          </a:bodyPr>
          <a:lstStyle/>
          <a:p>
            <a:endParaRPr/>
          </a:p>
        </p:txBody>
      </p:sp>
      <p:sp>
        <p:nvSpPr>
          <p:cNvPr id="20" name="object 20"/>
          <p:cNvSpPr/>
          <p:nvPr/>
        </p:nvSpPr>
        <p:spPr>
          <a:xfrm>
            <a:off x="1890713" y="1281050"/>
            <a:ext cx="4143375" cy="3609975"/>
          </a:xfrm>
          <a:custGeom>
            <a:avLst/>
            <a:gdLst/>
            <a:ahLst/>
            <a:cxnLst/>
            <a:rect l="l" t="t" r="r" b="b"/>
            <a:pathLst>
              <a:path w="4143375" h="3609975">
                <a:moveTo>
                  <a:pt x="0" y="3609975"/>
                </a:moveTo>
                <a:lnTo>
                  <a:pt x="4143375" y="3609975"/>
                </a:lnTo>
                <a:lnTo>
                  <a:pt x="4143375" y="0"/>
                </a:lnTo>
                <a:lnTo>
                  <a:pt x="0" y="0"/>
                </a:lnTo>
                <a:lnTo>
                  <a:pt x="0" y="3609975"/>
                </a:lnTo>
                <a:close/>
              </a:path>
            </a:pathLst>
          </a:custGeom>
          <a:ln w="28575">
            <a:solidFill>
              <a:srgbClr val="000000"/>
            </a:solidFill>
          </a:ln>
        </p:spPr>
        <p:txBody>
          <a:bodyPr wrap="square" lIns="0" tIns="0" rIns="0" bIns="0" rtlCol="0">
            <a:noAutofit/>
          </a:bodyPr>
          <a:lstStyle/>
          <a:p>
            <a:endParaRPr/>
          </a:p>
        </p:txBody>
      </p:sp>
      <p:sp>
        <p:nvSpPr>
          <p:cNvPr id="21" name="object 21"/>
          <p:cNvSpPr/>
          <p:nvPr/>
        </p:nvSpPr>
        <p:spPr>
          <a:xfrm>
            <a:off x="4611752" y="1762126"/>
            <a:ext cx="1255649" cy="828675"/>
          </a:xfrm>
          <a:custGeom>
            <a:avLst/>
            <a:gdLst/>
            <a:ahLst/>
            <a:cxnLst/>
            <a:rect l="l" t="t" r="r" b="b"/>
            <a:pathLst>
              <a:path w="1255649" h="828675">
                <a:moveTo>
                  <a:pt x="1255649" y="606425"/>
                </a:moveTo>
                <a:lnTo>
                  <a:pt x="1255640" y="510120"/>
                </a:lnTo>
                <a:lnTo>
                  <a:pt x="1248876" y="482623"/>
                </a:lnTo>
                <a:lnTo>
                  <a:pt x="1231528" y="461368"/>
                </a:lnTo>
                <a:lnTo>
                  <a:pt x="1206562" y="449320"/>
                </a:lnTo>
                <a:lnTo>
                  <a:pt x="1192149" y="447675"/>
                </a:lnTo>
                <a:lnTo>
                  <a:pt x="588899" y="447675"/>
                </a:lnTo>
                <a:lnTo>
                  <a:pt x="0" y="0"/>
                </a:lnTo>
                <a:lnTo>
                  <a:pt x="303149" y="447675"/>
                </a:lnTo>
                <a:lnTo>
                  <a:pt x="175094" y="447683"/>
                </a:lnTo>
                <a:lnTo>
                  <a:pt x="160751" y="449557"/>
                </a:lnTo>
                <a:lnTo>
                  <a:pt x="126342" y="471795"/>
                </a:lnTo>
                <a:lnTo>
                  <a:pt x="112649" y="511175"/>
                </a:lnTo>
                <a:lnTo>
                  <a:pt x="112657" y="766229"/>
                </a:lnTo>
                <a:lnTo>
                  <a:pt x="126957" y="805319"/>
                </a:lnTo>
                <a:lnTo>
                  <a:pt x="161735" y="827029"/>
                </a:lnTo>
                <a:lnTo>
                  <a:pt x="176149" y="828675"/>
                </a:lnTo>
                <a:lnTo>
                  <a:pt x="1193203" y="828666"/>
                </a:lnTo>
                <a:lnTo>
                  <a:pt x="1232293" y="814366"/>
                </a:lnTo>
                <a:lnTo>
                  <a:pt x="1254003" y="779588"/>
                </a:lnTo>
                <a:lnTo>
                  <a:pt x="1255649" y="765175"/>
                </a:lnTo>
                <a:lnTo>
                  <a:pt x="1255649" y="606425"/>
                </a:lnTo>
                <a:close/>
              </a:path>
            </a:pathLst>
          </a:custGeom>
          <a:solidFill>
            <a:srgbClr val="FFFF99"/>
          </a:solidFill>
        </p:spPr>
        <p:txBody>
          <a:bodyPr wrap="square" lIns="0" tIns="0" rIns="0" bIns="0" rtlCol="0">
            <a:noAutofit/>
          </a:bodyPr>
          <a:lstStyle/>
          <a:p>
            <a:endParaRPr/>
          </a:p>
        </p:txBody>
      </p:sp>
      <p:sp>
        <p:nvSpPr>
          <p:cNvPr id="17" name="object 17"/>
          <p:cNvSpPr/>
          <p:nvPr/>
        </p:nvSpPr>
        <p:spPr>
          <a:xfrm>
            <a:off x="6400800" y="2362200"/>
            <a:ext cx="3867150" cy="3581400"/>
          </a:xfrm>
          <a:prstGeom prst="rect">
            <a:avLst/>
          </a:prstGeom>
          <a:blipFill>
            <a:blip r:embed="rId3" cstate="print"/>
            <a:stretch>
              <a:fillRect/>
            </a:stretch>
          </a:blipFill>
        </p:spPr>
        <p:txBody>
          <a:bodyPr wrap="square" lIns="0" tIns="0" rIns="0" bIns="0" rtlCol="0">
            <a:noAutofit/>
          </a:bodyPr>
          <a:lstStyle/>
          <a:p>
            <a:endParaRPr/>
          </a:p>
        </p:txBody>
      </p:sp>
      <p:sp>
        <p:nvSpPr>
          <p:cNvPr id="18" name="object 18"/>
          <p:cNvSpPr/>
          <p:nvPr/>
        </p:nvSpPr>
        <p:spPr>
          <a:xfrm>
            <a:off x="6386450" y="2347913"/>
            <a:ext cx="3895725" cy="3609975"/>
          </a:xfrm>
          <a:custGeom>
            <a:avLst/>
            <a:gdLst/>
            <a:ahLst/>
            <a:cxnLst/>
            <a:rect l="l" t="t" r="r" b="b"/>
            <a:pathLst>
              <a:path w="3895725" h="3609975">
                <a:moveTo>
                  <a:pt x="0" y="3609975"/>
                </a:moveTo>
                <a:lnTo>
                  <a:pt x="3895725" y="3609975"/>
                </a:lnTo>
                <a:lnTo>
                  <a:pt x="3895725" y="0"/>
                </a:lnTo>
                <a:lnTo>
                  <a:pt x="0" y="0"/>
                </a:lnTo>
                <a:lnTo>
                  <a:pt x="0" y="3609975"/>
                </a:lnTo>
                <a:close/>
              </a:path>
            </a:pathLst>
          </a:custGeom>
          <a:ln w="28575">
            <a:solidFill>
              <a:srgbClr val="000000"/>
            </a:solidFill>
          </a:ln>
        </p:spPr>
        <p:txBody>
          <a:bodyPr wrap="square" lIns="0" tIns="0" rIns="0" bIns="0" rtlCol="0">
            <a:noAutofit/>
          </a:bodyPr>
          <a:lstStyle/>
          <a:p>
            <a:endParaRPr/>
          </a:p>
        </p:txBody>
      </p:sp>
      <p:sp>
        <p:nvSpPr>
          <p:cNvPr id="12" name="object 12"/>
          <p:cNvSpPr txBox="1"/>
          <p:nvPr/>
        </p:nvSpPr>
        <p:spPr>
          <a:xfrm>
            <a:off x="6400800" y="1323833"/>
            <a:ext cx="3733800" cy="745710"/>
          </a:xfrm>
          <a:prstGeom prst="rect">
            <a:avLst/>
          </a:prstGeom>
        </p:spPr>
        <p:txBody>
          <a:bodyPr wrap="square" lIns="0" tIns="0" rIns="0" bIns="0" rtlCol="0">
            <a:noAutofit/>
          </a:bodyPr>
          <a:lstStyle/>
          <a:p>
            <a:pPr marL="12700">
              <a:spcBef>
                <a:spcPts val="97"/>
              </a:spcBef>
            </a:pPr>
            <a:r>
              <a:rPr sz="1600" dirty="0">
                <a:cs typeface="Arial"/>
              </a:rPr>
              <a:t>To keep track of Document,</a:t>
            </a:r>
            <a:r>
              <a:rPr lang="en-US" sz="1600" dirty="0">
                <a:cs typeface="Arial"/>
              </a:rPr>
              <a:t> click on ‘Display Document Flow’</a:t>
            </a:r>
            <a:endParaRPr sz="1600" dirty="0">
              <a:cs typeface="Arial"/>
            </a:endParaRPr>
          </a:p>
        </p:txBody>
      </p:sp>
      <p:sp>
        <p:nvSpPr>
          <p:cNvPr id="5" name="object 5"/>
          <p:cNvSpPr txBox="1"/>
          <p:nvPr/>
        </p:nvSpPr>
        <p:spPr>
          <a:xfrm>
            <a:off x="1871378" y="5040659"/>
            <a:ext cx="4910422" cy="1077290"/>
          </a:xfrm>
          <a:prstGeom prst="rect">
            <a:avLst/>
          </a:prstGeom>
        </p:spPr>
        <p:txBody>
          <a:bodyPr wrap="square" lIns="0" tIns="0" rIns="0" bIns="0" rtlCol="0">
            <a:noAutofit/>
          </a:bodyPr>
          <a:lstStyle/>
          <a:p>
            <a:pPr marL="12700" marR="741460">
              <a:spcBef>
                <a:spcPts val="97"/>
              </a:spcBef>
            </a:pPr>
            <a:r>
              <a:rPr sz="1400" dirty="0">
                <a:cs typeface="Arial"/>
              </a:rPr>
              <a:t>It</a:t>
            </a:r>
            <a:r>
              <a:rPr sz="1400" spc="-14" dirty="0">
                <a:cs typeface="Arial"/>
              </a:rPr>
              <a:t> </a:t>
            </a:r>
            <a:r>
              <a:rPr sz="1400" dirty="0">
                <a:cs typeface="Arial"/>
              </a:rPr>
              <a:t>is very e</a:t>
            </a:r>
            <a:r>
              <a:rPr sz="1400" spc="-9" dirty="0">
                <a:cs typeface="Arial"/>
              </a:rPr>
              <a:t>a</a:t>
            </a:r>
            <a:r>
              <a:rPr sz="1400" dirty="0">
                <a:cs typeface="Arial"/>
              </a:rPr>
              <a:t>sy to </a:t>
            </a:r>
            <a:r>
              <a:rPr sz="1400" spc="4" dirty="0">
                <a:cs typeface="Arial"/>
              </a:rPr>
              <a:t>f</a:t>
            </a:r>
            <a:r>
              <a:rPr sz="1400" dirty="0">
                <a:cs typeface="Arial"/>
              </a:rPr>
              <a:t>i</a:t>
            </a:r>
            <a:r>
              <a:rPr sz="1400" spc="-9" dirty="0">
                <a:cs typeface="Arial"/>
              </a:rPr>
              <a:t>n</a:t>
            </a:r>
            <a:r>
              <a:rPr sz="1400" dirty="0">
                <a:cs typeface="Arial"/>
              </a:rPr>
              <a:t>d </a:t>
            </a:r>
            <a:r>
              <a:rPr sz="1400" spc="-4" dirty="0">
                <a:cs typeface="Arial"/>
              </a:rPr>
              <a:t>a</a:t>
            </a:r>
            <a:r>
              <a:rPr sz="1400" dirty="0">
                <a:cs typeface="Arial"/>
              </a:rPr>
              <a:t>ll</a:t>
            </a:r>
            <a:r>
              <a:rPr sz="1400" spc="9" dirty="0">
                <a:cs typeface="Arial"/>
              </a:rPr>
              <a:t> </a:t>
            </a:r>
            <a:r>
              <a:rPr lang="en-US" sz="1400" spc="9" dirty="0">
                <a:cs typeface="Arial"/>
              </a:rPr>
              <a:t>r</a:t>
            </a:r>
            <a:r>
              <a:rPr sz="1400" dirty="0">
                <a:cs typeface="Arial"/>
              </a:rPr>
              <a:t>e</a:t>
            </a:r>
            <a:r>
              <a:rPr sz="1400" spc="-4" dirty="0">
                <a:cs typeface="Arial"/>
              </a:rPr>
              <a:t>l</a:t>
            </a:r>
            <a:r>
              <a:rPr sz="1400" dirty="0">
                <a:cs typeface="Arial"/>
              </a:rPr>
              <a:t>at</a:t>
            </a:r>
            <a:r>
              <a:rPr sz="1400" spc="-4" dirty="0">
                <a:cs typeface="Arial"/>
              </a:rPr>
              <a:t>e</a:t>
            </a:r>
            <a:r>
              <a:rPr sz="1400" dirty="0">
                <a:cs typeface="Arial"/>
              </a:rPr>
              <a:t>d</a:t>
            </a:r>
            <a:r>
              <a:rPr lang="en-US" sz="1400" dirty="0">
                <a:cs typeface="Arial"/>
              </a:rPr>
              <a:t> </a:t>
            </a:r>
            <a:r>
              <a:rPr sz="1400" dirty="0">
                <a:cs typeface="Arial"/>
              </a:rPr>
              <a:t>pr</a:t>
            </a:r>
            <a:r>
              <a:rPr sz="1400" spc="-9" dirty="0">
                <a:cs typeface="Arial"/>
              </a:rPr>
              <a:t>e</a:t>
            </a:r>
            <a:r>
              <a:rPr sz="1400" dirty="0">
                <a:cs typeface="Arial"/>
              </a:rPr>
              <a:t>ce</a:t>
            </a:r>
            <a:r>
              <a:rPr sz="1400" spc="-9" dirty="0">
                <a:cs typeface="Arial"/>
              </a:rPr>
              <a:t>d</a:t>
            </a:r>
            <a:r>
              <a:rPr sz="1400" dirty="0">
                <a:cs typeface="Arial"/>
              </a:rPr>
              <a:t>i</a:t>
            </a:r>
            <a:r>
              <a:rPr sz="1400" spc="-9" dirty="0">
                <a:cs typeface="Arial"/>
              </a:rPr>
              <a:t>n</a:t>
            </a:r>
            <a:r>
              <a:rPr sz="1400" dirty="0">
                <a:cs typeface="Arial"/>
              </a:rPr>
              <a:t>g  </a:t>
            </a:r>
            <a:r>
              <a:rPr lang="en-US" sz="1400" dirty="0">
                <a:cs typeface="Arial"/>
              </a:rPr>
              <a:t>&amp; </a:t>
            </a:r>
            <a:r>
              <a:rPr sz="1400" dirty="0">
                <a:cs typeface="Arial"/>
              </a:rPr>
              <a:t>su</a:t>
            </a:r>
            <a:r>
              <a:rPr sz="1400" spc="-9" dirty="0">
                <a:cs typeface="Arial"/>
              </a:rPr>
              <a:t>b</a:t>
            </a:r>
            <a:r>
              <a:rPr sz="1400" dirty="0">
                <a:cs typeface="Arial"/>
              </a:rPr>
              <a:t>se</a:t>
            </a:r>
            <a:r>
              <a:rPr sz="1400" spc="-9" dirty="0">
                <a:cs typeface="Arial"/>
              </a:rPr>
              <a:t>q</a:t>
            </a:r>
            <a:r>
              <a:rPr sz="1400" dirty="0">
                <a:cs typeface="Arial"/>
              </a:rPr>
              <a:t>u</a:t>
            </a:r>
            <a:r>
              <a:rPr sz="1400" spc="-9" dirty="0">
                <a:cs typeface="Arial"/>
              </a:rPr>
              <a:t>e</a:t>
            </a:r>
            <a:r>
              <a:rPr sz="1400" dirty="0">
                <a:cs typeface="Arial"/>
              </a:rPr>
              <a:t>nt</a:t>
            </a:r>
            <a:r>
              <a:rPr sz="1400" spc="4" dirty="0">
                <a:cs typeface="Arial"/>
              </a:rPr>
              <a:t> </a:t>
            </a:r>
            <a:r>
              <a:rPr lang="en-US" sz="1400" spc="4" dirty="0">
                <a:cs typeface="Arial"/>
              </a:rPr>
              <a:t>d</a:t>
            </a:r>
            <a:r>
              <a:rPr sz="1400" spc="-9" dirty="0">
                <a:cs typeface="Arial"/>
              </a:rPr>
              <a:t>o</a:t>
            </a:r>
            <a:r>
              <a:rPr sz="1400" dirty="0">
                <a:cs typeface="Arial"/>
              </a:rPr>
              <a:t>cum</a:t>
            </a:r>
            <a:r>
              <a:rPr sz="1400" spc="-9" dirty="0">
                <a:cs typeface="Arial"/>
              </a:rPr>
              <a:t>e</a:t>
            </a:r>
            <a:r>
              <a:rPr sz="1400" dirty="0">
                <a:cs typeface="Arial"/>
              </a:rPr>
              <a:t>nts </a:t>
            </a:r>
            <a:r>
              <a:rPr sz="1400" spc="-39" dirty="0">
                <a:cs typeface="Arial"/>
              </a:rPr>
              <a:t>w</a:t>
            </a:r>
            <a:r>
              <a:rPr sz="1400" dirty="0">
                <a:cs typeface="Arial"/>
              </a:rPr>
              <a:t>ith</a:t>
            </a:r>
            <a:r>
              <a:rPr sz="1400" spc="24" dirty="0">
                <a:cs typeface="Arial"/>
              </a:rPr>
              <a:t> </a:t>
            </a:r>
            <a:r>
              <a:rPr sz="1400" dirty="0">
                <a:cs typeface="Arial"/>
              </a:rPr>
              <a:t>‘</a:t>
            </a:r>
            <a:r>
              <a:rPr sz="1400" spc="-9" dirty="0">
                <a:cs typeface="Arial"/>
              </a:rPr>
              <a:t>d</a:t>
            </a:r>
            <a:r>
              <a:rPr sz="1400" dirty="0">
                <a:cs typeface="Arial"/>
              </a:rPr>
              <a:t>oc</a:t>
            </a:r>
            <a:r>
              <a:rPr sz="1400" spc="-9" dirty="0">
                <a:cs typeface="Arial"/>
              </a:rPr>
              <a:t>u</a:t>
            </a:r>
            <a:r>
              <a:rPr sz="1400" dirty="0">
                <a:cs typeface="Arial"/>
              </a:rPr>
              <a:t>me</a:t>
            </a:r>
            <a:r>
              <a:rPr sz="1400" spc="-9" dirty="0">
                <a:cs typeface="Arial"/>
              </a:rPr>
              <a:t>n</a:t>
            </a:r>
            <a:r>
              <a:rPr sz="1400" dirty="0">
                <a:cs typeface="Arial"/>
              </a:rPr>
              <a:t>t</a:t>
            </a:r>
            <a:r>
              <a:rPr sz="1400" spc="29" dirty="0">
                <a:cs typeface="Arial"/>
              </a:rPr>
              <a:t> </a:t>
            </a:r>
            <a:r>
              <a:rPr sz="1400" dirty="0">
                <a:cs typeface="Arial"/>
              </a:rPr>
              <a:t>flo</a:t>
            </a:r>
            <a:r>
              <a:rPr sz="1400" spc="-44" dirty="0">
                <a:cs typeface="Arial"/>
              </a:rPr>
              <a:t>w</a:t>
            </a:r>
            <a:r>
              <a:rPr sz="1400" dirty="0">
                <a:cs typeface="Arial"/>
              </a:rPr>
              <a:t>’</a:t>
            </a:r>
            <a:r>
              <a:rPr sz="1400" spc="-25" dirty="0">
                <a:cs typeface="Arial"/>
              </a:rPr>
              <a:t> </a:t>
            </a:r>
            <a:r>
              <a:rPr sz="1400" dirty="0">
                <a:cs typeface="Arial"/>
              </a:rPr>
              <a:t>fu</a:t>
            </a:r>
            <a:r>
              <a:rPr sz="1400" spc="-4" dirty="0">
                <a:cs typeface="Arial"/>
              </a:rPr>
              <a:t>n</a:t>
            </a:r>
            <a:r>
              <a:rPr sz="1400" dirty="0">
                <a:cs typeface="Arial"/>
              </a:rPr>
              <a:t>ctio</a:t>
            </a:r>
            <a:r>
              <a:rPr sz="1400" spc="-9" dirty="0">
                <a:cs typeface="Arial"/>
              </a:rPr>
              <a:t>n</a:t>
            </a:r>
            <a:r>
              <a:rPr sz="1400" dirty="0">
                <a:cs typeface="Arial"/>
              </a:rPr>
              <a:t>.</a:t>
            </a:r>
            <a:r>
              <a:rPr sz="1400" spc="-25" dirty="0">
                <a:cs typeface="Arial"/>
              </a:rPr>
              <a:t> </a:t>
            </a:r>
            <a:r>
              <a:rPr sz="1400" spc="-169" dirty="0">
                <a:cs typeface="Arial"/>
              </a:rPr>
              <a:t>Y</a:t>
            </a:r>
            <a:r>
              <a:rPr sz="1400" dirty="0">
                <a:cs typeface="Arial"/>
              </a:rPr>
              <a:t>ou</a:t>
            </a:r>
            <a:r>
              <a:rPr sz="1400" spc="4" dirty="0">
                <a:cs typeface="Arial"/>
              </a:rPr>
              <a:t> </a:t>
            </a:r>
            <a:r>
              <a:rPr sz="1400" dirty="0">
                <a:cs typeface="Arial"/>
              </a:rPr>
              <a:t>can a</a:t>
            </a:r>
            <a:r>
              <a:rPr sz="1400" spc="-9" dirty="0">
                <a:cs typeface="Arial"/>
              </a:rPr>
              <a:t>l</a:t>
            </a:r>
            <a:r>
              <a:rPr sz="1400" dirty="0">
                <a:cs typeface="Arial"/>
              </a:rPr>
              <a:t>so vi</a:t>
            </a:r>
            <a:r>
              <a:rPr sz="1400" spc="-9" dirty="0">
                <a:cs typeface="Arial"/>
              </a:rPr>
              <a:t>e</a:t>
            </a:r>
            <a:r>
              <a:rPr sz="1400" dirty="0">
                <a:cs typeface="Arial"/>
              </a:rPr>
              <a:t>w i</a:t>
            </a:r>
            <a:r>
              <a:rPr sz="1400" spc="-9" dirty="0">
                <a:cs typeface="Arial"/>
              </a:rPr>
              <a:t>n</a:t>
            </a:r>
            <a:r>
              <a:rPr sz="1400" dirty="0">
                <a:cs typeface="Arial"/>
              </a:rPr>
              <a:t>d</a:t>
            </a:r>
            <a:r>
              <a:rPr sz="1400" spc="-9" dirty="0">
                <a:cs typeface="Arial"/>
              </a:rPr>
              <a:t>i</a:t>
            </a:r>
            <a:r>
              <a:rPr sz="1400" dirty="0">
                <a:cs typeface="Arial"/>
              </a:rPr>
              <a:t>vi</a:t>
            </a:r>
            <a:r>
              <a:rPr sz="1400" spc="-9" dirty="0">
                <a:cs typeface="Arial"/>
              </a:rPr>
              <a:t>d</a:t>
            </a:r>
            <a:r>
              <a:rPr sz="1400" dirty="0">
                <a:cs typeface="Arial"/>
              </a:rPr>
              <a:t>u</a:t>
            </a:r>
            <a:r>
              <a:rPr sz="1400" spc="-9" dirty="0">
                <a:cs typeface="Arial"/>
              </a:rPr>
              <a:t>a</a:t>
            </a:r>
            <a:r>
              <a:rPr sz="1400" dirty="0">
                <a:cs typeface="Arial"/>
              </a:rPr>
              <a:t>l</a:t>
            </a:r>
            <a:r>
              <a:rPr sz="1400" spc="34" dirty="0">
                <a:cs typeface="Arial"/>
              </a:rPr>
              <a:t> </a:t>
            </a:r>
            <a:r>
              <a:rPr sz="1400" dirty="0">
                <a:cs typeface="Arial"/>
              </a:rPr>
              <a:t>d</a:t>
            </a:r>
            <a:r>
              <a:rPr sz="1400" spc="-9" dirty="0">
                <a:cs typeface="Arial"/>
              </a:rPr>
              <a:t>o</a:t>
            </a:r>
            <a:r>
              <a:rPr sz="1400" dirty="0">
                <a:cs typeface="Arial"/>
              </a:rPr>
              <a:t>cum</a:t>
            </a:r>
            <a:r>
              <a:rPr sz="1400" spc="-9" dirty="0">
                <a:cs typeface="Arial"/>
              </a:rPr>
              <a:t>e</a:t>
            </a:r>
            <a:r>
              <a:rPr sz="1400" dirty="0">
                <a:cs typeface="Arial"/>
              </a:rPr>
              <a:t>nt.</a:t>
            </a:r>
          </a:p>
        </p:txBody>
      </p:sp>
      <p:sp>
        <p:nvSpPr>
          <p:cNvPr id="3" name="object 3"/>
          <p:cNvSpPr txBox="1"/>
          <p:nvPr/>
        </p:nvSpPr>
        <p:spPr>
          <a:xfrm>
            <a:off x="6386450" y="2347913"/>
            <a:ext cx="3895725" cy="3609975"/>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1890713" y="1281050"/>
            <a:ext cx="4143375" cy="3609975"/>
          </a:xfrm>
          <a:prstGeom prst="rect">
            <a:avLst/>
          </a:prstGeom>
        </p:spPr>
        <p:txBody>
          <a:bodyPr wrap="square" lIns="0" tIns="0" rIns="0" bIns="0" rtlCol="0">
            <a:noAutofit/>
          </a:bodyPr>
          <a:lstStyle/>
          <a:p>
            <a:pPr>
              <a:lnSpc>
                <a:spcPts val="850"/>
              </a:lnSpc>
              <a:spcBef>
                <a:spcPts val="8"/>
              </a:spcBef>
            </a:pPr>
            <a:endParaRPr sz="850"/>
          </a:p>
          <a:p>
            <a:pPr marR="529156" algn="r">
              <a:lnSpc>
                <a:spcPct val="95825"/>
              </a:lnSpc>
              <a:spcBef>
                <a:spcPts val="7000"/>
              </a:spcBef>
            </a:pPr>
            <a:r>
              <a:rPr sz="1000" dirty="0">
                <a:latin typeface="Arial"/>
                <a:cs typeface="Arial"/>
              </a:rPr>
              <a:t>D</a:t>
            </a:r>
            <a:r>
              <a:rPr sz="1000" spc="-4" dirty="0">
                <a:latin typeface="Arial"/>
                <a:cs typeface="Arial"/>
              </a:rPr>
              <a:t>i</a:t>
            </a:r>
            <a:r>
              <a:rPr sz="1000" spc="4" dirty="0">
                <a:latin typeface="Arial"/>
                <a:cs typeface="Arial"/>
              </a:rPr>
              <a:t>s</a:t>
            </a:r>
            <a:r>
              <a:rPr sz="1000" dirty="0">
                <a:latin typeface="Arial"/>
                <a:cs typeface="Arial"/>
              </a:rPr>
              <a:t>p</a:t>
            </a:r>
            <a:r>
              <a:rPr sz="1000" spc="-4" dirty="0">
                <a:latin typeface="Arial"/>
                <a:cs typeface="Arial"/>
              </a:rPr>
              <a:t>l</a:t>
            </a:r>
            <a:r>
              <a:rPr sz="1000" dirty="0">
                <a:latin typeface="Arial"/>
                <a:cs typeface="Arial"/>
              </a:rPr>
              <a:t>ay</a:t>
            </a:r>
            <a:endParaRPr sz="1000">
              <a:latin typeface="Arial"/>
              <a:cs typeface="Arial"/>
            </a:endParaRPr>
          </a:p>
          <a:p>
            <a:pPr marR="320027" algn="r">
              <a:lnSpc>
                <a:spcPct val="95825"/>
              </a:lnSpc>
              <a:spcBef>
                <a:spcPts val="50"/>
              </a:spcBef>
            </a:pPr>
            <a:r>
              <a:rPr sz="1000" dirty="0">
                <a:latin typeface="Arial"/>
                <a:cs typeface="Arial"/>
              </a:rPr>
              <a:t>D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a:t>
            </a:r>
            <a:r>
              <a:rPr sz="1000" spc="-85" dirty="0">
                <a:latin typeface="Arial"/>
                <a:cs typeface="Arial"/>
              </a:rPr>
              <a:t> </a:t>
            </a:r>
            <a:r>
              <a:rPr sz="1000" spc="9" dirty="0">
                <a:latin typeface="Arial"/>
                <a:cs typeface="Arial"/>
              </a:rPr>
              <a:t>f</a:t>
            </a:r>
            <a:r>
              <a:rPr sz="1000" spc="-4" dirty="0">
                <a:latin typeface="Arial"/>
                <a:cs typeface="Arial"/>
              </a:rPr>
              <a:t>l</a:t>
            </a:r>
            <a:r>
              <a:rPr sz="1000" dirty="0">
                <a:latin typeface="Arial"/>
                <a:cs typeface="Arial"/>
              </a:rPr>
              <a:t>ow</a:t>
            </a:r>
            <a:endParaRPr sz="1000">
              <a:latin typeface="Arial"/>
              <a:cs typeface="Arial"/>
            </a:endParaRPr>
          </a:p>
        </p:txBody>
      </p:sp>
      <p:sp>
        <p:nvSpPr>
          <p:cNvPr id="4" name="Title 3"/>
          <p:cNvSpPr>
            <a:spLocks noGrp="1"/>
          </p:cNvSpPr>
          <p:nvPr>
            <p:ph type="title"/>
          </p:nvPr>
        </p:nvSpPr>
        <p:spPr/>
        <p:txBody>
          <a:bodyPr/>
          <a:lstStyle/>
          <a:p>
            <a:r>
              <a:rPr lang="en-US" sz="2400" dirty="0">
                <a:latin typeface="+mn-lt"/>
                <a:cs typeface="Arial"/>
              </a:rPr>
              <a:t>Billing-Associated Functions</a:t>
            </a:r>
            <a:br>
              <a:rPr lang="en-US" sz="2800" dirty="0">
                <a:latin typeface="Arial"/>
                <a:cs typeface="Arial"/>
              </a:rPr>
            </a:b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21"/>
          <p:cNvSpPr/>
          <p:nvPr/>
        </p:nvSpPr>
        <p:spPr>
          <a:xfrm>
            <a:off x="2057400" y="1981200"/>
            <a:ext cx="3886200" cy="3810000"/>
          </a:xfrm>
          <a:custGeom>
            <a:avLst/>
            <a:gdLst/>
            <a:ahLst/>
            <a:cxnLst/>
            <a:rect l="l" t="t" r="r" b="b"/>
            <a:pathLst>
              <a:path w="3886200" h="3810000">
                <a:moveTo>
                  <a:pt x="0" y="3810000"/>
                </a:moveTo>
                <a:lnTo>
                  <a:pt x="3886200" y="3810000"/>
                </a:lnTo>
                <a:lnTo>
                  <a:pt x="3886200" y="0"/>
                </a:lnTo>
                <a:lnTo>
                  <a:pt x="0" y="0"/>
                </a:lnTo>
                <a:lnTo>
                  <a:pt x="0" y="3810000"/>
                </a:lnTo>
                <a:close/>
              </a:path>
            </a:pathLst>
          </a:custGeom>
          <a:solidFill>
            <a:srgbClr val="FFCC99"/>
          </a:solidFill>
        </p:spPr>
        <p:txBody>
          <a:bodyPr wrap="square" lIns="0" tIns="0" rIns="0" bIns="0" rtlCol="0">
            <a:noAutofit/>
          </a:bodyPr>
          <a:lstStyle/>
          <a:p>
            <a:endParaRPr/>
          </a:p>
        </p:txBody>
      </p:sp>
      <p:sp>
        <p:nvSpPr>
          <p:cNvPr id="22" name="object 22"/>
          <p:cNvSpPr/>
          <p:nvPr/>
        </p:nvSpPr>
        <p:spPr>
          <a:xfrm>
            <a:off x="2057400" y="1981200"/>
            <a:ext cx="3886200" cy="3810000"/>
          </a:xfrm>
          <a:custGeom>
            <a:avLst/>
            <a:gdLst/>
            <a:ahLst/>
            <a:cxnLst/>
            <a:rect l="l" t="t" r="r" b="b"/>
            <a:pathLst>
              <a:path w="3886200" h="3810000">
                <a:moveTo>
                  <a:pt x="0" y="3810000"/>
                </a:moveTo>
                <a:lnTo>
                  <a:pt x="3886200" y="3810000"/>
                </a:lnTo>
                <a:lnTo>
                  <a:pt x="3886200" y="0"/>
                </a:lnTo>
                <a:lnTo>
                  <a:pt x="0" y="0"/>
                </a:lnTo>
                <a:lnTo>
                  <a:pt x="0" y="3810000"/>
                </a:lnTo>
                <a:close/>
              </a:path>
            </a:pathLst>
          </a:custGeom>
          <a:ln w="12700">
            <a:solidFill>
              <a:srgbClr val="000000"/>
            </a:solidFill>
          </a:ln>
        </p:spPr>
        <p:txBody>
          <a:bodyPr wrap="square" lIns="0" tIns="0" rIns="0" bIns="0" rtlCol="0">
            <a:noAutofit/>
          </a:bodyPr>
          <a:lstStyle/>
          <a:p>
            <a:endParaRPr/>
          </a:p>
        </p:txBody>
      </p:sp>
      <p:sp>
        <p:nvSpPr>
          <p:cNvPr id="23" name="object 23"/>
          <p:cNvSpPr/>
          <p:nvPr/>
        </p:nvSpPr>
        <p:spPr>
          <a:xfrm>
            <a:off x="3429000" y="2667000"/>
            <a:ext cx="2209800" cy="469900"/>
          </a:xfrm>
          <a:custGeom>
            <a:avLst/>
            <a:gdLst/>
            <a:ahLst/>
            <a:cxnLst/>
            <a:rect l="l" t="t" r="r" b="b"/>
            <a:pathLst>
              <a:path w="2209800" h="469900">
                <a:moveTo>
                  <a:pt x="0" y="469900"/>
                </a:moveTo>
                <a:lnTo>
                  <a:pt x="2209800" y="469900"/>
                </a:lnTo>
                <a:lnTo>
                  <a:pt x="2209800" y="0"/>
                </a:lnTo>
                <a:lnTo>
                  <a:pt x="0" y="0"/>
                </a:lnTo>
                <a:lnTo>
                  <a:pt x="0" y="469900"/>
                </a:lnTo>
                <a:close/>
              </a:path>
            </a:pathLst>
          </a:custGeom>
          <a:ln w="12700">
            <a:solidFill>
              <a:srgbClr val="000000"/>
            </a:solidFill>
          </a:ln>
        </p:spPr>
        <p:txBody>
          <a:bodyPr wrap="square" lIns="0" tIns="0" rIns="0" bIns="0" rtlCol="0">
            <a:noAutofit/>
          </a:bodyPr>
          <a:lstStyle/>
          <a:p>
            <a:endParaRPr/>
          </a:p>
        </p:txBody>
      </p:sp>
      <p:sp>
        <p:nvSpPr>
          <p:cNvPr id="18" name="object 18"/>
          <p:cNvSpPr/>
          <p:nvPr/>
        </p:nvSpPr>
        <p:spPr>
          <a:xfrm>
            <a:off x="6324600" y="1981200"/>
            <a:ext cx="3886200" cy="3810000"/>
          </a:xfrm>
          <a:custGeom>
            <a:avLst/>
            <a:gdLst/>
            <a:ahLst/>
            <a:cxnLst/>
            <a:rect l="l" t="t" r="r" b="b"/>
            <a:pathLst>
              <a:path w="3886200" h="3810000">
                <a:moveTo>
                  <a:pt x="0" y="3810000"/>
                </a:moveTo>
                <a:lnTo>
                  <a:pt x="3886200" y="3810000"/>
                </a:lnTo>
                <a:lnTo>
                  <a:pt x="3886200" y="0"/>
                </a:lnTo>
                <a:lnTo>
                  <a:pt x="0" y="0"/>
                </a:lnTo>
                <a:lnTo>
                  <a:pt x="0" y="3810000"/>
                </a:lnTo>
                <a:close/>
              </a:path>
            </a:pathLst>
          </a:custGeom>
          <a:solidFill>
            <a:srgbClr val="FFCC99"/>
          </a:solidFill>
        </p:spPr>
        <p:txBody>
          <a:bodyPr wrap="square" lIns="0" tIns="0" rIns="0" bIns="0" rtlCol="0">
            <a:noAutofit/>
          </a:bodyPr>
          <a:lstStyle/>
          <a:p>
            <a:endParaRPr/>
          </a:p>
        </p:txBody>
      </p:sp>
      <p:sp>
        <p:nvSpPr>
          <p:cNvPr id="19" name="object 19"/>
          <p:cNvSpPr/>
          <p:nvPr/>
        </p:nvSpPr>
        <p:spPr>
          <a:xfrm>
            <a:off x="6324600" y="1981200"/>
            <a:ext cx="3886200" cy="3810000"/>
          </a:xfrm>
          <a:custGeom>
            <a:avLst/>
            <a:gdLst/>
            <a:ahLst/>
            <a:cxnLst/>
            <a:rect l="l" t="t" r="r" b="b"/>
            <a:pathLst>
              <a:path w="3886200" h="3810000">
                <a:moveTo>
                  <a:pt x="0" y="3810000"/>
                </a:moveTo>
                <a:lnTo>
                  <a:pt x="3886200" y="3810000"/>
                </a:lnTo>
                <a:lnTo>
                  <a:pt x="3886200" y="0"/>
                </a:lnTo>
                <a:lnTo>
                  <a:pt x="0" y="0"/>
                </a:lnTo>
                <a:lnTo>
                  <a:pt x="0" y="3810000"/>
                </a:lnTo>
                <a:close/>
              </a:path>
            </a:pathLst>
          </a:custGeom>
          <a:ln w="12700">
            <a:solidFill>
              <a:srgbClr val="000000"/>
            </a:solidFill>
          </a:ln>
        </p:spPr>
        <p:txBody>
          <a:bodyPr wrap="square" lIns="0" tIns="0" rIns="0" bIns="0" rtlCol="0">
            <a:noAutofit/>
          </a:bodyPr>
          <a:lstStyle/>
          <a:p>
            <a:endParaRPr/>
          </a:p>
        </p:txBody>
      </p:sp>
      <p:sp>
        <p:nvSpPr>
          <p:cNvPr id="20" name="object 20"/>
          <p:cNvSpPr/>
          <p:nvPr/>
        </p:nvSpPr>
        <p:spPr>
          <a:xfrm>
            <a:off x="7315200" y="2667001"/>
            <a:ext cx="2743200" cy="409575"/>
          </a:xfrm>
          <a:custGeom>
            <a:avLst/>
            <a:gdLst/>
            <a:ahLst/>
            <a:cxnLst/>
            <a:rect l="l" t="t" r="r" b="b"/>
            <a:pathLst>
              <a:path w="2743200" h="409575">
                <a:moveTo>
                  <a:pt x="0" y="409575"/>
                </a:moveTo>
                <a:lnTo>
                  <a:pt x="2743200" y="409575"/>
                </a:lnTo>
                <a:lnTo>
                  <a:pt x="2743200" y="0"/>
                </a:lnTo>
                <a:lnTo>
                  <a:pt x="0" y="0"/>
                </a:lnTo>
                <a:lnTo>
                  <a:pt x="0" y="409575"/>
                </a:lnTo>
                <a:close/>
              </a:path>
            </a:pathLst>
          </a:custGeom>
          <a:ln w="12700">
            <a:solidFill>
              <a:srgbClr val="000000"/>
            </a:solidFill>
          </a:ln>
        </p:spPr>
        <p:txBody>
          <a:bodyPr wrap="square" lIns="0" tIns="0" rIns="0" bIns="0" rtlCol="0">
            <a:noAutofit/>
          </a:bodyPr>
          <a:lstStyle/>
          <a:p>
            <a:endParaRPr/>
          </a:p>
        </p:txBody>
      </p:sp>
      <p:sp>
        <p:nvSpPr>
          <p:cNvPr id="5" name="object 5"/>
          <p:cNvSpPr txBox="1"/>
          <p:nvPr/>
        </p:nvSpPr>
        <p:spPr>
          <a:xfrm>
            <a:off x="7315200" y="2667001"/>
            <a:ext cx="2743200" cy="409575"/>
          </a:xfrm>
          <a:prstGeom prst="rect">
            <a:avLst/>
          </a:prstGeom>
        </p:spPr>
        <p:txBody>
          <a:bodyPr wrap="square" lIns="0" tIns="0" rIns="0" bIns="0" rtlCol="0">
            <a:noAutofit/>
          </a:bodyPr>
          <a:lstStyle/>
          <a:p>
            <a:pPr marL="25400">
              <a:lnSpc>
                <a:spcPts val="1000"/>
              </a:lnSpc>
            </a:pPr>
            <a:endParaRPr sz="1000"/>
          </a:p>
        </p:txBody>
      </p:sp>
      <p:sp>
        <p:nvSpPr>
          <p:cNvPr id="4" name="object 4"/>
          <p:cNvSpPr txBox="1"/>
          <p:nvPr/>
        </p:nvSpPr>
        <p:spPr>
          <a:xfrm>
            <a:off x="3429000" y="2667000"/>
            <a:ext cx="2209800" cy="469900"/>
          </a:xfrm>
          <a:prstGeom prst="rect">
            <a:avLst/>
          </a:prstGeom>
        </p:spPr>
        <p:txBody>
          <a:bodyPr wrap="square" lIns="0" tIns="0" rIns="0" bIns="0" rtlCol="0">
            <a:noAutofit/>
          </a:bodyPr>
          <a:lstStyle/>
          <a:p>
            <a:pPr marL="25400">
              <a:lnSpc>
                <a:spcPts val="1000"/>
              </a:lnSpc>
            </a:pPr>
            <a:endParaRPr sz="1000"/>
          </a:p>
        </p:txBody>
      </p:sp>
      <p:sp>
        <p:nvSpPr>
          <p:cNvPr id="3" name="object 3"/>
          <p:cNvSpPr txBox="1"/>
          <p:nvPr/>
        </p:nvSpPr>
        <p:spPr>
          <a:xfrm>
            <a:off x="2057400" y="1981200"/>
            <a:ext cx="3886200" cy="3810000"/>
          </a:xfrm>
          <a:prstGeom prst="rect">
            <a:avLst/>
          </a:prstGeom>
        </p:spPr>
        <p:txBody>
          <a:bodyPr wrap="square" lIns="0" tIns="0" rIns="0" bIns="0" rtlCol="0">
            <a:noAutofit/>
          </a:bodyPr>
          <a:lstStyle/>
          <a:p>
            <a:pPr>
              <a:lnSpc>
                <a:spcPts val="1000"/>
              </a:lnSpc>
            </a:pPr>
            <a:endParaRPr sz="1000" dirty="0"/>
          </a:p>
          <a:p>
            <a:pPr marL="1310894">
              <a:lnSpc>
                <a:spcPct val="95825"/>
              </a:lnSpc>
              <a:spcBef>
                <a:spcPts val="2399"/>
              </a:spcBef>
            </a:pPr>
            <a:r>
              <a:rPr sz="1000" spc="14" dirty="0">
                <a:latin typeface="Arial"/>
                <a:cs typeface="Arial"/>
              </a:rPr>
              <a:t>T</a:t>
            </a:r>
            <a:r>
              <a:rPr sz="1000" dirty="0">
                <a:latin typeface="Arial"/>
                <a:cs typeface="Arial"/>
              </a:rPr>
              <a:t>arget</a:t>
            </a:r>
            <a:r>
              <a:rPr sz="1000" spc="-68" dirty="0">
                <a:latin typeface="Arial"/>
                <a:cs typeface="Arial"/>
              </a:rPr>
              <a:t> </a:t>
            </a:r>
            <a:r>
              <a:rPr sz="1000" spc="-4" dirty="0">
                <a:latin typeface="Arial"/>
                <a:cs typeface="Arial"/>
              </a:rPr>
              <a:t>Billi</a:t>
            </a:r>
            <a:r>
              <a:rPr sz="1000" dirty="0">
                <a:latin typeface="Arial"/>
                <a:cs typeface="Arial"/>
              </a:rPr>
              <a:t>ng</a:t>
            </a:r>
            <a:r>
              <a:rPr sz="1000" spc="3"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e       </a:t>
            </a:r>
            <a:r>
              <a:rPr sz="1000" spc="45" dirty="0">
                <a:latin typeface="Arial"/>
                <a:cs typeface="Arial"/>
              </a:rPr>
              <a:t> </a:t>
            </a:r>
            <a:r>
              <a:rPr sz="1000" spc="-4" dirty="0">
                <a:latin typeface="Arial"/>
                <a:cs typeface="Arial"/>
              </a:rPr>
              <a:t>S</a:t>
            </a:r>
            <a:r>
              <a:rPr sz="1000" dirty="0">
                <a:latin typeface="Arial"/>
                <a:cs typeface="Arial"/>
              </a:rPr>
              <a:t>o</a:t>
            </a:r>
            <a:r>
              <a:rPr sz="1000" spc="-4" dirty="0">
                <a:latin typeface="Arial"/>
                <a:cs typeface="Arial"/>
              </a:rPr>
              <a:t>u</a:t>
            </a:r>
            <a:r>
              <a:rPr sz="1000" spc="4" dirty="0">
                <a:latin typeface="Arial"/>
                <a:cs typeface="Arial"/>
              </a:rPr>
              <a:t>rc</a:t>
            </a:r>
            <a:r>
              <a:rPr sz="1000" dirty="0">
                <a:latin typeface="Arial"/>
                <a:cs typeface="Arial"/>
              </a:rPr>
              <a:t>e</a:t>
            </a:r>
            <a:r>
              <a:rPr sz="1000" spc="-56" dirty="0">
                <a:latin typeface="Arial"/>
                <a:cs typeface="Arial"/>
              </a:rPr>
              <a:t> </a:t>
            </a:r>
            <a:r>
              <a:rPr sz="1000" dirty="0">
                <a:latin typeface="Arial"/>
                <a:cs typeface="Arial"/>
              </a:rPr>
              <a:t>De</a:t>
            </a:r>
            <a:r>
              <a:rPr sz="1000" spc="-4" dirty="0">
                <a:latin typeface="Arial"/>
                <a:cs typeface="Arial"/>
              </a:rPr>
              <a:t>l</a:t>
            </a:r>
            <a:r>
              <a:rPr sz="1000" dirty="0">
                <a:latin typeface="Arial"/>
                <a:cs typeface="Arial"/>
              </a:rPr>
              <a:t>.</a:t>
            </a:r>
            <a:r>
              <a:rPr sz="1000" spc="-7"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e</a:t>
            </a:r>
          </a:p>
          <a:p>
            <a:pPr marL="320040">
              <a:lnSpc>
                <a:spcPts val="2299"/>
              </a:lnSpc>
              <a:spcBef>
                <a:spcPts val="1284"/>
              </a:spcBef>
            </a:pPr>
            <a:r>
              <a:rPr sz="2000" spc="4" dirty="0">
                <a:latin typeface="Arial"/>
                <a:cs typeface="Arial"/>
              </a:rPr>
              <a:t>H</a:t>
            </a:r>
            <a:r>
              <a:rPr sz="2000" dirty="0">
                <a:latin typeface="Arial"/>
                <a:cs typeface="Arial"/>
              </a:rPr>
              <a:t>e</a:t>
            </a:r>
            <a:r>
              <a:rPr sz="2000" spc="4" dirty="0">
                <a:latin typeface="Arial"/>
                <a:cs typeface="Arial"/>
              </a:rPr>
              <a:t>a</a:t>
            </a:r>
            <a:r>
              <a:rPr sz="2000" dirty="0">
                <a:latin typeface="Arial"/>
                <a:cs typeface="Arial"/>
              </a:rPr>
              <a:t>d</a:t>
            </a:r>
            <a:r>
              <a:rPr sz="2000" spc="4" dirty="0">
                <a:latin typeface="Arial"/>
                <a:cs typeface="Arial"/>
              </a:rPr>
              <a:t>e</a:t>
            </a:r>
            <a:r>
              <a:rPr sz="2000" dirty="0">
                <a:latin typeface="Arial"/>
                <a:cs typeface="Arial"/>
              </a:rPr>
              <a:t>r      </a:t>
            </a:r>
            <a:r>
              <a:rPr sz="2000" spc="323" dirty="0">
                <a:latin typeface="Arial"/>
                <a:cs typeface="Arial"/>
              </a:rPr>
              <a:t> </a:t>
            </a:r>
            <a:r>
              <a:rPr sz="3000" baseline="-10145" dirty="0">
                <a:latin typeface="Arial"/>
                <a:cs typeface="Arial"/>
              </a:rPr>
              <a:t>F2           </a:t>
            </a:r>
            <a:r>
              <a:rPr sz="3000" spc="513" baseline="-10145" dirty="0">
                <a:latin typeface="Arial"/>
                <a:cs typeface="Arial"/>
              </a:rPr>
              <a:t> </a:t>
            </a:r>
            <a:r>
              <a:rPr sz="3000" baseline="-10145" dirty="0">
                <a:latin typeface="Arial"/>
                <a:cs typeface="Arial"/>
              </a:rPr>
              <a:t>LF</a:t>
            </a:r>
            <a:endParaRPr sz="2000" dirty="0">
              <a:latin typeface="Arial"/>
              <a:cs typeface="Arial"/>
            </a:endParaRPr>
          </a:p>
          <a:p>
            <a:pPr marL="91440" marR="702008">
              <a:lnSpc>
                <a:spcPct val="100041"/>
              </a:lnSpc>
              <a:spcBef>
                <a:spcPts val="3074"/>
              </a:spcBef>
            </a:pPr>
            <a:r>
              <a:rPr sz="1400" dirty="0">
                <a:latin typeface="Arial"/>
                <a:cs typeface="Arial"/>
              </a:rPr>
              <a:t>1)</a:t>
            </a:r>
            <a:r>
              <a:rPr sz="1400" spc="-29" dirty="0">
                <a:latin typeface="Arial"/>
                <a:cs typeface="Arial"/>
              </a:rPr>
              <a:t> </a:t>
            </a:r>
            <a:r>
              <a:rPr sz="1400" spc="14" dirty="0">
                <a:latin typeface="Arial"/>
                <a:cs typeface="Arial"/>
              </a:rPr>
              <a:t>W</a:t>
            </a:r>
            <a:r>
              <a:rPr sz="1400" dirty="0">
                <a:latin typeface="Arial"/>
                <a:cs typeface="Arial"/>
              </a:rPr>
              <a:t>hi</a:t>
            </a:r>
            <a:r>
              <a:rPr sz="1400" spc="4" dirty="0">
                <a:latin typeface="Arial"/>
                <a:cs typeface="Arial"/>
              </a:rPr>
              <a:t>c</a:t>
            </a:r>
            <a:r>
              <a:rPr sz="1400" dirty="0">
                <a:latin typeface="Arial"/>
                <a:cs typeface="Arial"/>
              </a:rPr>
              <a:t>h</a:t>
            </a:r>
            <a:r>
              <a:rPr sz="1400" spc="-29" dirty="0">
                <a:latin typeface="Arial"/>
                <a:cs typeface="Arial"/>
              </a:rPr>
              <a:t> </a:t>
            </a:r>
            <a:r>
              <a:rPr sz="1400" dirty="0">
                <a:latin typeface="Arial"/>
                <a:cs typeface="Arial"/>
              </a:rPr>
              <a:t>do</a:t>
            </a:r>
            <a:r>
              <a:rPr sz="1400" spc="4" dirty="0">
                <a:latin typeface="Arial"/>
                <a:cs typeface="Arial"/>
              </a:rPr>
              <a:t>c</a:t>
            </a:r>
            <a:r>
              <a:rPr sz="1400" dirty="0">
                <a:latin typeface="Arial"/>
                <a:cs typeface="Arial"/>
              </a:rPr>
              <a:t>u</a:t>
            </a:r>
            <a:r>
              <a:rPr sz="1400" spc="-4" dirty="0">
                <a:latin typeface="Arial"/>
                <a:cs typeface="Arial"/>
              </a:rPr>
              <a:t>m</a:t>
            </a:r>
            <a:r>
              <a:rPr sz="1400" dirty="0">
                <a:latin typeface="Arial"/>
                <a:cs typeface="Arial"/>
              </a:rPr>
              <a:t>en</a:t>
            </a:r>
            <a:r>
              <a:rPr sz="1400" spc="4" dirty="0">
                <a:latin typeface="Arial"/>
                <a:cs typeface="Arial"/>
              </a:rPr>
              <a:t>t</a:t>
            </a:r>
            <a:r>
              <a:rPr sz="1400" dirty="0">
                <a:latin typeface="Arial"/>
                <a:cs typeface="Arial"/>
              </a:rPr>
              <a:t>s</a:t>
            </a:r>
            <a:r>
              <a:rPr sz="1400" spc="-44" dirty="0">
                <a:latin typeface="Arial"/>
                <a:cs typeface="Arial"/>
              </a:rPr>
              <a:t> </a:t>
            </a:r>
            <a:r>
              <a:rPr sz="1400" spc="-4" dirty="0">
                <a:latin typeface="Arial"/>
                <a:cs typeface="Arial"/>
              </a:rPr>
              <a:t>m</a:t>
            </a:r>
            <a:r>
              <a:rPr sz="1400" dirty="0">
                <a:latin typeface="Arial"/>
                <a:cs typeface="Arial"/>
              </a:rPr>
              <a:t>ay</a:t>
            </a:r>
            <a:r>
              <a:rPr sz="1400" spc="-9" dirty="0">
                <a:latin typeface="Arial"/>
                <a:cs typeface="Arial"/>
              </a:rPr>
              <a:t> </a:t>
            </a:r>
            <a:r>
              <a:rPr sz="1400" dirty="0">
                <a:latin typeface="Arial"/>
                <a:cs typeface="Arial"/>
              </a:rPr>
              <a:t>be</a:t>
            </a:r>
            <a:r>
              <a:rPr sz="1400" spc="-14" dirty="0">
                <a:latin typeface="Arial"/>
                <a:cs typeface="Arial"/>
              </a:rPr>
              <a:t> </a:t>
            </a:r>
            <a:r>
              <a:rPr sz="1400" dirty="0">
                <a:latin typeface="Arial"/>
                <a:cs typeface="Arial"/>
              </a:rPr>
              <a:t>u</a:t>
            </a:r>
            <a:r>
              <a:rPr sz="1400" spc="4" dirty="0">
                <a:latin typeface="Arial"/>
                <a:cs typeface="Arial"/>
              </a:rPr>
              <a:t>s</a:t>
            </a:r>
            <a:r>
              <a:rPr sz="1400" dirty="0">
                <a:latin typeface="Arial"/>
                <a:cs typeface="Arial"/>
              </a:rPr>
              <a:t>ed</a:t>
            </a:r>
            <a:r>
              <a:rPr sz="1400" spc="-14" dirty="0">
                <a:latin typeface="Arial"/>
                <a:cs typeface="Arial"/>
              </a:rPr>
              <a:t> </a:t>
            </a:r>
            <a:r>
              <a:rPr sz="1400" dirty="0">
                <a:latin typeface="Arial"/>
                <a:cs typeface="Arial"/>
              </a:rPr>
              <a:t>as</a:t>
            </a:r>
            <a:r>
              <a:rPr sz="1400" spc="-9" dirty="0">
                <a:latin typeface="Arial"/>
                <a:cs typeface="Arial"/>
              </a:rPr>
              <a:t> </a:t>
            </a:r>
            <a:r>
              <a:rPr sz="1400" dirty="0">
                <a:latin typeface="Arial"/>
                <a:cs typeface="Arial"/>
              </a:rPr>
              <a:t>a re</a:t>
            </a:r>
            <a:r>
              <a:rPr sz="1400" spc="4" dirty="0">
                <a:latin typeface="Arial"/>
                <a:cs typeface="Arial"/>
              </a:rPr>
              <a:t>f</a:t>
            </a:r>
            <a:r>
              <a:rPr sz="1400" dirty="0">
                <a:latin typeface="Arial"/>
                <a:cs typeface="Arial"/>
              </a:rPr>
              <a:t>eren</a:t>
            </a:r>
            <a:r>
              <a:rPr sz="1400" spc="-4" dirty="0">
                <a:latin typeface="Arial"/>
                <a:cs typeface="Arial"/>
              </a:rPr>
              <a:t>c</a:t>
            </a:r>
            <a:r>
              <a:rPr sz="1400" dirty="0">
                <a:latin typeface="Arial"/>
                <a:cs typeface="Arial"/>
              </a:rPr>
              <a:t>e</a:t>
            </a:r>
            <a:r>
              <a:rPr sz="1400" spc="-50" dirty="0">
                <a:latin typeface="Arial"/>
                <a:cs typeface="Arial"/>
              </a:rPr>
              <a:t> </a:t>
            </a:r>
            <a:r>
              <a:rPr sz="1400" spc="4" dirty="0">
                <a:latin typeface="Arial"/>
                <a:cs typeface="Arial"/>
              </a:rPr>
              <a:t>f</a:t>
            </a:r>
            <a:r>
              <a:rPr sz="1400" dirty="0">
                <a:latin typeface="Arial"/>
                <a:cs typeface="Arial"/>
              </a:rPr>
              <a:t>or</a:t>
            </a:r>
            <a:r>
              <a:rPr sz="1400" spc="-14" dirty="0">
                <a:latin typeface="Arial"/>
                <a:cs typeface="Arial"/>
              </a:rPr>
              <a:t> </a:t>
            </a:r>
            <a:r>
              <a:rPr sz="1400" dirty="0">
                <a:latin typeface="Arial"/>
                <a:cs typeface="Arial"/>
              </a:rPr>
              <a:t>billing?</a:t>
            </a:r>
          </a:p>
          <a:p>
            <a:pPr marL="278892" marR="1980376" indent="-187451">
              <a:lnSpc>
                <a:spcPts val="1609"/>
              </a:lnSpc>
              <a:spcBef>
                <a:spcPts val="1443"/>
              </a:spcBef>
            </a:pPr>
            <a:r>
              <a:rPr sz="1400" dirty="0">
                <a:latin typeface="Arial"/>
                <a:cs typeface="Arial"/>
              </a:rPr>
              <a:t>2)</a:t>
            </a:r>
            <a:r>
              <a:rPr sz="1400" spc="-29" dirty="0">
                <a:latin typeface="Arial"/>
                <a:cs typeface="Arial"/>
              </a:rPr>
              <a:t> </a:t>
            </a:r>
            <a:r>
              <a:rPr sz="1400" spc="-4" dirty="0">
                <a:latin typeface="Arial"/>
                <a:cs typeface="Arial"/>
              </a:rPr>
              <a:t>D</a:t>
            </a:r>
            <a:r>
              <a:rPr sz="1400" dirty="0">
                <a:latin typeface="Arial"/>
                <a:cs typeface="Arial"/>
              </a:rPr>
              <a:t>e</a:t>
            </a:r>
            <a:r>
              <a:rPr sz="1400" spc="4" dirty="0">
                <a:latin typeface="Arial"/>
                <a:cs typeface="Arial"/>
              </a:rPr>
              <a:t>t</a:t>
            </a:r>
            <a:r>
              <a:rPr sz="1400" dirty="0">
                <a:latin typeface="Arial"/>
                <a:cs typeface="Arial"/>
              </a:rPr>
              <a:t>er</a:t>
            </a:r>
            <a:r>
              <a:rPr sz="1400" spc="-4" dirty="0">
                <a:latin typeface="Arial"/>
                <a:cs typeface="Arial"/>
              </a:rPr>
              <a:t>m</a:t>
            </a:r>
            <a:r>
              <a:rPr sz="1400" dirty="0">
                <a:latin typeface="Arial"/>
                <a:cs typeface="Arial"/>
              </a:rPr>
              <a:t>ina</a:t>
            </a:r>
            <a:r>
              <a:rPr sz="1400" spc="4" dirty="0">
                <a:latin typeface="Arial"/>
                <a:cs typeface="Arial"/>
              </a:rPr>
              <a:t>t</a:t>
            </a:r>
            <a:r>
              <a:rPr sz="1400" dirty="0">
                <a:latin typeface="Arial"/>
                <a:cs typeface="Arial"/>
              </a:rPr>
              <a:t>ion</a:t>
            </a:r>
            <a:r>
              <a:rPr sz="1400" spc="-39" dirty="0">
                <a:latin typeface="Arial"/>
                <a:cs typeface="Arial"/>
              </a:rPr>
              <a:t> </a:t>
            </a:r>
            <a:r>
              <a:rPr sz="1400" dirty="0">
                <a:latin typeface="Arial"/>
                <a:cs typeface="Arial"/>
              </a:rPr>
              <a:t>of</a:t>
            </a:r>
            <a:r>
              <a:rPr sz="1400" spc="-9" dirty="0">
                <a:latin typeface="Arial"/>
                <a:cs typeface="Arial"/>
              </a:rPr>
              <a:t> </a:t>
            </a:r>
            <a:r>
              <a:rPr sz="1400" dirty="0">
                <a:latin typeface="Arial"/>
                <a:cs typeface="Arial"/>
              </a:rPr>
              <a:t>: </a:t>
            </a:r>
          </a:p>
          <a:p>
            <a:pPr marL="278892" marR="1980376">
              <a:lnSpc>
                <a:spcPts val="1609"/>
              </a:lnSpc>
              <a:spcBef>
                <a:spcPts val="909"/>
              </a:spcBef>
            </a:pPr>
            <a:r>
              <a:rPr sz="1400" spc="-4" dirty="0">
                <a:latin typeface="Arial"/>
                <a:cs typeface="Arial"/>
              </a:rPr>
              <a:t>F</a:t>
            </a:r>
            <a:r>
              <a:rPr sz="1400" dirty="0">
                <a:latin typeface="Arial"/>
                <a:cs typeface="Arial"/>
              </a:rPr>
              <a:t>oreign</a:t>
            </a:r>
            <a:r>
              <a:rPr sz="1400" spc="-64" dirty="0">
                <a:latin typeface="Arial"/>
                <a:cs typeface="Arial"/>
              </a:rPr>
              <a:t> </a:t>
            </a:r>
            <a:r>
              <a:rPr sz="1400" spc="-54" dirty="0">
                <a:latin typeface="Arial"/>
                <a:cs typeface="Arial"/>
              </a:rPr>
              <a:t>T</a:t>
            </a:r>
            <a:r>
              <a:rPr sz="1400" dirty="0">
                <a:latin typeface="Arial"/>
                <a:cs typeface="Arial"/>
              </a:rPr>
              <a:t>rade</a:t>
            </a:r>
            <a:r>
              <a:rPr sz="1400" spc="-29" dirty="0">
                <a:latin typeface="Arial"/>
                <a:cs typeface="Arial"/>
              </a:rPr>
              <a:t> </a:t>
            </a:r>
            <a:r>
              <a:rPr sz="1400" dirty="0">
                <a:latin typeface="Arial"/>
                <a:cs typeface="Arial"/>
              </a:rPr>
              <a:t>da</a:t>
            </a:r>
            <a:r>
              <a:rPr sz="1400" spc="4" dirty="0">
                <a:latin typeface="Arial"/>
                <a:cs typeface="Arial"/>
              </a:rPr>
              <a:t>t</a:t>
            </a:r>
            <a:r>
              <a:rPr sz="1400" dirty="0">
                <a:latin typeface="Arial"/>
                <a:cs typeface="Arial"/>
              </a:rPr>
              <a:t>a </a:t>
            </a:r>
          </a:p>
          <a:p>
            <a:pPr marL="278892" marR="1980376">
              <a:lnSpc>
                <a:spcPts val="1609"/>
              </a:lnSpc>
              <a:spcBef>
                <a:spcPts val="909"/>
              </a:spcBef>
            </a:pPr>
            <a:r>
              <a:rPr sz="1400" dirty="0">
                <a:latin typeface="Arial"/>
                <a:cs typeface="Arial"/>
              </a:rPr>
              <a:t>Allo</a:t>
            </a:r>
            <a:r>
              <a:rPr sz="1400" spc="4" dirty="0">
                <a:latin typeface="Arial"/>
                <a:cs typeface="Arial"/>
              </a:rPr>
              <a:t>c</a:t>
            </a:r>
            <a:r>
              <a:rPr sz="1400" dirty="0">
                <a:latin typeface="Arial"/>
                <a:cs typeface="Arial"/>
              </a:rPr>
              <a:t>a</a:t>
            </a:r>
            <a:r>
              <a:rPr sz="1400" spc="4" dirty="0">
                <a:latin typeface="Arial"/>
                <a:cs typeface="Arial"/>
              </a:rPr>
              <a:t>t</a:t>
            </a:r>
            <a:r>
              <a:rPr sz="1400" dirty="0">
                <a:latin typeface="Arial"/>
                <a:cs typeface="Arial"/>
              </a:rPr>
              <a:t>ion</a:t>
            </a:r>
            <a:r>
              <a:rPr sz="1400" spc="-50" dirty="0">
                <a:latin typeface="Arial"/>
                <a:cs typeface="Arial"/>
              </a:rPr>
              <a:t> </a:t>
            </a:r>
            <a:r>
              <a:rPr sz="1400" spc="-4" dirty="0">
                <a:latin typeface="Arial"/>
                <a:cs typeface="Arial"/>
              </a:rPr>
              <a:t>N</a:t>
            </a:r>
            <a:r>
              <a:rPr sz="1400" dirty="0">
                <a:latin typeface="Arial"/>
                <a:cs typeface="Arial"/>
              </a:rPr>
              <a:t>u</a:t>
            </a:r>
            <a:r>
              <a:rPr sz="1400" spc="-4" dirty="0">
                <a:latin typeface="Arial"/>
                <a:cs typeface="Arial"/>
              </a:rPr>
              <a:t>m</a:t>
            </a:r>
            <a:r>
              <a:rPr sz="1400" dirty="0">
                <a:latin typeface="Arial"/>
                <a:cs typeface="Arial"/>
              </a:rPr>
              <a:t>bers </a:t>
            </a:r>
          </a:p>
          <a:p>
            <a:pPr marL="278892" marR="1980376">
              <a:lnSpc>
                <a:spcPts val="1609"/>
              </a:lnSpc>
              <a:spcBef>
                <a:spcPts val="909"/>
              </a:spcBef>
            </a:pPr>
            <a:r>
              <a:rPr sz="1400" spc="-4" dirty="0">
                <a:latin typeface="Arial"/>
                <a:cs typeface="Arial"/>
              </a:rPr>
              <a:t>R</a:t>
            </a:r>
            <a:r>
              <a:rPr sz="1400" dirty="0">
                <a:latin typeface="Arial"/>
                <a:cs typeface="Arial"/>
              </a:rPr>
              <a:t>e</a:t>
            </a:r>
            <a:r>
              <a:rPr sz="1400" spc="4" dirty="0">
                <a:latin typeface="Arial"/>
                <a:cs typeface="Arial"/>
              </a:rPr>
              <a:t>f</a:t>
            </a:r>
            <a:r>
              <a:rPr sz="1400" dirty="0">
                <a:latin typeface="Arial"/>
                <a:cs typeface="Arial"/>
              </a:rPr>
              <a:t>eren</a:t>
            </a:r>
            <a:r>
              <a:rPr sz="1400" spc="4" dirty="0">
                <a:latin typeface="Arial"/>
                <a:cs typeface="Arial"/>
              </a:rPr>
              <a:t>c</a:t>
            </a:r>
            <a:r>
              <a:rPr sz="1400" dirty="0">
                <a:latin typeface="Arial"/>
                <a:cs typeface="Arial"/>
              </a:rPr>
              <a:t>e</a:t>
            </a:r>
            <a:r>
              <a:rPr sz="1400" spc="-50" dirty="0">
                <a:latin typeface="Arial"/>
                <a:cs typeface="Arial"/>
              </a:rPr>
              <a:t> </a:t>
            </a:r>
            <a:r>
              <a:rPr sz="1400" spc="-4" dirty="0">
                <a:latin typeface="Arial"/>
                <a:cs typeface="Arial"/>
              </a:rPr>
              <a:t>N</a:t>
            </a:r>
            <a:r>
              <a:rPr sz="1400" dirty="0">
                <a:latin typeface="Arial"/>
                <a:cs typeface="Arial"/>
              </a:rPr>
              <a:t>u</a:t>
            </a:r>
            <a:r>
              <a:rPr sz="1400" spc="-4" dirty="0">
                <a:latin typeface="Arial"/>
                <a:cs typeface="Arial"/>
              </a:rPr>
              <a:t>m</a:t>
            </a:r>
            <a:r>
              <a:rPr sz="1400" dirty="0">
                <a:latin typeface="Arial"/>
                <a:cs typeface="Arial"/>
              </a:rPr>
              <a:t>bers </a:t>
            </a:r>
          </a:p>
          <a:p>
            <a:pPr marL="278892" marR="1980376">
              <a:lnSpc>
                <a:spcPts val="1609"/>
              </a:lnSpc>
              <a:spcBef>
                <a:spcPts val="909"/>
              </a:spcBef>
            </a:pPr>
            <a:r>
              <a:rPr sz="1400" spc="4" dirty="0">
                <a:latin typeface="Arial"/>
                <a:cs typeface="Arial"/>
              </a:rPr>
              <a:t>It</a:t>
            </a:r>
            <a:r>
              <a:rPr sz="1400" dirty="0">
                <a:latin typeface="Arial"/>
                <a:cs typeface="Arial"/>
              </a:rPr>
              <a:t>em</a:t>
            </a:r>
            <a:r>
              <a:rPr sz="1400" spc="-44" dirty="0">
                <a:latin typeface="Arial"/>
                <a:cs typeface="Arial"/>
              </a:rPr>
              <a:t> </a:t>
            </a:r>
            <a:r>
              <a:rPr sz="1400" spc="-4" dirty="0">
                <a:latin typeface="Arial"/>
                <a:cs typeface="Arial"/>
              </a:rPr>
              <a:t>N</a:t>
            </a:r>
            <a:r>
              <a:rPr sz="1400" dirty="0">
                <a:latin typeface="Arial"/>
                <a:cs typeface="Arial"/>
              </a:rPr>
              <a:t>u</a:t>
            </a:r>
            <a:r>
              <a:rPr sz="1400" spc="-4" dirty="0">
                <a:latin typeface="Arial"/>
                <a:cs typeface="Arial"/>
              </a:rPr>
              <a:t>m</a:t>
            </a:r>
            <a:r>
              <a:rPr sz="1400" dirty="0">
                <a:latin typeface="Arial"/>
                <a:cs typeface="Arial"/>
              </a:rPr>
              <a:t>bers</a:t>
            </a:r>
          </a:p>
        </p:txBody>
      </p:sp>
      <p:sp>
        <p:nvSpPr>
          <p:cNvPr id="2" name="object 2"/>
          <p:cNvSpPr txBox="1"/>
          <p:nvPr/>
        </p:nvSpPr>
        <p:spPr>
          <a:xfrm>
            <a:off x="6324600" y="1981200"/>
            <a:ext cx="3886200" cy="3810000"/>
          </a:xfrm>
          <a:prstGeom prst="rect">
            <a:avLst/>
          </a:prstGeom>
        </p:spPr>
        <p:txBody>
          <a:bodyPr wrap="square" lIns="0" tIns="0" rIns="0" bIns="0" rtlCol="0">
            <a:noAutofit/>
          </a:bodyPr>
          <a:lstStyle/>
          <a:p>
            <a:pPr>
              <a:lnSpc>
                <a:spcPts val="1000"/>
              </a:lnSpc>
            </a:pPr>
            <a:endParaRPr sz="1000"/>
          </a:p>
          <a:p>
            <a:pPr marL="625728">
              <a:lnSpc>
                <a:spcPct val="95825"/>
              </a:lnSpc>
              <a:spcBef>
                <a:spcPts val="2399"/>
              </a:spcBef>
            </a:pPr>
            <a:r>
              <a:rPr sz="1000" spc="14" dirty="0">
                <a:latin typeface="Arial"/>
                <a:cs typeface="Arial"/>
              </a:rPr>
              <a:t>T</a:t>
            </a:r>
            <a:r>
              <a:rPr sz="1000" dirty="0">
                <a:latin typeface="Arial"/>
                <a:cs typeface="Arial"/>
              </a:rPr>
              <a:t>arget</a:t>
            </a:r>
            <a:r>
              <a:rPr sz="1000" spc="-68" dirty="0">
                <a:latin typeface="Arial"/>
                <a:cs typeface="Arial"/>
              </a:rPr>
              <a:t> </a:t>
            </a:r>
            <a:r>
              <a:rPr sz="1000" spc="-4" dirty="0">
                <a:latin typeface="Arial"/>
                <a:cs typeface="Arial"/>
              </a:rPr>
              <a:t>Billi</a:t>
            </a:r>
            <a:r>
              <a:rPr sz="1000" dirty="0">
                <a:latin typeface="Arial"/>
                <a:cs typeface="Arial"/>
              </a:rPr>
              <a:t>ng</a:t>
            </a:r>
            <a:r>
              <a:rPr sz="1000" spc="3"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e  </a:t>
            </a:r>
            <a:r>
              <a:rPr sz="1000" spc="228" dirty="0">
                <a:latin typeface="Arial"/>
                <a:cs typeface="Arial"/>
              </a:rPr>
              <a:t> </a:t>
            </a:r>
            <a:r>
              <a:rPr sz="1000" spc="-4" dirty="0">
                <a:latin typeface="Arial"/>
                <a:cs typeface="Arial"/>
              </a:rPr>
              <a:t>S</a:t>
            </a:r>
            <a:r>
              <a:rPr sz="1000" dirty="0">
                <a:latin typeface="Arial"/>
                <a:cs typeface="Arial"/>
              </a:rPr>
              <a:t>o</a:t>
            </a:r>
            <a:r>
              <a:rPr sz="1000" spc="-4" dirty="0">
                <a:latin typeface="Arial"/>
                <a:cs typeface="Arial"/>
              </a:rPr>
              <a:t>u</a:t>
            </a:r>
            <a:r>
              <a:rPr sz="1000" spc="4" dirty="0">
                <a:latin typeface="Arial"/>
                <a:cs typeface="Arial"/>
              </a:rPr>
              <a:t>rc</a:t>
            </a:r>
            <a:r>
              <a:rPr sz="1000" dirty="0">
                <a:latin typeface="Arial"/>
                <a:cs typeface="Arial"/>
              </a:rPr>
              <a:t>e</a:t>
            </a:r>
            <a:r>
              <a:rPr sz="1000" spc="-56" dirty="0">
                <a:latin typeface="Arial"/>
                <a:cs typeface="Arial"/>
              </a:rPr>
              <a:t> </a:t>
            </a:r>
            <a:r>
              <a:rPr sz="1000" dirty="0">
                <a:latin typeface="Arial"/>
                <a:cs typeface="Arial"/>
              </a:rPr>
              <a:t>De</a:t>
            </a:r>
            <a:r>
              <a:rPr sz="1000" spc="-4" dirty="0">
                <a:latin typeface="Arial"/>
                <a:cs typeface="Arial"/>
              </a:rPr>
              <a:t>l</a:t>
            </a:r>
            <a:r>
              <a:rPr sz="1000" dirty="0">
                <a:latin typeface="Arial"/>
                <a:cs typeface="Arial"/>
              </a:rPr>
              <a:t>.</a:t>
            </a:r>
            <a:r>
              <a:rPr sz="1000" spc="-7"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e  </a:t>
            </a:r>
            <a:r>
              <a:rPr sz="1000" spc="243" dirty="0">
                <a:latin typeface="Arial"/>
                <a:cs typeface="Arial"/>
              </a:rPr>
              <a:t> </a:t>
            </a:r>
            <a:r>
              <a:rPr sz="1000" spc="-4" dirty="0">
                <a:latin typeface="Arial"/>
                <a:cs typeface="Arial"/>
              </a:rPr>
              <a:t>S</a:t>
            </a:r>
            <a:r>
              <a:rPr sz="1000" dirty="0">
                <a:latin typeface="Arial"/>
                <a:cs typeface="Arial"/>
              </a:rPr>
              <a:t>o</a:t>
            </a:r>
            <a:r>
              <a:rPr sz="1000" spc="-4" dirty="0">
                <a:latin typeface="Arial"/>
                <a:cs typeface="Arial"/>
              </a:rPr>
              <a:t>u</a:t>
            </a:r>
            <a:r>
              <a:rPr sz="1000" spc="4" dirty="0">
                <a:latin typeface="Arial"/>
                <a:cs typeface="Arial"/>
              </a:rPr>
              <a:t>rc</a:t>
            </a:r>
            <a:r>
              <a:rPr sz="1000" dirty="0">
                <a:latin typeface="Arial"/>
                <a:cs typeface="Arial"/>
              </a:rPr>
              <a:t>e</a:t>
            </a:r>
            <a:r>
              <a:rPr sz="1000" spc="-56" dirty="0">
                <a:latin typeface="Arial"/>
                <a:cs typeface="Arial"/>
              </a:rPr>
              <a:t> </a:t>
            </a:r>
            <a:r>
              <a:rPr sz="1000" dirty="0">
                <a:latin typeface="Arial"/>
                <a:cs typeface="Arial"/>
              </a:rPr>
              <a:t>It</a:t>
            </a:r>
            <a:r>
              <a:rPr sz="1000" spc="-4" dirty="0">
                <a:latin typeface="Arial"/>
                <a:cs typeface="Arial"/>
              </a:rPr>
              <a:t>e</a:t>
            </a:r>
            <a:r>
              <a:rPr sz="1000" dirty="0">
                <a:latin typeface="Arial"/>
                <a:cs typeface="Arial"/>
              </a:rPr>
              <a:t>m</a:t>
            </a:r>
            <a:r>
              <a:rPr sz="1000" spc="-9" dirty="0">
                <a:latin typeface="Arial"/>
                <a:cs typeface="Arial"/>
              </a:rPr>
              <a:t> </a:t>
            </a:r>
            <a:r>
              <a:rPr sz="1000" dirty="0">
                <a:latin typeface="Arial"/>
                <a:cs typeface="Arial"/>
              </a:rPr>
              <a:t>Cat.</a:t>
            </a:r>
            <a:endParaRPr sz="1000">
              <a:latin typeface="Arial"/>
              <a:cs typeface="Arial"/>
            </a:endParaRPr>
          </a:p>
          <a:p>
            <a:pPr marL="244475">
              <a:lnSpc>
                <a:spcPct val="95825"/>
              </a:lnSpc>
              <a:spcBef>
                <a:spcPts val="1284"/>
              </a:spcBef>
            </a:pPr>
            <a:r>
              <a:rPr sz="2000" dirty="0">
                <a:latin typeface="Arial"/>
                <a:cs typeface="Arial"/>
              </a:rPr>
              <a:t>I</a:t>
            </a:r>
            <a:r>
              <a:rPr sz="2000" spc="-9" dirty="0">
                <a:latin typeface="Arial"/>
                <a:cs typeface="Arial"/>
              </a:rPr>
              <a:t>t</a:t>
            </a:r>
            <a:r>
              <a:rPr sz="2000" dirty="0">
                <a:latin typeface="Arial"/>
                <a:cs typeface="Arial"/>
              </a:rPr>
              <a:t>em   </a:t>
            </a:r>
            <a:r>
              <a:rPr sz="2000" spc="498" dirty="0">
                <a:latin typeface="Arial"/>
                <a:cs typeface="Arial"/>
              </a:rPr>
              <a:t> </a:t>
            </a:r>
            <a:r>
              <a:rPr sz="2000" dirty="0">
                <a:latin typeface="Arial"/>
                <a:cs typeface="Arial"/>
              </a:rPr>
              <a:t>F2       </a:t>
            </a:r>
            <a:r>
              <a:rPr sz="2000" spc="503" dirty="0">
                <a:latin typeface="Arial"/>
                <a:cs typeface="Arial"/>
              </a:rPr>
              <a:t> </a:t>
            </a:r>
            <a:r>
              <a:rPr sz="2000" dirty="0">
                <a:latin typeface="Arial"/>
                <a:cs typeface="Arial"/>
              </a:rPr>
              <a:t>LF         </a:t>
            </a:r>
            <a:r>
              <a:rPr sz="2000" spc="468" dirty="0">
                <a:latin typeface="Arial"/>
                <a:cs typeface="Arial"/>
              </a:rPr>
              <a:t> </a:t>
            </a:r>
            <a:r>
              <a:rPr sz="2000" spc="-144" dirty="0">
                <a:latin typeface="Arial"/>
                <a:cs typeface="Arial"/>
              </a:rPr>
              <a:t>T</a:t>
            </a:r>
            <a:r>
              <a:rPr sz="2000" dirty="0">
                <a:latin typeface="Arial"/>
                <a:cs typeface="Arial"/>
              </a:rPr>
              <a:t>AN</a:t>
            </a:r>
            <a:endParaRPr sz="2000">
              <a:latin typeface="Arial"/>
              <a:cs typeface="Arial"/>
            </a:endParaRPr>
          </a:p>
          <a:p>
            <a:pPr marL="168275" marR="227012">
              <a:lnSpc>
                <a:spcPct val="100041"/>
              </a:lnSpc>
              <a:spcBef>
                <a:spcPts val="3074"/>
              </a:spcBef>
            </a:pPr>
            <a:r>
              <a:rPr sz="1400" dirty="0">
                <a:latin typeface="Arial"/>
                <a:cs typeface="Arial"/>
              </a:rPr>
              <a:t>1)</a:t>
            </a:r>
            <a:r>
              <a:rPr sz="1400" spc="-29" dirty="0">
                <a:latin typeface="Arial"/>
                <a:cs typeface="Arial"/>
              </a:rPr>
              <a:t> </a:t>
            </a:r>
            <a:r>
              <a:rPr sz="1400" spc="19" dirty="0">
                <a:latin typeface="Arial"/>
                <a:cs typeface="Arial"/>
              </a:rPr>
              <a:t>W</a:t>
            </a:r>
            <a:r>
              <a:rPr sz="1400" dirty="0">
                <a:latin typeface="Arial"/>
                <a:cs typeface="Arial"/>
              </a:rPr>
              <a:t>hi</a:t>
            </a:r>
            <a:r>
              <a:rPr sz="1400" spc="4" dirty="0">
                <a:latin typeface="Arial"/>
                <a:cs typeface="Arial"/>
              </a:rPr>
              <a:t>c</a:t>
            </a:r>
            <a:r>
              <a:rPr sz="1400" dirty="0">
                <a:latin typeface="Arial"/>
                <a:cs typeface="Arial"/>
              </a:rPr>
              <a:t>h</a:t>
            </a:r>
            <a:r>
              <a:rPr sz="1400" spc="-29" dirty="0">
                <a:latin typeface="Arial"/>
                <a:cs typeface="Arial"/>
              </a:rPr>
              <a:t> </a:t>
            </a:r>
            <a:r>
              <a:rPr sz="1400" dirty="0">
                <a:latin typeface="Arial"/>
                <a:cs typeface="Arial"/>
              </a:rPr>
              <a:t>quanti</a:t>
            </a:r>
            <a:r>
              <a:rPr sz="1400" spc="9" dirty="0">
                <a:latin typeface="Arial"/>
                <a:cs typeface="Arial"/>
              </a:rPr>
              <a:t>t</a:t>
            </a:r>
            <a:r>
              <a:rPr sz="1400" dirty="0">
                <a:latin typeface="Arial"/>
                <a:cs typeface="Arial"/>
              </a:rPr>
              <a:t>y</a:t>
            </a:r>
            <a:r>
              <a:rPr sz="1400" spc="-44" dirty="0">
                <a:latin typeface="Arial"/>
                <a:cs typeface="Arial"/>
              </a:rPr>
              <a:t> </a:t>
            </a:r>
            <a:r>
              <a:rPr sz="1400" spc="4" dirty="0">
                <a:latin typeface="Arial"/>
                <a:cs typeface="Arial"/>
              </a:rPr>
              <a:t>s</a:t>
            </a:r>
            <a:r>
              <a:rPr sz="1400" dirty="0">
                <a:latin typeface="Arial"/>
                <a:cs typeface="Arial"/>
              </a:rPr>
              <a:t>hould</a:t>
            </a:r>
            <a:r>
              <a:rPr sz="1400" spc="-29" dirty="0">
                <a:latin typeface="Arial"/>
                <a:cs typeface="Arial"/>
              </a:rPr>
              <a:t> </a:t>
            </a:r>
            <a:r>
              <a:rPr sz="1400" dirty="0">
                <a:latin typeface="Arial"/>
                <a:cs typeface="Arial"/>
              </a:rPr>
              <a:t>be</a:t>
            </a:r>
            <a:r>
              <a:rPr sz="1400" spc="-4" dirty="0">
                <a:latin typeface="Arial"/>
                <a:cs typeface="Arial"/>
              </a:rPr>
              <a:t> </a:t>
            </a:r>
            <a:r>
              <a:rPr sz="1400" dirty="0">
                <a:latin typeface="Arial"/>
                <a:cs typeface="Arial"/>
              </a:rPr>
              <a:t>in</a:t>
            </a:r>
            <a:r>
              <a:rPr sz="1400" spc="-19" dirty="0">
                <a:latin typeface="Arial"/>
                <a:cs typeface="Arial"/>
              </a:rPr>
              <a:t>v</a:t>
            </a:r>
            <a:r>
              <a:rPr sz="1400" dirty="0">
                <a:latin typeface="Arial"/>
                <a:cs typeface="Arial"/>
              </a:rPr>
              <a:t>oi</a:t>
            </a:r>
            <a:r>
              <a:rPr sz="1400" spc="4" dirty="0">
                <a:latin typeface="Arial"/>
                <a:cs typeface="Arial"/>
              </a:rPr>
              <a:t>c</a:t>
            </a:r>
            <a:r>
              <a:rPr sz="1400" dirty="0">
                <a:latin typeface="Arial"/>
                <a:cs typeface="Arial"/>
              </a:rPr>
              <a:t>ed</a:t>
            </a:r>
            <a:r>
              <a:rPr sz="1400" spc="377" dirty="0">
                <a:latin typeface="Arial"/>
                <a:cs typeface="Arial"/>
              </a:rPr>
              <a:t> </a:t>
            </a:r>
            <a:r>
              <a:rPr sz="1400" dirty="0">
                <a:latin typeface="Arial"/>
                <a:cs typeface="Arial"/>
              </a:rPr>
              <a:t>(order or</a:t>
            </a:r>
            <a:r>
              <a:rPr sz="1400" spc="-29" dirty="0">
                <a:latin typeface="Arial"/>
                <a:cs typeface="Arial"/>
              </a:rPr>
              <a:t> </a:t>
            </a:r>
            <a:r>
              <a:rPr sz="1400" dirty="0">
                <a:latin typeface="Arial"/>
                <a:cs typeface="Arial"/>
              </a:rPr>
              <a:t>deli</a:t>
            </a:r>
            <a:r>
              <a:rPr sz="1400" spc="-19" dirty="0">
                <a:latin typeface="Arial"/>
                <a:cs typeface="Arial"/>
              </a:rPr>
              <a:t>v</a:t>
            </a:r>
            <a:r>
              <a:rPr sz="1400" dirty="0">
                <a:latin typeface="Arial"/>
                <a:cs typeface="Arial"/>
              </a:rPr>
              <a:t>ery quanti</a:t>
            </a:r>
            <a:r>
              <a:rPr sz="1400" spc="9" dirty="0">
                <a:latin typeface="Arial"/>
                <a:cs typeface="Arial"/>
              </a:rPr>
              <a:t>t</a:t>
            </a:r>
            <a:r>
              <a:rPr sz="1400" spc="-19" dirty="0">
                <a:latin typeface="Arial"/>
                <a:cs typeface="Arial"/>
              </a:rPr>
              <a:t>y</a:t>
            </a:r>
            <a:r>
              <a:rPr sz="1400" dirty="0">
                <a:latin typeface="Arial"/>
                <a:cs typeface="Arial"/>
              </a:rPr>
              <a:t>)</a:t>
            </a:r>
            <a:r>
              <a:rPr sz="1400" spc="-25" dirty="0">
                <a:latin typeface="Arial"/>
                <a:cs typeface="Arial"/>
              </a:rPr>
              <a:t> </a:t>
            </a:r>
            <a:r>
              <a:rPr sz="1400" dirty="0">
                <a:latin typeface="Arial"/>
                <a:cs typeface="Arial"/>
              </a:rPr>
              <a:t>?</a:t>
            </a:r>
            <a:endParaRPr sz="1400">
              <a:latin typeface="Arial"/>
              <a:cs typeface="Arial"/>
            </a:endParaRPr>
          </a:p>
          <a:p>
            <a:pPr marL="168275">
              <a:lnSpc>
                <a:spcPct val="95825"/>
              </a:lnSpc>
              <a:spcBef>
                <a:spcPts val="1568"/>
              </a:spcBef>
            </a:pPr>
            <a:r>
              <a:rPr sz="1400" dirty="0">
                <a:latin typeface="Arial"/>
                <a:cs typeface="Arial"/>
              </a:rPr>
              <a:t>2)</a:t>
            </a:r>
            <a:r>
              <a:rPr sz="1400" spc="-29" dirty="0">
                <a:latin typeface="Arial"/>
                <a:cs typeface="Arial"/>
              </a:rPr>
              <a:t> </a:t>
            </a:r>
            <a:r>
              <a:rPr sz="1400" dirty="0">
                <a:latin typeface="Arial"/>
                <a:cs typeface="Arial"/>
              </a:rPr>
              <a:t>Pri</a:t>
            </a:r>
            <a:r>
              <a:rPr sz="1400" spc="4" dirty="0">
                <a:latin typeface="Arial"/>
                <a:cs typeface="Arial"/>
              </a:rPr>
              <a:t>c</a:t>
            </a:r>
            <a:r>
              <a:rPr sz="1400" dirty="0">
                <a:latin typeface="Arial"/>
                <a:cs typeface="Arial"/>
              </a:rPr>
              <a:t>ing</a:t>
            </a:r>
            <a:r>
              <a:rPr sz="1400" spc="-14" dirty="0">
                <a:latin typeface="Arial"/>
                <a:cs typeface="Arial"/>
              </a:rPr>
              <a:t> </a:t>
            </a:r>
            <a:r>
              <a:rPr sz="1400" dirty="0">
                <a:latin typeface="Arial"/>
                <a:cs typeface="Arial"/>
              </a:rPr>
              <a:t>and</a:t>
            </a:r>
            <a:r>
              <a:rPr sz="1400" spc="-14" dirty="0">
                <a:latin typeface="Arial"/>
                <a:cs typeface="Arial"/>
              </a:rPr>
              <a:t> </a:t>
            </a:r>
            <a:r>
              <a:rPr sz="1400" dirty="0">
                <a:latin typeface="Arial"/>
                <a:cs typeface="Arial"/>
              </a:rPr>
              <a:t>e</a:t>
            </a:r>
            <a:r>
              <a:rPr sz="1400" spc="-19" dirty="0">
                <a:latin typeface="Arial"/>
                <a:cs typeface="Arial"/>
              </a:rPr>
              <a:t>x</a:t>
            </a:r>
            <a:r>
              <a:rPr sz="1400" spc="4" dirty="0">
                <a:latin typeface="Arial"/>
                <a:cs typeface="Arial"/>
              </a:rPr>
              <a:t>c</a:t>
            </a:r>
            <a:r>
              <a:rPr sz="1400" dirty="0">
                <a:latin typeface="Arial"/>
                <a:cs typeface="Arial"/>
              </a:rPr>
              <a:t>hange</a:t>
            </a:r>
            <a:r>
              <a:rPr sz="1400" spc="-29" dirty="0">
                <a:latin typeface="Arial"/>
                <a:cs typeface="Arial"/>
              </a:rPr>
              <a:t> </a:t>
            </a:r>
            <a:r>
              <a:rPr sz="1400" dirty="0">
                <a:latin typeface="Arial"/>
                <a:cs typeface="Arial"/>
              </a:rPr>
              <a:t>ra</a:t>
            </a:r>
            <a:r>
              <a:rPr sz="1400" spc="4" dirty="0">
                <a:latin typeface="Arial"/>
                <a:cs typeface="Arial"/>
              </a:rPr>
              <a:t>t</a:t>
            </a:r>
            <a:r>
              <a:rPr sz="1400" dirty="0">
                <a:latin typeface="Arial"/>
                <a:cs typeface="Arial"/>
              </a:rPr>
              <a:t>e</a:t>
            </a:r>
            <a:r>
              <a:rPr sz="1400" spc="-14" dirty="0">
                <a:latin typeface="Arial"/>
                <a:cs typeface="Arial"/>
              </a:rPr>
              <a:t> </a:t>
            </a:r>
            <a:r>
              <a:rPr sz="1400" dirty="0">
                <a:latin typeface="Arial"/>
                <a:cs typeface="Arial"/>
              </a:rPr>
              <a:t>?</a:t>
            </a:r>
            <a:endParaRPr sz="1400">
              <a:latin typeface="Arial"/>
              <a:cs typeface="Arial"/>
            </a:endParaRPr>
          </a:p>
          <a:p>
            <a:pPr marL="168275" marR="149155">
              <a:lnSpc>
                <a:spcPct val="100041"/>
              </a:lnSpc>
              <a:spcBef>
                <a:spcPts val="1390"/>
              </a:spcBef>
            </a:pPr>
            <a:r>
              <a:rPr sz="1400" dirty="0">
                <a:latin typeface="Arial"/>
                <a:cs typeface="Arial"/>
              </a:rPr>
              <a:t>3)</a:t>
            </a:r>
            <a:r>
              <a:rPr sz="1400" spc="-29" dirty="0">
                <a:latin typeface="Arial"/>
                <a:cs typeface="Arial"/>
              </a:rPr>
              <a:t> </a:t>
            </a:r>
            <a:r>
              <a:rPr sz="1400" spc="-4" dirty="0">
                <a:latin typeface="Arial"/>
                <a:cs typeface="Arial"/>
              </a:rPr>
              <a:t>U</a:t>
            </a:r>
            <a:r>
              <a:rPr sz="1400" dirty="0">
                <a:latin typeface="Arial"/>
                <a:cs typeface="Arial"/>
              </a:rPr>
              <a:t>pdating</a:t>
            </a:r>
            <a:r>
              <a:rPr sz="1400" spc="-25" dirty="0">
                <a:latin typeface="Arial"/>
                <a:cs typeface="Arial"/>
              </a:rPr>
              <a:t> </a:t>
            </a:r>
            <a:r>
              <a:rPr sz="1400" dirty="0">
                <a:latin typeface="Arial"/>
                <a:cs typeface="Arial"/>
              </a:rPr>
              <a:t>quanti</a:t>
            </a:r>
            <a:r>
              <a:rPr sz="1400" spc="9" dirty="0">
                <a:latin typeface="Arial"/>
                <a:cs typeface="Arial"/>
              </a:rPr>
              <a:t>t</a:t>
            </a:r>
            <a:r>
              <a:rPr sz="1400" dirty="0">
                <a:latin typeface="Arial"/>
                <a:cs typeface="Arial"/>
              </a:rPr>
              <a:t>y</a:t>
            </a:r>
            <a:r>
              <a:rPr sz="1400" spc="-34" dirty="0">
                <a:latin typeface="Arial"/>
                <a:cs typeface="Arial"/>
              </a:rPr>
              <a:t> </a:t>
            </a:r>
            <a:r>
              <a:rPr sz="1400" dirty="0">
                <a:latin typeface="Arial"/>
                <a:cs typeface="Arial"/>
              </a:rPr>
              <a:t>and</a:t>
            </a:r>
            <a:r>
              <a:rPr sz="1400" spc="-14" dirty="0">
                <a:latin typeface="Arial"/>
                <a:cs typeface="Arial"/>
              </a:rPr>
              <a:t> </a:t>
            </a:r>
            <a:r>
              <a:rPr sz="1400" spc="-19" dirty="0">
                <a:latin typeface="Arial"/>
                <a:cs typeface="Arial"/>
              </a:rPr>
              <a:t>v</a:t>
            </a:r>
            <a:r>
              <a:rPr sz="1400" dirty="0">
                <a:latin typeface="Arial"/>
                <a:cs typeface="Arial"/>
              </a:rPr>
              <a:t>alue</a:t>
            </a:r>
            <a:r>
              <a:rPr sz="1400" spc="-4" dirty="0">
                <a:latin typeface="Arial"/>
                <a:cs typeface="Arial"/>
              </a:rPr>
              <a:t> </a:t>
            </a:r>
            <a:r>
              <a:rPr sz="1400" dirty="0">
                <a:latin typeface="Arial"/>
                <a:cs typeface="Arial"/>
              </a:rPr>
              <a:t>in</a:t>
            </a:r>
            <a:r>
              <a:rPr sz="1400" spc="-4" dirty="0">
                <a:latin typeface="Arial"/>
                <a:cs typeface="Arial"/>
              </a:rPr>
              <a:t> </a:t>
            </a:r>
            <a:r>
              <a:rPr sz="1400" dirty="0">
                <a:latin typeface="Arial"/>
                <a:cs typeface="Arial"/>
              </a:rPr>
              <a:t>re</a:t>
            </a:r>
            <a:r>
              <a:rPr sz="1400" spc="4" dirty="0">
                <a:latin typeface="Arial"/>
                <a:cs typeface="Arial"/>
              </a:rPr>
              <a:t>f</a:t>
            </a:r>
            <a:r>
              <a:rPr sz="1400" dirty="0">
                <a:latin typeface="Arial"/>
                <a:cs typeface="Arial"/>
              </a:rPr>
              <a:t>eren</a:t>
            </a:r>
            <a:r>
              <a:rPr sz="1400" spc="4" dirty="0">
                <a:latin typeface="Arial"/>
                <a:cs typeface="Arial"/>
              </a:rPr>
              <a:t>c</a:t>
            </a:r>
            <a:r>
              <a:rPr sz="1400" dirty="0">
                <a:latin typeface="Arial"/>
                <a:cs typeface="Arial"/>
              </a:rPr>
              <a:t>ing do</a:t>
            </a:r>
            <a:r>
              <a:rPr sz="1400" spc="4" dirty="0">
                <a:latin typeface="Arial"/>
                <a:cs typeface="Arial"/>
              </a:rPr>
              <a:t>c</a:t>
            </a:r>
            <a:r>
              <a:rPr sz="1400" dirty="0">
                <a:latin typeface="Arial"/>
                <a:cs typeface="Arial"/>
              </a:rPr>
              <a:t>um</a:t>
            </a:r>
            <a:r>
              <a:rPr sz="1400" spc="-4" dirty="0">
                <a:latin typeface="Arial"/>
                <a:cs typeface="Arial"/>
              </a:rPr>
              <a:t>e</a:t>
            </a:r>
            <a:r>
              <a:rPr sz="1400" dirty="0">
                <a:latin typeface="Arial"/>
                <a:cs typeface="Arial"/>
              </a:rPr>
              <a:t>nt</a:t>
            </a:r>
            <a:endParaRPr sz="1400">
              <a:latin typeface="Arial"/>
              <a:cs typeface="Arial"/>
            </a:endParaRPr>
          </a:p>
          <a:p>
            <a:pPr marL="168275" marR="395849">
              <a:lnSpc>
                <a:spcPct val="100041"/>
              </a:lnSpc>
              <a:spcBef>
                <a:spcPts val="841"/>
              </a:spcBef>
            </a:pPr>
            <a:r>
              <a:rPr sz="1400" dirty="0">
                <a:latin typeface="Arial"/>
                <a:cs typeface="Arial"/>
              </a:rPr>
              <a:t>4)</a:t>
            </a:r>
            <a:r>
              <a:rPr sz="1400" spc="-29" dirty="0">
                <a:latin typeface="Arial"/>
                <a:cs typeface="Arial"/>
              </a:rPr>
              <a:t> </a:t>
            </a:r>
            <a:r>
              <a:rPr sz="1400" dirty="0">
                <a:latin typeface="Arial"/>
                <a:cs typeface="Arial"/>
              </a:rPr>
              <a:t>Should</a:t>
            </a:r>
            <a:r>
              <a:rPr sz="1400" spc="-19" dirty="0">
                <a:latin typeface="Arial"/>
                <a:cs typeface="Arial"/>
              </a:rPr>
              <a:t> </a:t>
            </a:r>
            <a:r>
              <a:rPr sz="1400" dirty="0">
                <a:latin typeface="Arial"/>
                <a:cs typeface="Arial"/>
              </a:rPr>
              <a:t>pri</a:t>
            </a:r>
            <a:r>
              <a:rPr sz="1400" spc="4" dirty="0">
                <a:latin typeface="Arial"/>
                <a:cs typeface="Arial"/>
              </a:rPr>
              <a:t>c</a:t>
            </a:r>
            <a:r>
              <a:rPr sz="1400" dirty="0">
                <a:latin typeface="Arial"/>
                <a:cs typeface="Arial"/>
              </a:rPr>
              <a:t>ing</a:t>
            </a:r>
            <a:r>
              <a:rPr sz="1400" spc="-29" dirty="0">
                <a:latin typeface="Arial"/>
                <a:cs typeface="Arial"/>
              </a:rPr>
              <a:t> </a:t>
            </a:r>
            <a:r>
              <a:rPr sz="1400" dirty="0">
                <a:latin typeface="Arial"/>
                <a:cs typeface="Arial"/>
              </a:rPr>
              <a:t>be</a:t>
            </a:r>
            <a:r>
              <a:rPr sz="1400" spc="-4" dirty="0">
                <a:latin typeface="Arial"/>
                <a:cs typeface="Arial"/>
              </a:rPr>
              <a:t> </a:t>
            </a:r>
            <a:r>
              <a:rPr sz="1400" spc="4" dirty="0">
                <a:latin typeface="Arial"/>
                <a:cs typeface="Arial"/>
              </a:rPr>
              <a:t>c</a:t>
            </a:r>
            <a:r>
              <a:rPr sz="1400" dirty="0">
                <a:latin typeface="Arial"/>
                <a:cs typeface="Arial"/>
              </a:rPr>
              <a:t>arried</a:t>
            </a:r>
            <a:r>
              <a:rPr sz="1400" spc="-39" dirty="0">
                <a:latin typeface="Arial"/>
                <a:cs typeface="Arial"/>
              </a:rPr>
              <a:t> </a:t>
            </a:r>
            <a:r>
              <a:rPr sz="1400" dirty="0">
                <a:latin typeface="Arial"/>
                <a:cs typeface="Arial"/>
              </a:rPr>
              <a:t>out</a:t>
            </a:r>
            <a:r>
              <a:rPr sz="1400" spc="-14" dirty="0">
                <a:latin typeface="Arial"/>
                <a:cs typeface="Arial"/>
              </a:rPr>
              <a:t> </a:t>
            </a:r>
            <a:r>
              <a:rPr sz="1400" dirty="0">
                <a:latin typeface="Arial"/>
                <a:cs typeface="Arial"/>
              </a:rPr>
              <a:t>again</a:t>
            </a:r>
            <a:r>
              <a:rPr sz="1400" spc="-19" dirty="0">
                <a:latin typeface="Arial"/>
                <a:cs typeface="Arial"/>
              </a:rPr>
              <a:t> </a:t>
            </a:r>
            <a:r>
              <a:rPr sz="1400" dirty="0">
                <a:latin typeface="Arial"/>
                <a:cs typeface="Arial"/>
              </a:rPr>
              <a:t>or </a:t>
            </a:r>
            <a:r>
              <a:rPr sz="1400" spc="4" dirty="0">
                <a:latin typeface="Arial"/>
                <a:cs typeface="Arial"/>
              </a:rPr>
              <a:t>s</a:t>
            </a:r>
            <a:r>
              <a:rPr sz="1400" dirty="0">
                <a:latin typeface="Arial"/>
                <a:cs typeface="Arial"/>
              </a:rPr>
              <a:t>hould</a:t>
            </a:r>
            <a:r>
              <a:rPr sz="1400" spc="-39" dirty="0">
                <a:latin typeface="Arial"/>
                <a:cs typeface="Arial"/>
              </a:rPr>
              <a:t> </a:t>
            </a:r>
            <a:r>
              <a:rPr sz="1400" dirty="0">
                <a:latin typeface="Arial"/>
                <a:cs typeface="Arial"/>
              </a:rPr>
              <a:t>pri</a:t>
            </a:r>
            <a:r>
              <a:rPr sz="1400" spc="4" dirty="0">
                <a:latin typeface="Arial"/>
                <a:cs typeface="Arial"/>
              </a:rPr>
              <a:t>c</a:t>
            </a:r>
            <a:r>
              <a:rPr sz="1400" dirty="0">
                <a:latin typeface="Arial"/>
                <a:cs typeface="Arial"/>
              </a:rPr>
              <a:t>es</a:t>
            </a:r>
            <a:r>
              <a:rPr sz="1400" spc="-25" dirty="0">
                <a:latin typeface="Arial"/>
                <a:cs typeface="Arial"/>
              </a:rPr>
              <a:t> </a:t>
            </a:r>
            <a:r>
              <a:rPr sz="1400" dirty="0">
                <a:latin typeface="Arial"/>
                <a:cs typeface="Arial"/>
              </a:rPr>
              <a:t>be</a:t>
            </a:r>
            <a:r>
              <a:rPr sz="1400" spc="-14" dirty="0">
                <a:latin typeface="Arial"/>
                <a:cs typeface="Arial"/>
              </a:rPr>
              <a:t> </a:t>
            </a:r>
            <a:r>
              <a:rPr sz="1400" spc="4" dirty="0">
                <a:latin typeface="Arial"/>
                <a:cs typeface="Arial"/>
              </a:rPr>
              <a:t>c</a:t>
            </a:r>
            <a:r>
              <a:rPr sz="1400" dirty="0">
                <a:latin typeface="Arial"/>
                <a:cs typeface="Arial"/>
              </a:rPr>
              <a:t>opied</a:t>
            </a:r>
            <a:r>
              <a:rPr sz="1400" spc="-29" dirty="0">
                <a:latin typeface="Arial"/>
                <a:cs typeface="Arial"/>
              </a:rPr>
              <a:t> </a:t>
            </a:r>
            <a:r>
              <a:rPr sz="1400" spc="4" dirty="0">
                <a:latin typeface="Arial"/>
                <a:cs typeface="Arial"/>
              </a:rPr>
              <a:t>f</a:t>
            </a:r>
            <a:r>
              <a:rPr sz="1400" dirty="0">
                <a:latin typeface="Arial"/>
                <a:cs typeface="Arial"/>
              </a:rPr>
              <a:t>rom</a:t>
            </a:r>
            <a:r>
              <a:rPr sz="1400" spc="-19" dirty="0">
                <a:latin typeface="Arial"/>
                <a:cs typeface="Arial"/>
              </a:rPr>
              <a:t> </a:t>
            </a:r>
            <a:r>
              <a:rPr sz="1400" spc="4" dirty="0">
                <a:latin typeface="Arial"/>
                <a:cs typeface="Arial"/>
              </a:rPr>
              <a:t>s</a:t>
            </a:r>
            <a:r>
              <a:rPr sz="1400" dirty="0">
                <a:latin typeface="Arial"/>
                <a:cs typeface="Arial"/>
              </a:rPr>
              <a:t>ales</a:t>
            </a:r>
            <a:r>
              <a:rPr sz="1400" spc="-25" dirty="0">
                <a:latin typeface="Arial"/>
                <a:cs typeface="Arial"/>
              </a:rPr>
              <a:t> </a:t>
            </a:r>
            <a:r>
              <a:rPr sz="1400" dirty="0">
                <a:latin typeface="Arial"/>
                <a:cs typeface="Arial"/>
              </a:rPr>
              <a:t>order?</a:t>
            </a:r>
            <a:endParaRPr sz="1400">
              <a:latin typeface="Arial"/>
              <a:cs typeface="Arial"/>
            </a:endParaRPr>
          </a:p>
        </p:txBody>
      </p:sp>
      <p:sp>
        <p:nvSpPr>
          <p:cNvPr id="26" name="TextBox 25"/>
          <p:cNvSpPr txBox="1"/>
          <p:nvPr/>
        </p:nvSpPr>
        <p:spPr>
          <a:xfrm>
            <a:off x="2057400" y="1329075"/>
            <a:ext cx="6858000" cy="369332"/>
          </a:xfrm>
          <a:prstGeom prst="rect">
            <a:avLst/>
          </a:prstGeom>
          <a:noFill/>
        </p:spPr>
        <p:txBody>
          <a:bodyPr wrap="square" rtlCol="0">
            <a:spAutoFit/>
          </a:bodyPr>
          <a:lstStyle/>
          <a:p>
            <a:pPr marL="342900" indent="-342900">
              <a:buClr>
                <a:srgbClr val="00B0F0"/>
              </a:buClr>
              <a:buFont typeface="Wingdings" panose="05000000000000000000" pitchFamily="2" charset="2"/>
              <a:buChar char="§"/>
            </a:pPr>
            <a:r>
              <a:rPr lang="en-US" dirty="0">
                <a:cs typeface="Arial" panose="020B0604020202020204" pitchFamily="34" charset="0"/>
              </a:rPr>
              <a:t>How does data gets transferred?</a:t>
            </a:r>
          </a:p>
        </p:txBody>
      </p:sp>
      <p:sp>
        <p:nvSpPr>
          <p:cNvPr id="6" name="Title 5"/>
          <p:cNvSpPr>
            <a:spLocks noGrp="1"/>
          </p:cNvSpPr>
          <p:nvPr>
            <p:ph type="title"/>
          </p:nvPr>
        </p:nvSpPr>
        <p:spPr/>
        <p:txBody>
          <a:bodyPr/>
          <a:lstStyle/>
          <a:p>
            <a:r>
              <a:rPr lang="en-US" sz="2400" dirty="0">
                <a:latin typeface="Arial"/>
                <a:cs typeface="Arial"/>
              </a:rPr>
              <a:t>Copy Controls</a:t>
            </a:r>
            <a:br>
              <a:rPr lang="en-US" sz="2800" dirty="0">
                <a:latin typeface="Arial"/>
                <a:cs typeface="Arial"/>
              </a:rPr>
            </a:br>
            <a:endParaRPr lang="en-US" dirty="0"/>
          </a:p>
        </p:txBody>
      </p:sp>
    </p:spTree>
    <p:extLst>
      <p:ext uri="{BB962C8B-B14F-4D97-AF65-F5344CB8AC3E}">
        <p14:creationId xmlns:p14="http://schemas.microsoft.com/office/powerpoint/2010/main" val="4201604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21"/>
          <p:cNvSpPr/>
          <p:nvPr/>
        </p:nvSpPr>
        <p:spPr>
          <a:xfrm>
            <a:off x="2133600" y="1393826"/>
            <a:ext cx="3657600" cy="3254375"/>
          </a:xfrm>
          <a:custGeom>
            <a:avLst/>
            <a:gdLst/>
            <a:ahLst/>
            <a:cxnLst/>
            <a:rect l="l" t="t" r="r" b="b"/>
            <a:pathLst>
              <a:path w="3657600" h="3254375">
                <a:moveTo>
                  <a:pt x="0" y="3254375"/>
                </a:moveTo>
                <a:lnTo>
                  <a:pt x="3657600" y="3254375"/>
                </a:lnTo>
                <a:lnTo>
                  <a:pt x="3657600" y="0"/>
                </a:lnTo>
                <a:lnTo>
                  <a:pt x="0" y="0"/>
                </a:lnTo>
                <a:lnTo>
                  <a:pt x="0" y="3254375"/>
                </a:lnTo>
                <a:close/>
              </a:path>
            </a:pathLst>
          </a:custGeom>
          <a:solidFill>
            <a:srgbClr val="FFFF99"/>
          </a:solidFill>
        </p:spPr>
        <p:txBody>
          <a:bodyPr wrap="square" lIns="0" tIns="0" rIns="0" bIns="0" rtlCol="0">
            <a:noAutofit/>
          </a:bodyPr>
          <a:lstStyle/>
          <a:p>
            <a:endParaRPr/>
          </a:p>
        </p:txBody>
      </p:sp>
      <p:sp>
        <p:nvSpPr>
          <p:cNvPr id="22" name="object 22"/>
          <p:cNvSpPr/>
          <p:nvPr/>
        </p:nvSpPr>
        <p:spPr>
          <a:xfrm>
            <a:off x="2133600" y="1393826"/>
            <a:ext cx="3657600" cy="3254375"/>
          </a:xfrm>
          <a:prstGeom prst="rect">
            <a:avLst/>
          </a:prstGeom>
          <a:blipFill>
            <a:blip r:embed="rId2" cstate="print"/>
            <a:stretch>
              <a:fillRect/>
            </a:stretch>
          </a:blipFill>
        </p:spPr>
        <p:txBody>
          <a:bodyPr wrap="square" lIns="0" tIns="0" rIns="0" bIns="0" rtlCol="0">
            <a:noAutofit/>
          </a:bodyPr>
          <a:lstStyle/>
          <a:p>
            <a:endParaRPr/>
          </a:p>
        </p:txBody>
      </p:sp>
      <p:sp>
        <p:nvSpPr>
          <p:cNvPr id="23" name="object 23"/>
          <p:cNvSpPr/>
          <p:nvPr/>
        </p:nvSpPr>
        <p:spPr>
          <a:xfrm>
            <a:off x="2119313" y="1379474"/>
            <a:ext cx="3686175" cy="3282950"/>
          </a:xfrm>
          <a:custGeom>
            <a:avLst/>
            <a:gdLst/>
            <a:ahLst/>
            <a:cxnLst/>
            <a:rect l="l" t="t" r="r" b="b"/>
            <a:pathLst>
              <a:path w="3686175" h="3282950">
                <a:moveTo>
                  <a:pt x="0" y="3282950"/>
                </a:moveTo>
                <a:lnTo>
                  <a:pt x="3686175" y="3282950"/>
                </a:lnTo>
                <a:lnTo>
                  <a:pt x="3686175" y="0"/>
                </a:lnTo>
                <a:lnTo>
                  <a:pt x="0" y="0"/>
                </a:lnTo>
                <a:lnTo>
                  <a:pt x="0" y="3282950"/>
                </a:lnTo>
                <a:close/>
              </a:path>
            </a:pathLst>
          </a:custGeom>
          <a:ln w="28575">
            <a:solidFill>
              <a:srgbClr val="000000"/>
            </a:solidFill>
          </a:ln>
        </p:spPr>
        <p:txBody>
          <a:bodyPr wrap="square" lIns="0" tIns="0" rIns="0" bIns="0" rtlCol="0">
            <a:noAutofit/>
          </a:bodyPr>
          <a:lstStyle/>
          <a:p>
            <a:endParaRPr/>
          </a:p>
        </p:txBody>
      </p:sp>
      <p:sp>
        <p:nvSpPr>
          <p:cNvPr id="24" name="object 24"/>
          <p:cNvSpPr/>
          <p:nvPr/>
        </p:nvSpPr>
        <p:spPr>
          <a:xfrm>
            <a:off x="2209800" y="2057401"/>
            <a:ext cx="1905000" cy="1292225"/>
          </a:xfrm>
          <a:custGeom>
            <a:avLst/>
            <a:gdLst/>
            <a:ahLst/>
            <a:cxnLst/>
            <a:rect l="l" t="t" r="r" b="b"/>
            <a:pathLst>
              <a:path w="1905000" h="1292225">
                <a:moveTo>
                  <a:pt x="1905000" y="400050"/>
                </a:moveTo>
                <a:lnTo>
                  <a:pt x="1905000" y="114300"/>
                </a:lnTo>
                <a:lnTo>
                  <a:pt x="1904505" y="103594"/>
                </a:lnTo>
                <a:lnTo>
                  <a:pt x="1892814" y="62897"/>
                </a:lnTo>
                <a:lnTo>
                  <a:pt x="1867894" y="30009"/>
                </a:lnTo>
                <a:lnTo>
                  <a:pt x="1832828" y="8016"/>
                </a:lnTo>
                <a:lnTo>
                  <a:pt x="1790700" y="0"/>
                </a:lnTo>
                <a:lnTo>
                  <a:pt x="114300" y="0"/>
                </a:lnTo>
                <a:lnTo>
                  <a:pt x="75747" y="6666"/>
                </a:lnTo>
                <a:lnTo>
                  <a:pt x="39913" y="27519"/>
                </a:lnTo>
                <a:lnTo>
                  <a:pt x="13946" y="59546"/>
                </a:lnTo>
                <a:lnTo>
                  <a:pt x="928" y="99662"/>
                </a:lnTo>
                <a:lnTo>
                  <a:pt x="0" y="114300"/>
                </a:lnTo>
                <a:lnTo>
                  <a:pt x="0" y="571500"/>
                </a:lnTo>
                <a:lnTo>
                  <a:pt x="6666" y="610052"/>
                </a:lnTo>
                <a:lnTo>
                  <a:pt x="27519" y="645886"/>
                </a:lnTo>
                <a:lnTo>
                  <a:pt x="59546" y="671853"/>
                </a:lnTo>
                <a:lnTo>
                  <a:pt x="99662" y="684871"/>
                </a:lnTo>
                <a:lnTo>
                  <a:pt x="114300" y="685800"/>
                </a:lnTo>
                <a:lnTo>
                  <a:pt x="1111250" y="685800"/>
                </a:lnTo>
                <a:lnTo>
                  <a:pt x="1089025" y="1292225"/>
                </a:lnTo>
                <a:lnTo>
                  <a:pt x="1587500" y="685800"/>
                </a:lnTo>
                <a:lnTo>
                  <a:pt x="1790700" y="685800"/>
                </a:lnTo>
                <a:lnTo>
                  <a:pt x="1801405" y="685305"/>
                </a:lnTo>
                <a:lnTo>
                  <a:pt x="1815648" y="683068"/>
                </a:lnTo>
                <a:lnTo>
                  <a:pt x="1829252" y="679133"/>
                </a:lnTo>
                <a:lnTo>
                  <a:pt x="1842102" y="673614"/>
                </a:lnTo>
                <a:lnTo>
                  <a:pt x="1854085" y="666625"/>
                </a:lnTo>
                <a:lnTo>
                  <a:pt x="1865086" y="658280"/>
                </a:lnTo>
                <a:lnTo>
                  <a:pt x="1874990" y="648694"/>
                </a:lnTo>
                <a:lnTo>
                  <a:pt x="1883684" y="637980"/>
                </a:lnTo>
                <a:lnTo>
                  <a:pt x="1891053" y="626253"/>
                </a:lnTo>
                <a:lnTo>
                  <a:pt x="1896983" y="613628"/>
                </a:lnTo>
                <a:lnTo>
                  <a:pt x="1901361" y="600218"/>
                </a:lnTo>
                <a:lnTo>
                  <a:pt x="1904071" y="586137"/>
                </a:lnTo>
                <a:lnTo>
                  <a:pt x="1905000" y="571500"/>
                </a:lnTo>
                <a:lnTo>
                  <a:pt x="1905000" y="400050"/>
                </a:lnTo>
                <a:close/>
              </a:path>
            </a:pathLst>
          </a:custGeom>
          <a:solidFill>
            <a:srgbClr val="FFFF99"/>
          </a:solidFill>
        </p:spPr>
        <p:txBody>
          <a:bodyPr wrap="square" lIns="0" tIns="0" rIns="0" bIns="0" rtlCol="0">
            <a:noAutofit/>
          </a:bodyPr>
          <a:lstStyle/>
          <a:p>
            <a:endParaRPr/>
          </a:p>
        </p:txBody>
      </p:sp>
      <p:sp>
        <p:nvSpPr>
          <p:cNvPr id="25" name="object 25"/>
          <p:cNvSpPr/>
          <p:nvPr/>
        </p:nvSpPr>
        <p:spPr>
          <a:xfrm>
            <a:off x="5005452" y="990600"/>
            <a:ext cx="2081149" cy="723900"/>
          </a:xfrm>
          <a:custGeom>
            <a:avLst/>
            <a:gdLst/>
            <a:ahLst/>
            <a:cxnLst/>
            <a:rect l="l" t="t" r="r" b="b"/>
            <a:pathLst>
              <a:path w="2081149" h="723900">
                <a:moveTo>
                  <a:pt x="2081149" y="355600"/>
                </a:moveTo>
                <a:lnTo>
                  <a:pt x="2081044" y="96955"/>
                </a:lnTo>
                <a:lnTo>
                  <a:pt x="2070322" y="55896"/>
                </a:lnTo>
                <a:lnTo>
                  <a:pt x="2044718" y="23636"/>
                </a:lnTo>
                <a:lnTo>
                  <a:pt x="2008126" y="4070"/>
                </a:lnTo>
                <a:lnTo>
                  <a:pt x="1979549" y="0"/>
                </a:lnTo>
                <a:lnTo>
                  <a:pt x="806504" y="104"/>
                </a:lnTo>
                <a:lnTo>
                  <a:pt x="765445" y="10826"/>
                </a:lnTo>
                <a:lnTo>
                  <a:pt x="733185" y="36430"/>
                </a:lnTo>
                <a:lnTo>
                  <a:pt x="713619" y="73022"/>
                </a:lnTo>
                <a:lnTo>
                  <a:pt x="709549" y="101600"/>
                </a:lnTo>
                <a:lnTo>
                  <a:pt x="709549" y="355600"/>
                </a:lnTo>
                <a:lnTo>
                  <a:pt x="0" y="723900"/>
                </a:lnTo>
                <a:lnTo>
                  <a:pt x="709549" y="508000"/>
                </a:lnTo>
                <a:lnTo>
                  <a:pt x="709653" y="512644"/>
                </a:lnTo>
                <a:lnTo>
                  <a:pt x="711333" y="527068"/>
                </a:lnTo>
                <a:lnTo>
                  <a:pt x="727449" y="565627"/>
                </a:lnTo>
                <a:lnTo>
                  <a:pt x="757148" y="594088"/>
                </a:lnTo>
                <a:lnTo>
                  <a:pt x="796538" y="608558"/>
                </a:lnTo>
                <a:lnTo>
                  <a:pt x="811149" y="609600"/>
                </a:lnTo>
                <a:lnTo>
                  <a:pt x="1984193" y="609495"/>
                </a:lnTo>
                <a:lnTo>
                  <a:pt x="2025252" y="598773"/>
                </a:lnTo>
                <a:lnTo>
                  <a:pt x="2057512" y="573169"/>
                </a:lnTo>
                <a:lnTo>
                  <a:pt x="2077078" y="536577"/>
                </a:lnTo>
                <a:lnTo>
                  <a:pt x="2081149" y="508000"/>
                </a:lnTo>
                <a:lnTo>
                  <a:pt x="2081149" y="355600"/>
                </a:lnTo>
                <a:close/>
              </a:path>
            </a:pathLst>
          </a:custGeom>
          <a:solidFill>
            <a:srgbClr val="FFFF99"/>
          </a:solidFill>
        </p:spPr>
        <p:txBody>
          <a:bodyPr wrap="square" lIns="0" tIns="0" rIns="0" bIns="0" rtlCol="0">
            <a:noAutofit/>
          </a:bodyPr>
          <a:lstStyle/>
          <a:p>
            <a:endParaRPr/>
          </a:p>
        </p:txBody>
      </p:sp>
      <p:sp>
        <p:nvSpPr>
          <p:cNvPr id="16" name="object 16"/>
          <p:cNvSpPr/>
          <p:nvPr/>
        </p:nvSpPr>
        <p:spPr>
          <a:xfrm>
            <a:off x="6553200" y="1828800"/>
            <a:ext cx="3657600" cy="3276600"/>
          </a:xfrm>
          <a:prstGeom prst="rect">
            <a:avLst/>
          </a:prstGeom>
          <a:blipFill>
            <a:blip r:embed="rId3" cstate="print"/>
            <a:stretch>
              <a:fillRect/>
            </a:stretch>
          </a:blipFill>
        </p:spPr>
        <p:txBody>
          <a:bodyPr wrap="square" lIns="0" tIns="0" rIns="0" bIns="0" rtlCol="0">
            <a:noAutofit/>
          </a:bodyPr>
          <a:lstStyle/>
          <a:p>
            <a:endParaRPr/>
          </a:p>
        </p:txBody>
      </p:sp>
      <p:sp>
        <p:nvSpPr>
          <p:cNvPr id="17" name="object 17"/>
          <p:cNvSpPr/>
          <p:nvPr/>
        </p:nvSpPr>
        <p:spPr>
          <a:xfrm>
            <a:off x="6553200" y="1828800"/>
            <a:ext cx="3657600" cy="3276600"/>
          </a:xfrm>
          <a:custGeom>
            <a:avLst/>
            <a:gdLst/>
            <a:ahLst/>
            <a:cxnLst/>
            <a:rect l="l" t="t" r="r" b="b"/>
            <a:pathLst>
              <a:path w="3657600" h="3276600">
                <a:moveTo>
                  <a:pt x="0" y="3276600"/>
                </a:moveTo>
                <a:lnTo>
                  <a:pt x="3657600" y="3276600"/>
                </a:lnTo>
                <a:lnTo>
                  <a:pt x="3657600" y="0"/>
                </a:lnTo>
                <a:lnTo>
                  <a:pt x="0" y="0"/>
                </a:lnTo>
                <a:lnTo>
                  <a:pt x="0" y="3276600"/>
                </a:lnTo>
                <a:close/>
              </a:path>
            </a:pathLst>
          </a:custGeom>
          <a:ln w="28575">
            <a:solidFill>
              <a:srgbClr val="000000"/>
            </a:solidFill>
          </a:ln>
        </p:spPr>
        <p:txBody>
          <a:bodyPr wrap="square" lIns="0" tIns="0" rIns="0" bIns="0" rtlCol="0">
            <a:noAutofit/>
          </a:bodyPr>
          <a:lstStyle/>
          <a:p>
            <a:endParaRPr/>
          </a:p>
        </p:txBody>
      </p:sp>
      <p:sp>
        <p:nvSpPr>
          <p:cNvPr id="18" name="object 18"/>
          <p:cNvSpPr/>
          <p:nvPr/>
        </p:nvSpPr>
        <p:spPr>
          <a:xfrm>
            <a:off x="7620000" y="3048000"/>
            <a:ext cx="2400300" cy="890524"/>
          </a:xfrm>
          <a:custGeom>
            <a:avLst/>
            <a:gdLst/>
            <a:ahLst/>
            <a:cxnLst/>
            <a:rect l="l" t="t" r="r" b="b"/>
            <a:pathLst>
              <a:path w="2400300" h="890524">
                <a:moveTo>
                  <a:pt x="1524000" y="400050"/>
                </a:moveTo>
                <a:lnTo>
                  <a:pt x="1524000" y="114300"/>
                </a:lnTo>
                <a:lnTo>
                  <a:pt x="1523505" y="103594"/>
                </a:lnTo>
                <a:lnTo>
                  <a:pt x="1511814" y="62897"/>
                </a:lnTo>
                <a:lnTo>
                  <a:pt x="1486894" y="30009"/>
                </a:lnTo>
                <a:lnTo>
                  <a:pt x="1451828" y="8016"/>
                </a:lnTo>
                <a:lnTo>
                  <a:pt x="1409700" y="0"/>
                </a:lnTo>
                <a:lnTo>
                  <a:pt x="114300" y="0"/>
                </a:lnTo>
                <a:lnTo>
                  <a:pt x="75747" y="6666"/>
                </a:lnTo>
                <a:lnTo>
                  <a:pt x="39913" y="27519"/>
                </a:lnTo>
                <a:lnTo>
                  <a:pt x="13946" y="59546"/>
                </a:lnTo>
                <a:lnTo>
                  <a:pt x="928" y="99662"/>
                </a:lnTo>
                <a:lnTo>
                  <a:pt x="0" y="114300"/>
                </a:lnTo>
                <a:lnTo>
                  <a:pt x="0" y="571500"/>
                </a:lnTo>
                <a:lnTo>
                  <a:pt x="6666" y="610052"/>
                </a:lnTo>
                <a:lnTo>
                  <a:pt x="27519" y="645886"/>
                </a:lnTo>
                <a:lnTo>
                  <a:pt x="59546" y="671853"/>
                </a:lnTo>
                <a:lnTo>
                  <a:pt x="99662" y="684871"/>
                </a:lnTo>
                <a:lnTo>
                  <a:pt x="114300" y="685800"/>
                </a:lnTo>
                <a:lnTo>
                  <a:pt x="1409700" y="685800"/>
                </a:lnTo>
                <a:lnTo>
                  <a:pt x="1448252" y="679133"/>
                </a:lnTo>
                <a:lnTo>
                  <a:pt x="1484086" y="658280"/>
                </a:lnTo>
                <a:lnTo>
                  <a:pt x="1510053" y="626253"/>
                </a:lnTo>
                <a:lnTo>
                  <a:pt x="1523071" y="586137"/>
                </a:lnTo>
                <a:lnTo>
                  <a:pt x="1524000" y="571500"/>
                </a:lnTo>
                <a:lnTo>
                  <a:pt x="2400300" y="890524"/>
                </a:lnTo>
                <a:lnTo>
                  <a:pt x="1524000" y="400050"/>
                </a:lnTo>
                <a:close/>
              </a:path>
            </a:pathLst>
          </a:custGeom>
          <a:solidFill>
            <a:srgbClr val="FFFF99"/>
          </a:solidFill>
        </p:spPr>
        <p:txBody>
          <a:bodyPr wrap="square" lIns="0" tIns="0" rIns="0" bIns="0" rtlCol="0">
            <a:noAutofit/>
          </a:bodyPr>
          <a:lstStyle/>
          <a:p>
            <a:endParaRPr/>
          </a:p>
        </p:txBody>
      </p:sp>
      <p:sp>
        <p:nvSpPr>
          <p:cNvPr id="19" name="object 19"/>
          <p:cNvSpPr/>
          <p:nvPr/>
        </p:nvSpPr>
        <p:spPr>
          <a:xfrm>
            <a:off x="6858001" y="4391026"/>
            <a:ext cx="2244725" cy="1247775"/>
          </a:xfrm>
          <a:custGeom>
            <a:avLst/>
            <a:gdLst/>
            <a:ahLst/>
            <a:cxnLst/>
            <a:rect l="l" t="t" r="r" b="b"/>
            <a:pathLst>
              <a:path w="2244725" h="1247775">
                <a:moveTo>
                  <a:pt x="494" y="1144180"/>
                </a:moveTo>
                <a:lnTo>
                  <a:pt x="12185" y="1184877"/>
                </a:lnTo>
                <a:lnTo>
                  <a:pt x="37105" y="1217765"/>
                </a:lnTo>
                <a:lnTo>
                  <a:pt x="72171" y="1239758"/>
                </a:lnTo>
                <a:lnTo>
                  <a:pt x="114300" y="1247775"/>
                </a:lnTo>
                <a:lnTo>
                  <a:pt x="1409700" y="1247775"/>
                </a:lnTo>
                <a:lnTo>
                  <a:pt x="1448252" y="1241108"/>
                </a:lnTo>
                <a:lnTo>
                  <a:pt x="1484086" y="1220255"/>
                </a:lnTo>
                <a:lnTo>
                  <a:pt x="1510053" y="1188228"/>
                </a:lnTo>
                <a:lnTo>
                  <a:pt x="1523071" y="1148112"/>
                </a:lnTo>
                <a:lnTo>
                  <a:pt x="1524000" y="1133475"/>
                </a:lnTo>
                <a:lnTo>
                  <a:pt x="1524000" y="676275"/>
                </a:lnTo>
                <a:lnTo>
                  <a:pt x="1517333" y="637722"/>
                </a:lnTo>
                <a:lnTo>
                  <a:pt x="1496480" y="601888"/>
                </a:lnTo>
                <a:lnTo>
                  <a:pt x="1464453" y="575921"/>
                </a:lnTo>
                <a:lnTo>
                  <a:pt x="1424337" y="562903"/>
                </a:lnTo>
                <a:lnTo>
                  <a:pt x="1409700" y="561975"/>
                </a:lnTo>
                <a:lnTo>
                  <a:pt x="1270000" y="561975"/>
                </a:lnTo>
                <a:lnTo>
                  <a:pt x="2244725" y="0"/>
                </a:lnTo>
                <a:lnTo>
                  <a:pt x="889000" y="561975"/>
                </a:lnTo>
                <a:lnTo>
                  <a:pt x="114300" y="561975"/>
                </a:lnTo>
                <a:lnTo>
                  <a:pt x="103594" y="562469"/>
                </a:lnTo>
                <a:lnTo>
                  <a:pt x="75747" y="568641"/>
                </a:lnTo>
                <a:lnTo>
                  <a:pt x="50914" y="581149"/>
                </a:lnTo>
                <a:lnTo>
                  <a:pt x="30009" y="599080"/>
                </a:lnTo>
                <a:lnTo>
                  <a:pt x="13946" y="621521"/>
                </a:lnTo>
                <a:lnTo>
                  <a:pt x="3638" y="647556"/>
                </a:lnTo>
                <a:lnTo>
                  <a:pt x="0" y="676275"/>
                </a:lnTo>
                <a:lnTo>
                  <a:pt x="0" y="1133475"/>
                </a:lnTo>
                <a:lnTo>
                  <a:pt x="494" y="1144180"/>
                </a:lnTo>
                <a:close/>
              </a:path>
            </a:pathLst>
          </a:custGeom>
          <a:solidFill>
            <a:srgbClr val="FFFF99"/>
          </a:solidFill>
        </p:spPr>
        <p:txBody>
          <a:bodyPr wrap="square" lIns="0" tIns="0" rIns="0" bIns="0" rtlCol="0">
            <a:noAutofit/>
          </a:bodyPr>
          <a:lstStyle/>
          <a:p>
            <a:endParaRPr/>
          </a:p>
        </p:txBody>
      </p:sp>
      <p:sp>
        <p:nvSpPr>
          <p:cNvPr id="20" name="object 20"/>
          <p:cNvSpPr/>
          <p:nvPr/>
        </p:nvSpPr>
        <p:spPr>
          <a:xfrm>
            <a:off x="8915400" y="1295401"/>
            <a:ext cx="1524000" cy="1463675"/>
          </a:xfrm>
          <a:custGeom>
            <a:avLst/>
            <a:gdLst/>
            <a:ahLst/>
            <a:cxnLst/>
            <a:rect l="l" t="t" r="r" b="b"/>
            <a:pathLst>
              <a:path w="1524000" h="1463675">
                <a:moveTo>
                  <a:pt x="0" y="400050"/>
                </a:moveTo>
                <a:lnTo>
                  <a:pt x="0" y="571500"/>
                </a:lnTo>
                <a:lnTo>
                  <a:pt x="494" y="582205"/>
                </a:lnTo>
                <a:lnTo>
                  <a:pt x="2731" y="596448"/>
                </a:lnTo>
                <a:lnTo>
                  <a:pt x="6666" y="610052"/>
                </a:lnTo>
                <a:lnTo>
                  <a:pt x="12185" y="622902"/>
                </a:lnTo>
                <a:lnTo>
                  <a:pt x="19174" y="634885"/>
                </a:lnTo>
                <a:lnTo>
                  <a:pt x="27519" y="645886"/>
                </a:lnTo>
                <a:lnTo>
                  <a:pt x="37105" y="655790"/>
                </a:lnTo>
                <a:lnTo>
                  <a:pt x="47819" y="664484"/>
                </a:lnTo>
                <a:lnTo>
                  <a:pt x="59546" y="671853"/>
                </a:lnTo>
                <a:lnTo>
                  <a:pt x="72171" y="677783"/>
                </a:lnTo>
                <a:lnTo>
                  <a:pt x="85581" y="682161"/>
                </a:lnTo>
                <a:lnTo>
                  <a:pt x="99662" y="684871"/>
                </a:lnTo>
                <a:lnTo>
                  <a:pt x="114300" y="685800"/>
                </a:lnTo>
                <a:lnTo>
                  <a:pt x="254000" y="685800"/>
                </a:lnTo>
                <a:lnTo>
                  <a:pt x="539750" y="1463675"/>
                </a:lnTo>
                <a:lnTo>
                  <a:pt x="635000" y="685800"/>
                </a:lnTo>
                <a:lnTo>
                  <a:pt x="1409700" y="685800"/>
                </a:lnTo>
                <a:lnTo>
                  <a:pt x="1420405" y="685305"/>
                </a:lnTo>
                <a:lnTo>
                  <a:pt x="1461102" y="673614"/>
                </a:lnTo>
                <a:lnTo>
                  <a:pt x="1493990" y="648694"/>
                </a:lnTo>
                <a:lnTo>
                  <a:pt x="1515983" y="613628"/>
                </a:lnTo>
                <a:lnTo>
                  <a:pt x="1524000" y="571500"/>
                </a:lnTo>
                <a:lnTo>
                  <a:pt x="1524000" y="114300"/>
                </a:lnTo>
                <a:lnTo>
                  <a:pt x="1517333" y="75747"/>
                </a:lnTo>
                <a:lnTo>
                  <a:pt x="1496480" y="39913"/>
                </a:lnTo>
                <a:lnTo>
                  <a:pt x="1464453" y="13946"/>
                </a:lnTo>
                <a:lnTo>
                  <a:pt x="1424337" y="928"/>
                </a:lnTo>
                <a:lnTo>
                  <a:pt x="1409700" y="0"/>
                </a:lnTo>
                <a:lnTo>
                  <a:pt x="114300" y="0"/>
                </a:lnTo>
                <a:lnTo>
                  <a:pt x="75747" y="6666"/>
                </a:lnTo>
                <a:lnTo>
                  <a:pt x="39913" y="27519"/>
                </a:lnTo>
                <a:lnTo>
                  <a:pt x="13946" y="59546"/>
                </a:lnTo>
                <a:lnTo>
                  <a:pt x="928" y="99662"/>
                </a:lnTo>
                <a:lnTo>
                  <a:pt x="0" y="114300"/>
                </a:lnTo>
                <a:lnTo>
                  <a:pt x="0" y="400050"/>
                </a:lnTo>
                <a:close/>
              </a:path>
            </a:pathLst>
          </a:custGeom>
          <a:solidFill>
            <a:srgbClr val="FFFF99"/>
          </a:solidFill>
        </p:spPr>
        <p:txBody>
          <a:bodyPr wrap="square" lIns="0" tIns="0" rIns="0" bIns="0" rtlCol="0">
            <a:noAutofit/>
          </a:bodyPr>
          <a:lstStyle/>
          <a:p>
            <a:endParaRPr/>
          </a:p>
        </p:txBody>
      </p:sp>
      <p:sp>
        <p:nvSpPr>
          <p:cNvPr id="13" name="object 13"/>
          <p:cNvSpPr txBox="1"/>
          <p:nvPr/>
        </p:nvSpPr>
        <p:spPr>
          <a:xfrm>
            <a:off x="3417407" y="1099612"/>
            <a:ext cx="2408611" cy="291727"/>
          </a:xfrm>
          <a:prstGeom prst="rect">
            <a:avLst/>
          </a:prstGeom>
        </p:spPr>
        <p:txBody>
          <a:bodyPr wrap="square" lIns="0" tIns="0" rIns="0" bIns="0" rtlCol="0">
            <a:noAutofit/>
          </a:bodyPr>
          <a:lstStyle/>
          <a:p>
            <a:pPr marL="103287" marR="83896">
              <a:lnSpc>
                <a:spcPct val="95825"/>
              </a:lnSpc>
            </a:pPr>
            <a:r>
              <a:rPr dirty="0">
                <a:solidFill>
                  <a:srgbClr val="3333CC"/>
                </a:solidFill>
                <a:latin typeface="Arial"/>
                <a:cs typeface="Arial"/>
              </a:rPr>
              <a:t>HEA</a:t>
            </a:r>
            <a:r>
              <a:rPr spc="-9" dirty="0">
                <a:solidFill>
                  <a:srgbClr val="3333CC"/>
                </a:solidFill>
                <a:latin typeface="Arial"/>
                <a:cs typeface="Arial"/>
              </a:rPr>
              <a:t>D</a:t>
            </a:r>
            <a:r>
              <a:rPr dirty="0">
                <a:solidFill>
                  <a:srgbClr val="3333CC"/>
                </a:solidFill>
                <a:latin typeface="Arial"/>
                <a:cs typeface="Arial"/>
              </a:rPr>
              <a:t>ER</a:t>
            </a:r>
            <a:endParaRPr dirty="0">
              <a:latin typeface="Arial"/>
              <a:cs typeface="Arial"/>
            </a:endParaRPr>
          </a:p>
        </p:txBody>
      </p:sp>
      <p:sp>
        <p:nvSpPr>
          <p:cNvPr id="12" name="object 12"/>
          <p:cNvSpPr txBox="1"/>
          <p:nvPr/>
        </p:nvSpPr>
        <p:spPr>
          <a:xfrm>
            <a:off x="5885180" y="1074410"/>
            <a:ext cx="1041004" cy="457072"/>
          </a:xfrm>
          <a:prstGeom prst="rect">
            <a:avLst/>
          </a:prstGeom>
        </p:spPr>
        <p:txBody>
          <a:bodyPr wrap="square" lIns="0" tIns="0" rIns="0" bIns="0" rtlCol="0">
            <a:noAutofit/>
          </a:bodyPr>
          <a:lstStyle/>
          <a:p>
            <a:pPr algn="ctr">
              <a:lnSpc>
                <a:spcPts val="1120"/>
              </a:lnSpc>
              <a:spcBef>
                <a:spcPts val="55"/>
              </a:spcBef>
            </a:pPr>
            <a:r>
              <a:rPr sz="1000" spc="44" dirty="0">
                <a:latin typeface="Arial"/>
                <a:cs typeface="Arial"/>
              </a:rPr>
              <a:t>W</a:t>
            </a:r>
            <a:r>
              <a:rPr sz="1000" dirty="0">
                <a:latin typeface="Arial"/>
                <a:cs typeface="Arial"/>
              </a:rPr>
              <a:t>h</a:t>
            </a:r>
            <a:r>
              <a:rPr sz="1000" spc="-4" dirty="0">
                <a:latin typeface="Arial"/>
                <a:cs typeface="Arial"/>
              </a:rPr>
              <a:t>i</a:t>
            </a:r>
            <a:r>
              <a:rPr sz="1000" spc="4" dirty="0">
                <a:latin typeface="Arial"/>
                <a:cs typeface="Arial"/>
              </a:rPr>
              <a:t>c</a:t>
            </a:r>
            <a:r>
              <a:rPr sz="1000" dirty="0">
                <a:latin typeface="Arial"/>
                <a:cs typeface="Arial"/>
              </a:rPr>
              <a:t>h</a:t>
            </a:r>
            <a:r>
              <a:rPr sz="1000" spc="-77" dirty="0">
                <a:latin typeface="Arial"/>
                <a:cs typeface="Arial"/>
              </a:rPr>
              <a:t> </a:t>
            </a:r>
            <a:r>
              <a:rPr sz="1000" dirty="0">
                <a:latin typeface="Arial"/>
                <a:cs typeface="Arial"/>
              </a:rPr>
              <a:t>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s</a:t>
            </a:r>
            <a:endParaRPr sz="1000">
              <a:latin typeface="Arial"/>
              <a:cs typeface="Arial"/>
            </a:endParaRPr>
          </a:p>
          <a:p>
            <a:pPr marL="62199" marR="71690" algn="ctr">
              <a:lnSpc>
                <a:spcPct val="95825"/>
              </a:lnSpc>
            </a:pPr>
            <a:r>
              <a:rPr sz="1000" dirty="0">
                <a:latin typeface="Arial"/>
                <a:cs typeface="Arial"/>
              </a:rPr>
              <a:t>to</a:t>
            </a:r>
            <a:r>
              <a:rPr sz="1000" spc="-28" dirty="0">
                <a:latin typeface="Arial"/>
                <a:cs typeface="Arial"/>
              </a:rPr>
              <a:t> </a:t>
            </a:r>
            <a:r>
              <a:rPr sz="1000" spc="-4" dirty="0">
                <a:latin typeface="Arial"/>
                <a:cs typeface="Arial"/>
              </a:rPr>
              <a:t>b</a:t>
            </a:r>
            <a:r>
              <a:rPr sz="1000" dirty="0">
                <a:latin typeface="Arial"/>
                <a:cs typeface="Arial"/>
              </a:rPr>
              <a:t>e</a:t>
            </a:r>
            <a:r>
              <a:rPr sz="1000" spc="-25" dirty="0">
                <a:latin typeface="Arial"/>
                <a:cs typeface="Arial"/>
              </a:rPr>
              <a:t> </a:t>
            </a:r>
            <a:r>
              <a:rPr sz="1000" spc="-4" dirty="0">
                <a:latin typeface="Arial"/>
                <a:cs typeface="Arial"/>
              </a:rPr>
              <a:t>u</a:t>
            </a:r>
            <a:r>
              <a:rPr sz="1000" spc="4" dirty="0">
                <a:latin typeface="Arial"/>
                <a:cs typeface="Arial"/>
              </a:rPr>
              <a:t>s</a:t>
            </a:r>
            <a:r>
              <a:rPr sz="1000" spc="-4" dirty="0">
                <a:latin typeface="Arial"/>
                <a:cs typeface="Arial"/>
              </a:rPr>
              <a:t>e</a:t>
            </a:r>
            <a:r>
              <a:rPr sz="1000" dirty="0">
                <a:latin typeface="Arial"/>
                <a:cs typeface="Arial"/>
              </a:rPr>
              <a:t>d</a:t>
            </a:r>
            <a:r>
              <a:rPr sz="1000" spc="-36" dirty="0">
                <a:latin typeface="Arial"/>
                <a:cs typeface="Arial"/>
              </a:rPr>
              <a:t> </a:t>
            </a:r>
            <a:r>
              <a:rPr sz="1000" spc="-4" dirty="0">
                <a:latin typeface="Arial"/>
                <a:cs typeface="Arial"/>
              </a:rPr>
              <a:t>a</a:t>
            </a:r>
            <a:r>
              <a:rPr sz="1000" dirty="0">
                <a:latin typeface="Arial"/>
                <a:cs typeface="Arial"/>
              </a:rPr>
              <a:t>s</a:t>
            </a:r>
            <a:r>
              <a:rPr sz="1000" spc="-5" dirty="0">
                <a:latin typeface="Arial"/>
                <a:cs typeface="Arial"/>
              </a:rPr>
              <a:t> </a:t>
            </a:r>
            <a:r>
              <a:rPr sz="1000" dirty="0">
                <a:latin typeface="Arial"/>
                <a:cs typeface="Arial"/>
              </a:rPr>
              <a:t>a</a:t>
            </a:r>
            <a:endParaRPr sz="1000">
              <a:latin typeface="Arial"/>
              <a:cs typeface="Arial"/>
            </a:endParaRPr>
          </a:p>
          <a:p>
            <a:pPr marL="66040" marR="9486">
              <a:lnSpc>
                <a:spcPct val="95825"/>
              </a:lnSpc>
              <a:spcBef>
                <a:spcPts val="50"/>
              </a:spcBef>
            </a:pPr>
            <a:r>
              <a:rPr sz="1000" dirty="0">
                <a:latin typeface="Arial"/>
                <a:cs typeface="Arial"/>
              </a:rPr>
              <a:t>b</a:t>
            </a:r>
            <a:r>
              <a:rPr sz="1000" spc="-4" dirty="0">
                <a:latin typeface="Arial"/>
                <a:cs typeface="Arial"/>
              </a:rPr>
              <a:t>a</a:t>
            </a:r>
            <a:r>
              <a:rPr sz="1000" spc="4" dirty="0">
                <a:latin typeface="Arial"/>
                <a:cs typeface="Arial"/>
              </a:rPr>
              <a:t>s</a:t>
            </a:r>
            <a:r>
              <a:rPr sz="1000" spc="-4" dirty="0">
                <a:latin typeface="Arial"/>
                <a:cs typeface="Arial"/>
              </a:rPr>
              <a:t>i</a:t>
            </a:r>
            <a:r>
              <a:rPr sz="1000" dirty="0">
                <a:latin typeface="Arial"/>
                <a:cs typeface="Arial"/>
              </a:rPr>
              <a:t>s</a:t>
            </a:r>
            <a:r>
              <a:rPr sz="1000" spc="-33" dirty="0">
                <a:latin typeface="Arial"/>
                <a:cs typeface="Arial"/>
              </a:rPr>
              <a:t> </a:t>
            </a:r>
            <a:r>
              <a:rPr sz="1000" spc="9" dirty="0">
                <a:latin typeface="Arial"/>
                <a:cs typeface="Arial"/>
              </a:rPr>
              <a:t>f</a:t>
            </a:r>
            <a:r>
              <a:rPr sz="1000" dirty="0">
                <a:latin typeface="Arial"/>
                <a:cs typeface="Arial"/>
              </a:rPr>
              <a:t>or</a:t>
            </a:r>
            <a:r>
              <a:rPr sz="1000" spc="-31" dirty="0">
                <a:latin typeface="Arial"/>
                <a:cs typeface="Arial"/>
              </a:rPr>
              <a:t> </a:t>
            </a:r>
            <a:r>
              <a:rPr sz="1000" dirty="0">
                <a:latin typeface="Arial"/>
                <a:cs typeface="Arial"/>
              </a:rPr>
              <a:t>b</a:t>
            </a:r>
            <a:r>
              <a:rPr sz="1000" spc="-4" dirty="0">
                <a:latin typeface="Arial"/>
                <a:cs typeface="Arial"/>
              </a:rPr>
              <a:t>illi</a:t>
            </a:r>
            <a:r>
              <a:rPr sz="1000" dirty="0">
                <a:latin typeface="Arial"/>
                <a:cs typeface="Arial"/>
              </a:rPr>
              <a:t>n</a:t>
            </a:r>
            <a:r>
              <a:rPr sz="1000" spc="-4" dirty="0">
                <a:latin typeface="Arial"/>
                <a:cs typeface="Arial"/>
              </a:rPr>
              <a:t>g</a:t>
            </a:r>
            <a:r>
              <a:rPr sz="1000" dirty="0">
                <a:latin typeface="Arial"/>
                <a:cs typeface="Arial"/>
              </a:rPr>
              <a:t>?</a:t>
            </a:r>
            <a:endParaRPr sz="1000">
              <a:latin typeface="Arial"/>
              <a:cs typeface="Arial"/>
            </a:endParaRPr>
          </a:p>
        </p:txBody>
      </p:sp>
      <p:sp>
        <p:nvSpPr>
          <p:cNvPr id="11" name="object 11"/>
          <p:cNvSpPr txBox="1"/>
          <p:nvPr/>
        </p:nvSpPr>
        <p:spPr>
          <a:xfrm>
            <a:off x="9081008" y="1383148"/>
            <a:ext cx="1202126" cy="456691"/>
          </a:xfrm>
          <a:prstGeom prst="rect">
            <a:avLst/>
          </a:prstGeom>
        </p:spPr>
        <p:txBody>
          <a:bodyPr wrap="square" lIns="0" tIns="0" rIns="0" bIns="0" rtlCol="0">
            <a:noAutofit/>
          </a:bodyPr>
          <a:lstStyle/>
          <a:p>
            <a:pPr marL="24892" marR="9205">
              <a:lnSpc>
                <a:spcPts val="1120"/>
              </a:lnSpc>
              <a:spcBef>
                <a:spcPts val="55"/>
              </a:spcBef>
            </a:pPr>
            <a:r>
              <a:rPr sz="1000" dirty="0">
                <a:latin typeface="Arial"/>
                <a:cs typeface="Arial"/>
              </a:rPr>
              <a:t>In</a:t>
            </a:r>
            <a:r>
              <a:rPr sz="1000" spc="-23" dirty="0">
                <a:latin typeface="Arial"/>
                <a:cs typeface="Arial"/>
              </a:rPr>
              <a:t> </a:t>
            </a:r>
            <a:r>
              <a:rPr sz="1000" spc="-9" dirty="0">
                <a:latin typeface="Arial"/>
                <a:cs typeface="Arial"/>
              </a:rPr>
              <a:t>w</a:t>
            </a:r>
            <a:r>
              <a:rPr sz="1000" dirty="0">
                <a:latin typeface="Arial"/>
                <a:cs typeface="Arial"/>
              </a:rPr>
              <a:t>h</a:t>
            </a:r>
            <a:r>
              <a:rPr sz="1000" spc="-4" dirty="0">
                <a:latin typeface="Arial"/>
                <a:cs typeface="Arial"/>
              </a:rPr>
              <a:t>a</a:t>
            </a:r>
            <a:r>
              <a:rPr sz="1000" dirty="0">
                <a:latin typeface="Arial"/>
                <a:cs typeface="Arial"/>
              </a:rPr>
              <a:t>t</a:t>
            </a:r>
            <a:r>
              <a:rPr sz="1000" spc="-11" dirty="0">
                <a:latin typeface="Arial"/>
                <a:cs typeface="Arial"/>
              </a:rPr>
              <a:t> </a:t>
            </a:r>
            <a:r>
              <a:rPr sz="1000" spc="19" dirty="0">
                <a:latin typeface="Arial"/>
                <a:cs typeface="Arial"/>
              </a:rPr>
              <a:t>m</a:t>
            </a:r>
            <a:r>
              <a:rPr sz="1000" dirty="0">
                <a:latin typeface="Arial"/>
                <a:cs typeface="Arial"/>
              </a:rPr>
              <a:t>a</a:t>
            </a:r>
            <a:r>
              <a:rPr sz="1000" spc="-4" dirty="0">
                <a:latin typeface="Arial"/>
                <a:cs typeface="Arial"/>
              </a:rPr>
              <a:t>n</a:t>
            </a:r>
            <a:r>
              <a:rPr sz="1000" dirty="0">
                <a:latin typeface="Arial"/>
                <a:cs typeface="Arial"/>
              </a:rPr>
              <a:t>n</a:t>
            </a:r>
            <a:r>
              <a:rPr sz="1000" spc="-4" dirty="0">
                <a:latin typeface="Arial"/>
                <a:cs typeface="Arial"/>
              </a:rPr>
              <a:t>e</a:t>
            </a:r>
            <a:r>
              <a:rPr sz="1000" dirty="0">
                <a:latin typeface="Arial"/>
                <a:cs typeface="Arial"/>
              </a:rPr>
              <a:t>r</a:t>
            </a:r>
            <a:r>
              <a:rPr sz="1000" spc="-53" dirty="0">
                <a:latin typeface="Arial"/>
                <a:cs typeface="Arial"/>
              </a:rPr>
              <a:t> </a:t>
            </a:r>
            <a:r>
              <a:rPr sz="1000" spc="-4" dirty="0">
                <a:latin typeface="Arial"/>
                <a:cs typeface="Arial"/>
              </a:rPr>
              <a:t>i</a:t>
            </a:r>
            <a:r>
              <a:rPr sz="1000" dirty="0">
                <a:latin typeface="Arial"/>
                <a:cs typeface="Arial"/>
              </a:rPr>
              <a:t>tem</a:t>
            </a:r>
            <a:endParaRPr sz="1000">
              <a:latin typeface="Arial"/>
              <a:cs typeface="Arial"/>
            </a:endParaRPr>
          </a:p>
          <a:p>
            <a:pPr marL="70612" indent="-57912">
              <a:lnSpc>
                <a:spcPct val="100041"/>
              </a:lnSpc>
            </a:pPr>
            <a:r>
              <a:rPr sz="1000" spc="4" dirty="0">
                <a:latin typeface="Arial"/>
                <a:cs typeface="Arial"/>
              </a:rPr>
              <a:t>s</a:t>
            </a:r>
            <a:r>
              <a:rPr sz="1000" dirty="0">
                <a:latin typeface="Arial"/>
                <a:cs typeface="Arial"/>
              </a:rPr>
              <a:t>h</a:t>
            </a:r>
            <a:r>
              <a:rPr sz="1000" spc="-4" dirty="0">
                <a:latin typeface="Arial"/>
                <a:cs typeface="Arial"/>
              </a:rPr>
              <a:t>o</a:t>
            </a:r>
            <a:r>
              <a:rPr sz="1000" dirty="0">
                <a:latin typeface="Arial"/>
                <a:cs typeface="Arial"/>
              </a:rPr>
              <a:t>u</a:t>
            </a:r>
            <a:r>
              <a:rPr sz="1000" spc="-4" dirty="0">
                <a:latin typeface="Arial"/>
                <a:cs typeface="Arial"/>
              </a:rPr>
              <a:t>l</a:t>
            </a:r>
            <a:r>
              <a:rPr sz="1000" dirty="0">
                <a:latin typeface="Arial"/>
                <a:cs typeface="Arial"/>
              </a:rPr>
              <a:t>d</a:t>
            </a:r>
            <a:r>
              <a:rPr sz="1000" spc="-44" dirty="0">
                <a:latin typeface="Arial"/>
                <a:cs typeface="Arial"/>
              </a:rPr>
              <a:t> </a:t>
            </a:r>
            <a:r>
              <a:rPr sz="1000" dirty="0">
                <a:latin typeface="Arial"/>
                <a:cs typeface="Arial"/>
              </a:rPr>
              <a:t>b</a:t>
            </a:r>
            <a:r>
              <a:rPr sz="1000" spc="-4" dirty="0">
                <a:latin typeface="Arial"/>
                <a:cs typeface="Arial"/>
              </a:rPr>
              <a:t>e</a:t>
            </a:r>
            <a:r>
              <a:rPr sz="1000" dirty="0">
                <a:latin typeface="Arial"/>
                <a:cs typeface="Arial"/>
              </a:rPr>
              <a:t>h</a:t>
            </a:r>
            <a:r>
              <a:rPr sz="1000" spc="-4" dirty="0">
                <a:latin typeface="Arial"/>
                <a:cs typeface="Arial"/>
              </a:rPr>
              <a:t>av</a:t>
            </a:r>
            <a:r>
              <a:rPr sz="1000" dirty="0">
                <a:latin typeface="Arial"/>
                <a:cs typeface="Arial"/>
              </a:rPr>
              <a:t>e</a:t>
            </a:r>
            <a:r>
              <a:rPr sz="1000" spc="-47" dirty="0">
                <a:latin typeface="Arial"/>
                <a:cs typeface="Arial"/>
              </a:rPr>
              <a:t> </a:t>
            </a:r>
            <a:r>
              <a:rPr sz="1000" dirty="0">
                <a:latin typeface="Arial"/>
                <a:cs typeface="Arial"/>
              </a:rPr>
              <a:t>?</a:t>
            </a:r>
            <a:r>
              <a:rPr sz="1000" spc="-5" dirty="0">
                <a:latin typeface="Arial"/>
                <a:cs typeface="Arial"/>
              </a:rPr>
              <a:t> </a:t>
            </a:r>
            <a:r>
              <a:rPr sz="1000" spc="-4" dirty="0">
                <a:latin typeface="Arial"/>
                <a:cs typeface="Arial"/>
              </a:rPr>
              <a:t>e</a:t>
            </a:r>
            <a:r>
              <a:rPr sz="1000" dirty="0">
                <a:latin typeface="Arial"/>
                <a:cs typeface="Arial"/>
              </a:rPr>
              <a:t>.g. </a:t>
            </a:r>
            <a:r>
              <a:rPr sz="1000" spc="-4" dirty="0">
                <a:latin typeface="Arial"/>
                <a:cs typeface="Arial"/>
              </a:rPr>
              <a:t>i</a:t>
            </a:r>
            <a:r>
              <a:rPr sz="1000" dirty="0">
                <a:latin typeface="Arial"/>
                <a:cs typeface="Arial"/>
              </a:rPr>
              <a:t>s</a:t>
            </a:r>
            <a:r>
              <a:rPr sz="1000" spc="-17" dirty="0">
                <a:latin typeface="Arial"/>
                <a:cs typeface="Arial"/>
              </a:rPr>
              <a:t> </a:t>
            </a:r>
            <a:r>
              <a:rPr sz="1000" spc="-4" dirty="0">
                <a:latin typeface="Arial"/>
                <a:cs typeface="Arial"/>
              </a:rPr>
              <a:t>i</a:t>
            </a:r>
            <a:r>
              <a:rPr sz="1000" dirty="0">
                <a:latin typeface="Arial"/>
                <a:cs typeface="Arial"/>
              </a:rPr>
              <a:t>t</a:t>
            </a:r>
            <a:r>
              <a:rPr sz="1000" spc="4" dirty="0">
                <a:latin typeface="Arial"/>
                <a:cs typeface="Arial"/>
              </a:rPr>
              <a:t> </a:t>
            </a:r>
            <a:r>
              <a:rPr sz="1000" dirty="0">
                <a:latin typeface="Arial"/>
                <a:cs typeface="Arial"/>
              </a:rPr>
              <a:t>price</a:t>
            </a:r>
            <a:r>
              <a:rPr sz="1000" spc="-21" dirty="0">
                <a:latin typeface="Arial"/>
                <a:cs typeface="Arial"/>
              </a:rPr>
              <a:t> </a:t>
            </a:r>
            <a:r>
              <a:rPr sz="1000" dirty="0">
                <a:latin typeface="Arial"/>
                <a:cs typeface="Arial"/>
              </a:rPr>
              <a:t>re</a:t>
            </a:r>
            <a:r>
              <a:rPr sz="1000" spc="-4" dirty="0">
                <a:latin typeface="Arial"/>
                <a:cs typeface="Arial"/>
              </a:rPr>
              <a:t>l</a:t>
            </a:r>
            <a:r>
              <a:rPr sz="1000" dirty="0">
                <a:latin typeface="Arial"/>
                <a:cs typeface="Arial"/>
              </a:rPr>
              <a:t>e</a:t>
            </a:r>
            <a:r>
              <a:rPr sz="1000" spc="-9" dirty="0">
                <a:latin typeface="Arial"/>
                <a:cs typeface="Arial"/>
              </a:rPr>
              <a:t>v</a:t>
            </a:r>
            <a:r>
              <a:rPr sz="1000" dirty="0">
                <a:latin typeface="Arial"/>
                <a:cs typeface="Arial"/>
              </a:rPr>
              <a:t>a</a:t>
            </a:r>
            <a:r>
              <a:rPr sz="1000" spc="-4" dirty="0">
                <a:latin typeface="Arial"/>
                <a:cs typeface="Arial"/>
              </a:rPr>
              <a:t>n</a:t>
            </a:r>
            <a:r>
              <a:rPr sz="1000" dirty="0">
                <a:latin typeface="Arial"/>
                <a:cs typeface="Arial"/>
              </a:rPr>
              <a:t>t?</a:t>
            </a:r>
            <a:endParaRPr sz="1000">
              <a:latin typeface="Arial"/>
              <a:cs typeface="Arial"/>
            </a:endParaRPr>
          </a:p>
        </p:txBody>
      </p:sp>
      <p:sp>
        <p:nvSpPr>
          <p:cNvPr id="10" name="object 10"/>
          <p:cNvSpPr txBox="1"/>
          <p:nvPr/>
        </p:nvSpPr>
        <p:spPr>
          <a:xfrm>
            <a:off x="7904481" y="1594540"/>
            <a:ext cx="608101" cy="254000"/>
          </a:xfrm>
          <a:prstGeom prst="rect">
            <a:avLst/>
          </a:prstGeom>
        </p:spPr>
        <p:txBody>
          <a:bodyPr wrap="square" lIns="0" tIns="0" rIns="0" bIns="0" rtlCol="0">
            <a:noAutofit/>
          </a:bodyPr>
          <a:lstStyle/>
          <a:p>
            <a:pPr marL="12700">
              <a:lnSpc>
                <a:spcPts val="1939"/>
              </a:lnSpc>
              <a:spcBef>
                <a:spcPts val="97"/>
              </a:spcBef>
            </a:pPr>
            <a:r>
              <a:rPr dirty="0">
                <a:solidFill>
                  <a:srgbClr val="3333CC"/>
                </a:solidFill>
                <a:latin typeface="Arial"/>
                <a:cs typeface="Arial"/>
              </a:rPr>
              <a:t>I</a:t>
            </a:r>
            <a:r>
              <a:rPr spc="19" dirty="0">
                <a:solidFill>
                  <a:srgbClr val="3333CC"/>
                </a:solidFill>
                <a:latin typeface="Arial"/>
                <a:cs typeface="Arial"/>
              </a:rPr>
              <a:t>T</a:t>
            </a:r>
            <a:r>
              <a:rPr dirty="0">
                <a:solidFill>
                  <a:srgbClr val="3333CC"/>
                </a:solidFill>
                <a:latin typeface="Arial"/>
                <a:cs typeface="Arial"/>
              </a:rPr>
              <a:t>EM</a:t>
            </a:r>
            <a:endParaRPr>
              <a:latin typeface="Arial"/>
              <a:cs typeface="Arial"/>
            </a:endParaRPr>
          </a:p>
        </p:txBody>
      </p:sp>
      <p:sp>
        <p:nvSpPr>
          <p:cNvPr id="9" name="object 9"/>
          <p:cNvSpPr txBox="1"/>
          <p:nvPr/>
        </p:nvSpPr>
        <p:spPr>
          <a:xfrm>
            <a:off x="7137654" y="5041382"/>
            <a:ext cx="983070" cy="151892"/>
          </a:xfrm>
          <a:prstGeom prst="rect">
            <a:avLst/>
          </a:prstGeom>
        </p:spPr>
        <p:txBody>
          <a:bodyPr wrap="square" lIns="0" tIns="0" rIns="0" bIns="0" rtlCol="0">
            <a:noAutofit/>
          </a:bodyPr>
          <a:lstStyle/>
          <a:p>
            <a:pPr marL="12700">
              <a:lnSpc>
                <a:spcPts val="1120"/>
              </a:lnSpc>
              <a:spcBef>
                <a:spcPts val="55"/>
              </a:spcBef>
            </a:pPr>
            <a:r>
              <a:rPr sz="1000" spc="-4" dirty="0">
                <a:latin typeface="Arial"/>
                <a:cs typeface="Arial"/>
              </a:rPr>
              <a:t>S</a:t>
            </a:r>
            <a:r>
              <a:rPr sz="1000" dirty="0">
                <a:latin typeface="Arial"/>
                <a:cs typeface="Arial"/>
              </a:rPr>
              <a:t>h</a:t>
            </a:r>
            <a:r>
              <a:rPr sz="1000" spc="-4" dirty="0">
                <a:latin typeface="Arial"/>
                <a:cs typeface="Arial"/>
              </a:rPr>
              <a:t>o</a:t>
            </a:r>
            <a:r>
              <a:rPr sz="1000" dirty="0">
                <a:latin typeface="Arial"/>
                <a:cs typeface="Arial"/>
              </a:rPr>
              <a:t>u</a:t>
            </a:r>
            <a:r>
              <a:rPr sz="1000" spc="-4" dirty="0">
                <a:latin typeface="Arial"/>
                <a:cs typeface="Arial"/>
              </a:rPr>
              <a:t>l</a:t>
            </a:r>
            <a:r>
              <a:rPr sz="1000" dirty="0">
                <a:latin typeface="Arial"/>
                <a:cs typeface="Arial"/>
              </a:rPr>
              <a:t>d</a:t>
            </a:r>
            <a:r>
              <a:rPr sz="1000" spc="-45" dirty="0">
                <a:latin typeface="Arial"/>
                <a:cs typeface="Arial"/>
              </a:rPr>
              <a:t> </a:t>
            </a:r>
            <a:r>
              <a:rPr sz="1000" dirty="0">
                <a:latin typeface="Arial"/>
                <a:cs typeface="Arial"/>
              </a:rPr>
              <a:t>pric</a:t>
            </a:r>
            <a:r>
              <a:rPr sz="1000" spc="-4" dirty="0">
                <a:latin typeface="Arial"/>
                <a:cs typeface="Arial"/>
              </a:rPr>
              <a:t>i</a:t>
            </a:r>
            <a:r>
              <a:rPr sz="1000" dirty="0">
                <a:latin typeface="Arial"/>
                <a:cs typeface="Arial"/>
              </a:rPr>
              <a:t>ng</a:t>
            </a:r>
            <a:r>
              <a:rPr sz="1000" spc="-24" dirty="0">
                <a:latin typeface="Arial"/>
                <a:cs typeface="Arial"/>
              </a:rPr>
              <a:t> </a:t>
            </a:r>
            <a:r>
              <a:rPr sz="1000" dirty="0">
                <a:latin typeface="Arial"/>
                <a:cs typeface="Arial"/>
              </a:rPr>
              <a:t>to</a:t>
            </a:r>
            <a:endParaRPr sz="1000">
              <a:latin typeface="Arial"/>
              <a:cs typeface="Arial"/>
            </a:endParaRPr>
          </a:p>
        </p:txBody>
      </p:sp>
      <p:sp>
        <p:nvSpPr>
          <p:cNvPr id="8" name="object 8"/>
          <p:cNvSpPr txBox="1"/>
          <p:nvPr/>
        </p:nvSpPr>
        <p:spPr>
          <a:xfrm>
            <a:off x="5055591" y="5193782"/>
            <a:ext cx="3551427" cy="724802"/>
          </a:xfrm>
          <a:prstGeom prst="rect">
            <a:avLst/>
          </a:prstGeom>
        </p:spPr>
        <p:txBody>
          <a:bodyPr wrap="square" lIns="0" tIns="0" rIns="0" bIns="0" rtlCol="0">
            <a:noAutofit/>
          </a:bodyPr>
          <a:lstStyle/>
          <a:p>
            <a:pPr marL="2173160" marR="561659" algn="ctr">
              <a:lnSpc>
                <a:spcPts val="1120"/>
              </a:lnSpc>
              <a:spcBef>
                <a:spcPts val="55"/>
              </a:spcBef>
            </a:pPr>
            <a:r>
              <a:rPr sz="1000" dirty="0">
                <a:latin typeface="Arial"/>
                <a:cs typeface="Arial"/>
              </a:rPr>
              <a:t>be</a:t>
            </a:r>
            <a:r>
              <a:rPr sz="1000" spc="-25" dirty="0">
                <a:latin typeface="Arial"/>
                <a:cs typeface="Arial"/>
              </a:rPr>
              <a:t> </a:t>
            </a:r>
            <a:r>
              <a:rPr sz="1000" spc="4" dirty="0">
                <a:latin typeface="Arial"/>
                <a:cs typeface="Arial"/>
              </a:rPr>
              <a:t>c</a:t>
            </a:r>
            <a:r>
              <a:rPr sz="1000" dirty="0">
                <a:latin typeface="Arial"/>
                <a:cs typeface="Arial"/>
              </a:rPr>
              <a:t>ar</a:t>
            </a:r>
            <a:r>
              <a:rPr sz="1000" spc="4" dirty="0">
                <a:latin typeface="Arial"/>
                <a:cs typeface="Arial"/>
              </a:rPr>
              <a:t>r</a:t>
            </a:r>
            <a:r>
              <a:rPr sz="1000" spc="-4" dirty="0">
                <a:latin typeface="Arial"/>
                <a:cs typeface="Arial"/>
              </a:rPr>
              <a:t>i</a:t>
            </a:r>
            <a:r>
              <a:rPr sz="1000" dirty="0">
                <a:latin typeface="Arial"/>
                <a:cs typeface="Arial"/>
              </a:rPr>
              <a:t>ed</a:t>
            </a:r>
            <a:r>
              <a:rPr sz="1000" spc="-25" dirty="0">
                <a:latin typeface="Arial"/>
                <a:cs typeface="Arial"/>
              </a:rPr>
              <a:t> </a:t>
            </a:r>
            <a:r>
              <a:rPr sz="1000" dirty="0">
                <a:latin typeface="Arial"/>
                <a:cs typeface="Arial"/>
              </a:rPr>
              <a:t>o</a:t>
            </a:r>
            <a:r>
              <a:rPr sz="1000" spc="-4" dirty="0">
                <a:latin typeface="Arial"/>
                <a:cs typeface="Arial"/>
              </a:rPr>
              <a:t>u</a:t>
            </a:r>
            <a:r>
              <a:rPr sz="1000" dirty="0">
                <a:latin typeface="Arial"/>
                <a:cs typeface="Arial"/>
              </a:rPr>
              <a:t>t</a:t>
            </a:r>
            <a:endParaRPr sz="1000">
              <a:latin typeface="Arial"/>
              <a:cs typeface="Arial"/>
            </a:endParaRPr>
          </a:p>
          <a:p>
            <a:pPr marL="1966462" marR="387948" algn="ctr">
              <a:lnSpc>
                <a:spcPct val="100041"/>
              </a:lnSpc>
            </a:pPr>
            <a:r>
              <a:rPr sz="1000" dirty="0">
                <a:latin typeface="Arial"/>
                <a:cs typeface="Arial"/>
              </a:rPr>
              <a:t>a</a:t>
            </a:r>
            <a:r>
              <a:rPr sz="1000" spc="-4" dirty="0">
                <a:latin typeface="Arial"/>
                <a:cs typeface="Arial"/>
              </a:rPr>
              <a:t>g</a:t>
            </a:r>
            <a:r>
              <a:rPr sz="1000" dirty="0">
                <a:latin typeface="Arial"/>
                <a:cs typeface="Arial"/>
              </a:rPr>
              <a:t>a</a:t>
            </a:r>
            <a:r>
              <a:rPr sz="1000" spc="-4" dirty="0">
                <a:latin typeface="Arial"/>
                <a:cs typeface="Arial"/>
              </a:rPr>
              <a:t>i</a:t>
            </a:r>
            <a:r>
              <a:rPr sz="1000" dirty="0">
                <a:latin typeface="Arial"/>
                <a:cs typeface="Arial"/>
              </a:rPr>
              <a:t>n</a:t>
            </a:r>
            <a:r>
              <a:rPr sz="1000" spc="-39" dirty="0">
                <a:latin typeface="Arial"/>
                <a:cs typeface="Arial"/>
              </a:rPr>
              <a:t> </a:t>
            </a:r>
            <a:r>
              <a:rPr sz="1000" dirty="0">
                <a:latin typeface="Arial"/>
                <a:cs typeface="Arial"/>
              </a:rPr>
              <a:t>or</a:t>
            </a:r>
            <a:r>
              <a:rPr sz="1000" spc="-8" dirty="0">
                <a:latin typeface="Arial"/>
                <a:cs typeface="Arial"/>
              </a:rPr>
              <a:t> </a:t>
            </a:r>
            <a:r>
              <a:rPr sz="1000" dirty="0">
                <a:latin typeface="Arial"/>
                <a:cs typeface="Arial"/>
              </a:rPr>
              <a:t>to</a:t>
            </a:r>
            <a:r>
              <a:rPr sz="1000" spc="-8" dirty="0">
                <a:latin typeface="Arial"/>
                <a:cs typeface="Arial"/>
              </a:rPr>
              <a:t> </a:t>
            </a:r>
            <a:r>
              <a:rPr sz="1000" spc="-4" dirty="0">
                <a:latin typeface="Arial"/>
                <a:cs typeface="Arial"/>
              </a:rPr>
              <a:t>b</a:t>
            </a:r>
            <a:r>
              <a:rPr sz="1000" dirty="0">
                <a:latin typeface="Arial"/>
                <a:cs typeface="Arial"/>
              </a:rPr>
              <a:t>e</a:t>
            </a:r>
            <a:r>
              <a:rPr sz="1000" spc="-25" dirty="0">
                <a:latin typeface="Arial"/>
                <a:cs typeface="Arial"/>
              </a:rPr>
              <a:t> </a:t>
            </a:r>
            <a:r>
              <a:rPr sz="1000" spc="4" dirty="0">
                <a:latin typeface="Arial"/>
                <a:cs typeface="Arial"/>
              </a:rPr>
              <a:t>c</a:t>
            </a:r>
            <a:r>
              <a:rPr sz="1000" dirty="0">
                <a:latin typeface="Arial"/>
                <a:cs typeface="Arial"/>
              </a:rPr>
              <a:t>o</a:t>
            </a:r>
            <a:r>
              <a:rPr sz="1000" spc="-4" dirty="0">
                <a:latin typeface="Arial"/>
                <a:cs typeface="Arial"/>
              </a:rPr>
              <a:t>pi</a:t>
            </a:r>
            <a:r>
              <a:rPr sz="1000" dirty="0">
                <a:latin typeface="Arial"/>
                <a:cs typeface="Arial"/>
              </a:rPr>
              <a:t>ed </a:t>
            </a:r>
            <a:r>
              <a:rPr sz="1000" spc="9" dirty="0">
                <a:latin typeface="Arial"/>
                <a:cs typeface="Arial"/>
              </a:rPr>
              <a:t>f</a:t>
            </a:r>
            <a:r>
              <a:rPr sz="1000" spc="4" dirty="0">
                <a:latin typeface="Arial"/>
                <a:cs typeface="Arial"/>
              </a:rPr>
              <a:t>r</a:t>
            </a:r>
            <a:r>
              <a:rPr sz="1000" dirty="0">
                <a:latin typeface="Arial"/>
                <a:cs typeface="Arial"/>
              </a:rPr>
              <a:t>om</a:t>
            </a:r>
            <a:r>
              <a:rPr sz="1000" spc="-34" dirty="0">
                <a:latin typeface="Arial"/>
                <a:cs typeface="Arial"/>
              </a:rPr>
              <a:t> </a:t>
            </a:r>
            <a:r>
              <a:rPr sz="1000" spc="-4" dirty="0">
                <a:latin typeface="Arial"/>
                <a:cs typeface="Arial"/>
              </a:rPr>
              <a:t>S</a:t>
            </a:r>
            <a:r>
              <a:rPr sz="1000" dirty="0">
                <a:latin typeface="Arial"/>
                <a:cs typeface="Arial"/>
              </a:rPr>
              <a:t>a</a:t>
            </a:r>
            <a:r>
              <a:rPr sz="1000" spc="-4" dirty="0">
                <a:latin typeface="Arial"/>
                <a:cs typeface="Arial"/>
              </a:rPr>
              <a:t>l</a:t>
            </a:r>
            <a:r>
              <a:rPr sz="1000" dirty="0">
                <a:latin typeface="Arial"/>
                <a:cs typeface="Arial"/>
              </a:rPr>
              <a:t>es</a:t>
            </a:r>
            <a:r>
              <a:rPr sz="1000" spc="-19" dirty="0">
                <a:latin typeface="Arial"/>
                <a:cs typeface="Arial"/>
              </a:rPr>
              <a:t> </a:t>
            </a:r>
            <a:r>
              <a:rPr sz="1000" dirty="0">
                <a:latin typeface="Arial"/>
                <a:cs typeface="Arial"/>
              </a:rPr>
              <a:t>order?</a:t>
            </a:r>
            <a:endParaRPr sz="1000">
              <a:latin typeface="Arial"/>
              <a:cs typeface="Arial"/>
            </a:endParaRPr>
          </a:p>
          <a:p>
            <a:pPr marL="12700">
              <a:lnSpc>
                <a:spcPct val="95825"/>
              </a:lnSpc>
              <a:spcBef>
                <a:spcPts val="5"/>
              </a:spcBef>
            </a:pP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r>
              <a:rPr spc="14" dirty="0">
                <a:latin typeface="Arial"/>
                <a:cs typeface="Arial"/>
              </a:rPr>
              <a:t> </a:t>
            </a:r>
            <a:r>
              <a:rPr dirty="0">
                <a:latin typeface="Arial"/>
                <a:cs typeface="Arial"/>
              </a:rPr>
              <a:t>(OR) </a:t>
            </a:r>
            <a:r>
              <a:rPr spc="14" dirty="0">
                <a:latin typeface="Arial"/>
                <a:cs typeface="Arial"/>
              </a:rPr>
              <a:t> </a:t>
            </a:r>
            <a:r>
              <a:rPr sz="1600" dirty="0">
                <a:latin typeface="Arial"/>
                <a:cs typeface="Arial"/>
              </a:rPr>
              <a:t>e.g.</a:t>
            </a:r>
            <a:r>
              <a:rPr sz="1600" spc="-11" dirty="0">
                <a:latin typeface="Arial"/>
                <a:cs typeface="Arial"/>
              </a:rPr>
              <a:t> </a:t>
            </a:r>
            <a:r>
              <a:rPr sz="1600" dirty="0">
                <a:latin typeface="Arial"/>
                <a:cs typeface="Arial"/>
              </a:rPr>
              <a:t>Sa</a:t>
            </a:r>
            <a:r>
              <a:rPr sz="1600" spc="9" dirty="0">
                <a:latin typeface="Arial"/>
                <a:cs typeface="Arial"/>
              </a:rPr>
              <a:t>l</a:t>
            </a:r>
            <a:r>
              <a:rPr sz="1600" dirty="0">
                <a:latin typeface="Arial"/>
                <a:cs typeface="Arial"/>
              </a:rPr>
              <a:t>e</a:t>
            </a:r>
            <a:r>
              <a:rPr sz="1600" spc="-31" dirty="0">
                <a:latin typeface="Arial"/>
                <a:cs typeface="Arial"/>
              </a:rPr>
              <a:t> </a:t>
            </a:r>
            <a:r>
              <a:rPr sz="1600" dirty="0">
                <a:latin typeface="Arial"/>
                <a:cs typeface="Arial"/>
              </a:rPr>
              <a:t>of</a:t>
            </a:r>
            <a:r>
              <a:rPr sz="1600" spc="1" dirty="0">
                <a:latin typeface="Arial"/>
                <a:cs typeface="Arial"/>
              </a:rPr>
              <a:t> </a:t>
            </a:r>
            <a:r>
              <a:rPr sz="1600" dirty="0">
                <a:latin typeface="Arial"/>
                <a:cs typeface="Arial"/>
              </a:rPr>
              <a:t>Ser</a:t>
            </a:r>
            <a:r>
              <a:rPr sz="1600" spc="4" dirty="0">
                <a:latin typeface="Arial"/>
                <a:cs typeface="Arial"/>
              </a:rPr>
              <a:t>vic</a:t>
            </a:r>
            <a:r>
              <a:rPr sz="1600" dirty="0">
                <a:latin typeface="Arial"/>
                <a:cs typeface="Arial"/>
              </a:rPr>
              <a:t>e</a:t>
            </a:r>
            <a:endParaRPr sz="1600">
              <a:latin typeface="Arial"/>
              <a:cs typeface="Arial"/>
            </a:endParaRPr>
          </a:p>
        </p:txBody>
      </p:sp>
      <p:sp>
        <p:nvSpPr>
          <p:cNvPr id="7" name="object 7"/>
          <p:cNvSpPr txBox="1"/>
          <p:nvPr/>
        </p:nvSpPr>
        <p:spPr>
          <a:xfrm>
            <a:off x="1907540" y="5252909"/>
            <a:ext cx="1776358" cy="1077156"/>
          </a:xfrm>
          <a:prstGeom prst="rect">
            <a:avLst/>
          </a:prstGeom>
        </p:spPr>
        <p:txBody>
          <a:bodyPr wrap="square" lIns="0" tIns="0" rIns="0" bIns="0" rtlCol="0">
            <a:noAutofit/>
          </a:bodyPr>
          <a:lstStyle/>
          <a:p>
            <a:pPr marL="12700" marR="39430">
              <a:lnSpc>
                <a:spcPts val="1939"/>
              </a:lnSpc>
              <a:spcBef>
                <a:spcPts val="97"/>
              </a:spcBef>
            </a:pPr>
            <a:r>
              <a:rPr dirty="0">
                <a:latin typeface="Arial"/>
                <a:cs typeface="Arial"/>
              </a:rPr>
              <a:t>C</a:t>
            </a:r>
            <a:r>
              <a:rPr spc="-9" dirty="0">
                <a:latin typeface="Arial"/>
                <a:cs typeface="Arial"/>
              </a:rPr>
              <a:t>o</a:t>
            </a:r>
            <a:r>
              <a:rPr spc="-4" dirty="0">
                <a:latin typeface="Arial"/>
                <a:cs typeface="Arial"/>
              </a:rPr>
              <a:t>p</a:t>
            </a:r>
            <a:r>
              <a:rPr dirty="0">
                <a:latin typeface="Arial"/>
                <a:cs typeface="Arial"/>
              </a:rPr>
              <a:t>y c</a:t>
            </a:r>
            <a:r>
              <a:rPr spc="-4" dirty="0">
                <a:latin typeface="Arial"/>
                <a:cs typeface="Arial"/>
              </a:rPr>
              <a:t>on</a:t>
            </a:r>
            <a:r>
              <a:rPr dirty="0">
                <a:latin typeface="Arial"/>
                <a:cs typeface="Arial"/>
              </a:rPr>
              <a:t>trol :</a:t>
            </a:r>
            <a:endParaRPr>
              <a:latin typeface="Arial"/>
              <a:cs typeface="Arial"/>
            </a:endParaRPr>
          </a:p>
          <a:p>
            <a:pPr marL="12700">
              <a:lnSpc>
                <a:spcPct val="95825"/>
              </a:lnSpc>
              <a:spcBef>
                <a:spcPts val="1072"/>
              </a:spcBef>
            </a:pPr>
            <a:r>
              <a:rPr dirty="0">
                <a:latin typeface="Arial"/>
                <a:cs typeface="Arial"/>
              </a:rPr>
              <a:t>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r>
              <a:rPr spc="4"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a:p>
            <a:pPr marL="12700" marR="5140">
              <a:lnSpc>
                <a:spcPct val="95825"/>
              </a:lnSpc>
              <a:spcBef>
                <a:spcPts val="1170"/>
              </a:spcBef>
            </a:pPr>
            <a:r>
              <a:rPr dirty="0">
                <a:latin typeface="Arial"/>
                <a:cs typeface="Arial"/>
              </a:rPr>
              <a:t>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r>
              <a:rPr spc="4"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6" name="object 6"/>
          <p:cNvSpPr txBox="1"/>
          <p:nvPr/>
        </p:nvSpPr>
        <p:spPr>
          <a:xfrm>
            <a:off x="3684220" y="5664585"/>
            <a:ext cx="1366367"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F2)</a:t>
            </a:r>
            <a:r>
              <a:rPr spc="-4" dirty="0">
                <a:latin typeface="Arial"/>
                <a:cs typeface="Arial"/>
              </a:rPr>
              <a:t> </a:t>
            </a:r>
            <a:r>
              <a:rPr dirty="0">
                <a:latin typeface="Arial"/>
                <a:cs typeface="Arial"/>
              </a:rPr>
              <a:t>to Sa</a:t>
            </a:r>
            <a:r>
              <a:rPr spc="-4" dirty="0">
                <a:latin typeface="Arial"/>
                <a:cs typeface="Arial"/>
              </a:rPr>
              <a:t>l</a:t>
            </a:r>
            <a:r>
              <a:rPr dirty="0">
                <a:latin typeface="Arial"/>
                <a:cs typeface="Arial"/>
              </a:rPr>
              <a:t>es</a:t>
            </a:r>
            <a:endParaRPr>
              <a:latin typeface="Arial"/>
              <a:cs typeface="Arial"/>
            </a:endParaRPr>
          </a:p>
        </p:txBody>
      </p:sp>
      <p:sp>
        <p:nvSpPr>
          <p:cNvPr id="5" name="object 5"/>
          <p:cNvSpPr txBox="1"/>
          <p:nvPr/>
        </p:nvSpPr>
        <p:spPr>
          <a:xfrm>
            <a:off x="3684220" y="6076065"/>
            <a:ext cx="4955819" cy="254000"/>
          </a:xfrm>
          <a:prstGeom prst="rect">
            <a:avLst/>
          </a:prstGeom>
        </p:spPr>
        <p:txBody>
          <a:bodyPr wrap="square" lIns="0" tIns="0" rIns="0" bIns="0" rtlCol="0">
            <a:noAutofit/>
          </a:bodyPr>
          <a:lstStyle/>
          <a:p>
            <a:pPr marL="12700">
              <a:lnSpc>
                <a:spcPts val="1939"/>
              </a:lnSpc>
              <a:spcBef>
                <a:spcPts val="97"/>
              </a:spcBef>
            </a:pPr>
            <a:r>
              <a:rPr dirty="0">
                <a:latin typeface="Arial"/>
                <a:cs typeface="Arial"/>
              </a:rPr>
              <a:t>(F2)</a:t>
            </a:r>
            <a:r>
              <a:rPr spc="-4" dirty="0">
                <a:latin typeface="Arial"/>
                <a:cs typeface="Arial"/>
              </a:rPr>
              <a:t> </a:t>
            </a:r>
            <a:r>
              <a:rPr dirty="0">
                <a:latin typeface="Arial"/>
                <a:cs typeface="Arial"/>
              </a:rPr>
              <a:t>to D</a:t>
            </a:r>
            <a:r>
              <a:rPr spc="-4" dirty="0">
                <a:latin typeface="Arial"/>
                <a:cs typeface="Arial"/>
              </a:rPr>
              <a:t>e</a:t>
            </a:r>
            <a:r>
              <a:rPr dirty="0">
                <a:latin typeface="Arial"/>
                <a:cs typeface="Arial"/>
              </a:rPr>
              <a:t>l</a:t>
            </a:r>
            <a:r>
              <a:rPr spc="-4" dirty="0">
                <a:latin typeface="Arial"/>
                <a:cs typeface="Arial"/>
              </a:rPr>
              <a:t>i</a:t>
            </a:r>
            <a:r>
              <a:rPr dirty="0">
                <a:latin typeface="Arial"/>
                <a:cs typeface="Arial"/>
              </a:rPr>
              <a:t>very</a:t>
            </a:r>
            <a:r>
              <a:rPr spc="9"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r>
              <a:rPr spc="14" dirty="0">
                <a:latin typeface="Arial"/>
                <a:cs typeface="Arial"/>
              </a:rPr>
              <a:t> </a:t>
            </a:r>
            <a:r>
              <a:rPr dirty="0">
                <a:latin typeface="Arial"/>
                <a:cs typeface="Arial"/>
              </a:rPr>
              <a:t>(LF)</a:t>
            </a:r>
            <a:r>
              <a:rPr spc="19" dirty="0">
                <a:latin typeface="Arial"/>
                <a:cs typeface="Arial"/>
              </a:rPr>
              <a:t> </a:t>
            </a:r>
            <a:r>
              <a:rPr sz="1600" dirty="0">
                <a:latin typeface="Arial"/>
                <a:cs typeface="Arial"/>
              </a:rPr>
              <a:t>e.g.</a:t>
            </a:r>
            <a:r>
              <a:rPr sz="1600" spc="-11" dirty="0">
                <a:latin typeface="Arial"/>
                <a:cs typeface="Arial"/>
              </a:rPr>
              <a:t> </a:t>
            </a:r>
            <a:r>
              <a:rPr sz="1600" dirty="0">
                <a:latin typeface="Arial"/>
                <a:cs typeface="Arial"/>
              </a:rPr>
              <a:t>Sa</a:t>
            </a:r>
            <a:r>
              <a:rPr sz="1600" spc="9" dirty="0">
                <a:latin typeface="Arial"/>
                <a:cs typeface="Arial"/>
              </a:rPr>
              <a:t>l</a:t>
            </a:r>
            <a:r>
              <a:rPr sz="1600" dirty="0">
                <a:latin typeface="Arial"/>
                <a:cs typeface="Arial"/>
              </a:rPr>
              <a:t>e</a:t>
            </a:r>
            <a:r>
              <a:rPr sz="1600" spc="-31" dirty="0">
                <a:latin typeface="Arial"/>
                <a:cs typeface="Arial"/>
              </a:rPr>
              <a:t> </a:t>
            </a:r>
            <a:r>
              <a:rPr sz="1600" dirty="0">
                <a:latin typeface="Arial"/>
                <a:cs typeface="Arial"/>
              </a:rPr>
              <a:t>of</a:t>
            </a:r>
            <a:r>
              <a:rPr sz="1600" spc="1" dirty="0">
                <a:latin typeface="Arial"/>
                <a:cs typeface="Arial"/>
              </a:rPr>
              <a:t> </a:t>
            </a:r>
            <a:r>
              <a:rPr sz="1600" spc="-4" dirty="0">
                <a:latin typeface="Arial"/>
                <a:cs typeface="Arial"/>
              </a:rPr>
              <a:t>G</a:t>
            </a:r>
            <a:r>
              <a:rPr sz="1600" dirty="0">
                <a:latin typeface="Arial"/>
                <a:cs typeface="Arial"/>
              </a:rPr>
              <a:t>oods</a:t>
            </a:r>
            <a:endParaRPr sz="1600">
              <a:latin typeface="Arial"/>
              <a:cs typeface="Arial"/>
            </a:endParaRPr>
          </a:p>
        </p:txBody>
      </p:sp>
      <p:sp>
        <p:nvSpPr>
          <p:cNvPr id="3" name="object 3"/>
          <p:cNvSpPr txBox="1"/>
          <p:nvPr/>
        </p:nvSpPr>
        <p:spPr>
          <a:xfrm>
            <a:off x="6553200" y="1828800"/>
            <a:ext cx="3657600" cy="3276600"/>
          </a:xfrm>
          <a:prstGeom prst="rect">
            <a:avLst/>
          </a:prstGeom>
        </p:spPr>
        <p:txBody>
          <a:bodyPr wrap="square" lIns="0" tIns="0" rIns="0" bIns="0" rtlCol="0">
            <a:noAutofit/>
          </a:bodyPr>
          <a:lstStyle/>
          <a:p>
            <a:pPr>
              <a:lnSpc>
                <a:spcPts val="1000"/>
              </a:lnSpc>
            </a:pPr>
            <a:endParaRPr sz="1000"/>
          </a:p>
          <a:p>
            <a:pPr marL="1192657" marR="1191019">
              <a:lnSpc>
                <a:spcPct val="100041"/>
              </a:lnSpc>
              <a:spcBef>
                <a:spcPts val="9263"/>
              </a:spcBef>
            </a:pPr>
            <a:r>
              <a:rPr sz="1000" dirty="0">
                <a:latin typeface="Arial"/>
                <a:cs typeface="Arial"/>
              </a:rPr>
              <a:t>How</a:t>
            </a:r>
            <a:r>
              <a:rPr sz="1000" spc="-19" dirty="0">
                <a:latin typeface="Arial"/>
                <a:cs typeface="Arial"/>
              </a:rPr>
              <a:t> </a:t>
            </a:r>
            <a:r>
              <a:rPr sz="1000" spc="19" dirty="0">
                <a:latin typeface="Arial"/>
                <a:cs typeface="Arial"/>
              </a:rPr>
              <a:t>m</a:t>
            </a:r>
            <a:r>
              <a:rPr sz="1000" dirty="0">
                <a:latin typeface="Arial"/>
                <a:cs typeface="Arial"/>
              </a:rPr>
              <a:t>u</a:t>
            </a:r>
            <a:r>
              <a:rPr sz="1000" spc="4" dirty="0">
                <a:latin typeface="Arial"/>
                <a:cs typeface="Arial"/>
              </a:rPr>
              <a:t>c</a:t>
            </a:r>
            <a:r>
              <a:rPr sz="1000" dirty="0">
                <a:latin typeface="Arial"/>
                <a:cs typeface="Arial"/>
              </a:rPr>
              <a:t>h</a:t>
            </a:r>
            <a:r>
              <a:rPr sz="1000" spc="-49" dirty="0">
                <a:latin typeface="Arial"/>
                <a:cs typeface="Arial"/>
              </a:rPr>
              <a:t> </a:t>
            </a:r>
            <a:r>
              <a:rPr sz="1000" dirty="0">
                <a:latin typeface="Arial"/>
                <a:cs typeface="Arial"/>
              </a:rPr>
              <a:t>q</a:t>
            </a:r>
            <a:r>
              <a:rPr sz="1000" spc="-4" dirty="0">
                <a:latin typeface="Arial"/>
                <a:cs typeface="Arial"/>
              </a:rPr>
              <a:t>u</a:t>
            </a:r>
            <a:r>
              <a:rPr sz="1000" dirty="0">
                <a:latin typeface="Arial"/>
                <a:cs typeface="Arial"/>
              </a:rPr>
              <a:t>a</a:t>
            </a:r>
            <a:r>
              <a:rPr sz="1000" spc="-4" dirty="0">
                <a:latin typeface="Arial"/>
                <a:cs typeface="Arial"/>
              </a:rPr>
              <a:t>n</a:t>
            </a:r>
            <a:r>
              <a:rPr sz="1000" dirty="0">
                <a:latin typeface="Arial"/>
                <a:cs typeface="Arial"/>
              </a:rPr>
              <a:t>t</a:t>
            </a:r>
            <a:r>
              <a:rPr sz="1000" spc="-4" dirty="0">
                <a:latin typeface="Arial"/>
                <a:cs typeface="Arial"/>
              </a:rPr>
              <a:t>i</a:t>
            </a:r>
            <a:r>
              <a:rPr sz="1000" dirty="0">
                <a:latin typeface="Arial"/>
                <a:cs typeface="Arial"/>
              </a:rPr>
              <a:t>ty</a:t>
            </a:r>
            <a:r>
              <a:rPr sz="1000" spc="-44" dirty="0">
                <a:latin typeface="Arial"/>
                <a:cs typeface="Arial"/>
              </a:rPr>
              <a:t> </a:t>
            </a:r>
            <a:r>
              <a:rPr sz="1000" spc="-4" dirty="0">
                <a:latin typeface="Arial"/>
                <a:cs typeface="Arial"/>
              </a:rPr>
              <a:t>i</a:t>
            </a:r>
            <a:r>
              <a:rPr sz="1000" dirty="0">
                <a:latin typeface="Arial"/>
                <a:cs typeface="Arial"/>
              </a:rPr>
              <a:t>s to</a:t>
            </a:r>
            <a:r>
              <a:rPr sz="1000" spc="-23" dirty="0">
                <a:latin typeface="Arial"/>
                <a:cs typeface="Arial"/>
              </a:rPr>
              <a:t> </a:t>
            </a:r>
            <a:r>
              <a:rPr sz="1000" dirty="0">
                <a:latin typeface="Arial"/>
                <a:cs typeface="Arial"/>
              </a:rPr>
              <a:t>be</a:t>
            </a:r>
            <a:r>
              <a:rPr sz="1000" spc="-25" dirty="0">
                <a:latin typeface="Arial"/>
                <a:cs typeface="Arial"/>
              </a:rPr>
              <a:t> </a:t>
            </a:r>
            <a:r>
              <a:rPr sz="1000" dirty="0">
                <a:latin typeface="Arial"/>
                <a:cs typeface="Arial"/>
              </a:rPr>
              <a:t>b</a:t>
            </a:r>
            <a:r>
              <a:rPr sz="1000" spc="-4" dirty="0">
                <a:latin typeface="Arial"/>
                <a:cs typeface="Arial"/>
              </a:rPr>
              <a:t>ill</a:t>
            </a:r>
            <a:r>
              <a:rPr sz="1000" dirty="0">
                <a:latin typeface="Arial"/>
                <a:cs typeface="Arial"/>
              </a:rPr>
              <a:t>e</a:t>
            </a:r>
            <a:r>
              <a:rPr sz="1000" spc="-4" dirty="0">
                <a:latin typeface="Arial"/>
                <a:cs typeface="Arial"/>
              </a:rPr>
              <a:t>d</a:t>
            </a:r>
            <a:r>
              <a:rPr sz="1000" dirty="0">
                <a:latin typeface="Arial"/>
                <a:cs typeface="Arial"/>
              </a:rPr>
              <a:t>?</a:t>
            </a:r>
            <a:r>
              <a:rPr sz="1000" spc="-8" dirty="0">
                <a:latin typeface="Arial"/>
                <a:cs typeface="Arial"/>
              </a:rPr>
              <a:t> </a:t>
            </a:r>
            <a:r>
              <a:rPr sz="1000" dirty="0">
                <a:latin typeface="Arial"/>
                <a:cs typeface="Arial"/>
              </a:rPr>
              <a:t>e.</a:t>
            </a:r>
            <a:r>
              <a:rPr sz="1000" spc="-4" dirty="0">
                <a:latin typeface="Arial"/>
                <a:cs typeface="Arial"/>
              </a:rPr>
              <a:t>g</a:t>
            </a:r>
            <a:r>
              <a:rPr sz="1000" dirty="0">
                <a:latin typeface="Arial"/>
                <a:cs typeface="Arial"/>
              </a:rPr>
              <a:t>.</a:t>
            </a:r>
            <a:r>
              <a:rPr sz="1000" spc="-31" dirty="0">
                <a:latin typeface="Arial"/>
                <a:cs typeface="Arial"/>
              </a:rPr>
              <a:t> </a:t>
            </a:r>
            <a:r>
              <a:rPr sz="1000" dirty="0">
                <a:latin typeface="Arial"/>
                <a:cs typeface="Arial"/>
              </a:rPr>
              <a:t>order q</a:t>
            </a:r>
            <a:r>
              <a:rPr sz="1000" spc="-4" dirty="0">
                <a:latin typeface="Arial"/>
                <a:cs typeface="Arial"/>
              </a:rPr>
              <a:t>u</a:t>
            </a:r>
            <a:r>
              <a:rPr sz="1000" dirty="0">
                <a:latin typeface="Arial"/>
                <a:cs typeface="Arial"/>
              </a:rPr>
              <a:t>a</a:t>
            </a:r>
            <a:r>
              <a:rPr sz="1000" spc="-4" dirty="0">
                <a:latin typeface="Arial"/>
                <a:cs typeface="Arial"/>
              </a:rPr>
              <a:t>n</a:t>
            </a:r>
            <a:r>
              <a:rPr sz="1000" dirty="0">
                <a:latin typeface="Arial"/>
                <a:cs typeface="Arial"/>
              </a:rPr>
              <a:t>t</a:t>
            </a:r>
            <a:r>
              <a:rPr sz="1000" spc="-4" dirty="0">
                <a:latin typeface="Arial"/>
                <a:cs typeface="Arial"/>
              </a:rPr>
              <a:t>i</a:t>
            </a:r>
            <a:r>
              <a:rPr sz="1000" dirty="0">
                <a:latin typeface="Arial"/>
                <a:cs typeface="Arial"/>
              </a:rPr>
              <a:t>ty</a:t>
            </a:r>
            <a:r>
              <a:rPr sz="1000" spc="-54" dirty="0">
                <a:latin typeface="Arial"/>
                <a:cs typeface="Arial"/>
              </a:rPr>
              <a:t> </a:t>
            </a:r>
            <a:r>
              <a:rPr sz="1000" dirty="0">
                <a:latin typeface="Arial"/>
                <a:cs typeface="Arial"/>
              </a:rPr>
              <a:t>or</a:t>
            </a:r>
            <a:r>
              <a:rPr sz="1000" spc="-8" dirty="0">
                <a:latin typeface="Arial"/>
                <a:cs typeface="Arial"/>
              </a:rPr>
              <a:t> </a:t>
            </a:r>
            <a:r>
              <a:rPr sz="1000" dirty="0">
                <a:latin typeface="Arial"/>
                <a:cs typeface="Arial"/>
              </a:rPr>
              <a:t>de</a:t>
            </a:r>
            <a:r>
              <a:rPr sz="1000" spc="-4" dirty="0">
                <a:latin typeface="Arial"/>
                <a:cs typeface="Arial"/>
              </a:rPr>
              <a:t>liv</a:t>
            </a:r>
            <a:r>
              <a:rPr sz="1000" dirty="0">
                <a:latin typeface="Arial"/>
                <a:cs typeface="Arial"/>
              </a:rPr>
              <a:t>e</a:t>
            </a:r>
            <a:r>
              <a:rPr sz="1000" spc="14" dirty="0">
                <a:latin typeface="Arial"/>
                <a:cs typeface="Arial"/>
              </a:rPr>
              <a:t>r</a:t>
            </a:r>
            <a:r>
              <a:rPr sz="1000" spc="-29" dirty="0">
                <a:latin typeface="Arial"/>
                <a:cs typeface="Arial"/>
              </a:rPr>
              <a:t>y</a:t>
            </a:r>
            <a:r>
              <a:rPr sz="1000" dirty="0">
                <a:latin typeface="Arial"/>
                <a:cs typeface="Arial"/>
              </a:rPr>
              <a:t>.</a:t>
            </a:r>
            <a:endParaRPr sz="1000">
              <a:latin typeface="Arial"/>
              <a:cs typeface="Arial"/>
            </a:endParaRPr>
          </a:p>
        </p:txBody>
      </p:sp>
      <p:sp>
        <p:nvSpPr>
          <p:cNvPr id="2" name="object 2"/>
          <p:cNvSpPr txBox="1"/>
          <p:nvPr/>
        </p:nvSpPr>
        <p:spPr>
          <a:xfrm>
            <a:off x="2119313" y="1379474"/>
            <a:ext cx="3686175" cy="3282950"/>
          </a:xfrm>
          <a:prstGeom prst="rect">
            <a:avLst/>
          </a:prstGeom>
        </p:spPr>
        <p:txBody>
          <a:bodyPr wrap="square" lIns="0" tIns="0" rIns="0" bIns="0" rtlCol="0">
            <a:noAutofit/>
          </a:bodyPr>
          <a:lstStyle/>
          <a:p>
            <a:pPr>
              <a:lnSpc>
                <a:spcPts val="950"/>
              </a:lnSpc>
              <a:spcBef>
                <a:spcPts val="48"/>
              </a:spcBef>
            </a:pPr>
            <a:endParaRPr sz="950"/>
          </a:p>
          <a:p>
            <a:pPr marL="224924" marR="1825813" algn="ctr">
              <a:lnSpc>
                <a:spcPct val="100041"/>
              </a:lnSpc>
              <a:spcBef>
                <a:spcPts val="5000"/>
              </a:spcBef>
            </a:pPr>
            <a:r>
              <a:rPr sz="1000" dirty="0">
                <a:latin typeface="Arial"/>
                <a:cs typeface="Arial"/>
              </a:rPr>
              <a:t>How</a:t>
            </a:r>
            <a:r>
              <a:rPr sz="1000" spc="-19" dirty="0">
                <a:latin typeface="Arial"/>
                <a:cs typeface="Arial"/>
              </a:rPr>
              <a:t> </a:t>
            </a:r>
            <a:r>
              <a:rPr sz="1000" spc="4" dirty="0">
                <a:latin typeface="Arial"/>
                <a:cs typeface="Arial"/>
              </a:rPr>
              <a:t>s</a:t>
            </a:r>
            <a:r>
              <a:rPr sz="1000" dirty="0">
                <a:latin typeface="Arial"/>
                <a:cs typeface="Arial"/>
              </a:rPr>
              <a:t>a</a:t>
            </a:r>
            <a:r>
              <a:rPr sz="1000" spc="-4" dirty="0">
                <a:latin typeface="Arial"/>
                <a:cs typeface="Arial"/>
              </a:rPr>
              <a:t>l</a:t>
            </a:r>
            <a:r>
              <a:rPr sz="1000" dirty="0">
                <a:latin typeface="Arial"/>
                <a:cs typeface="Arial"/>
              </a:rPr>
              <a:t>es</a:t>
            </a:r>
            <a:r>
              <a:rPr sz="1000" spc="-33" dirty="0">
                <a:latin typeface="Arial"/>
                <a:cs typeface="Arial"/>
              </a:rPr>
              <a:t> </a:t>
            </a:r>
            <a:r>
              <a:rPr sz="1000" dirty="0">
                <a:latin typeface="Arial"/>
                <a:cs typeface="Arial"/>
              </a:rPr>
              <a:t>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a:t>
            </a:r>
            <a:r>
              <a:rPr sz="1000" spc="-68" dirty="0">
                <a:latin typeface="Arial"/>
                <a:cs typeface="Arial"/>
              </a:rPr>
              <a:t> </a:t>
            </a:r>
            <a:r>
              <a:rPr sz="1000" spc="-4" dirty="0">
                <a:latin typeface="Arial"/>
                <a:cs typeface="Arial"/>
              </a:rPr>
              <a:t>i</a:t>
            </a:r>
            <a:r>
              <a:rPr sz="1000" dirty="0">
                <a:latin typeface="Arial"/>
                <a:cs typeface="Arial"/>
              </a:rPr>
              <a:t>s</a:t>
            </a:r>
            <a:r>
              <a:rPr sz="1000" spc="-2" dirty="0">
                <a:latin typeface="Arial"/>
                <a:cs typeface="Arial"/>
              </a:rPr>
              <a:t> </a:t>
            </a:r>
            <a:r>
              <a:rPr sz="1000" dirty="0">
                <a:latin typeface="Arial"/>
                <a:cs typeface="Arial"/>
              </a:rPr>
              <a:t>to</a:t>
            </a:r>
            <a:r>
              <a:rPr sz="1000" spc="-13" dirty="0">
                <a:latin typeface="Arial"/>
                <a:cs typeface="Arial"/>
              </a:rPr>
              <a:t> </a:t>
            </a:r>
            <a:r>
              <a:rPr sz="1000" dirty="0">
                <a:latin typeface="Arial"/>
                <a:cs typeface="Arial"/>
              </a:rPr>
              <a:t>be b</a:t>
            </a:r>
            <a:r>
              <a:rPr sz="1000" spc="-4" dirty="0">
                <a:latin typeface="Arial"/>
                <a:cs typeface="Arial"/>
              </a:rPr>
              <a:t>ill</a:t>
            </a:r>
            <a:r>
              <a:rPr sz="1000" dirty="0">
                <a:latin typeface="Arial"/>
                <a:cs typeface="Arial"/>
              </a:rPr>
              <a:t>ed</a:t>
            </a:r>
            <a:r>
              <a:rPr sz="1000" spc="-18" dirty="0">
                <a:latin typeface="Arial"/>
                <a:cs typeface="Arial"/>
              </a:rPr>
              <a:t> </a:t>
            </a:r>
            <a:r>
              <a:rPr sz="1000" spc="-9" dirty="0">
                <a:latin typeface="Arial"/>
                <a:cs typeface="Arial"/>
              </a:rPr>
              <a:t>w</a:t>
            </a:r>
            <a:r>
              <a:rPr sz="1000" dirty="0">
                <a:latin typeface="Arial"/>
                <a:cs typeface="Arial"/>
              </a:rPr>
              <a:t>.r.t.</a:t>
            </a:r>
            <a:r>
              <a:rPr sz="1000" spc="-16" dirty="0">
                <a:latin typeface="Arial"/>
                <a:cs typeface="Arial"/>
              </a:rPr>
              <a:t> </a:t>
            </a:r>
            <a:r>
              <a:rPr sz="1000" spc="4" dirty="0">
                <a:latin typeface="Arial"/>
                <a:cs typeface="Arial"/>
              </a:rPr>
              <a:t>r</a:t>
            </a:r>
            <a:r>
              <a:rPr sz="1000" dirty="0">
                <a:latin typeface="Arial"/>
                <a:cs typeface="Arial"/>
              </a:rPr>
              <a:t>e</a:t>
            </a:r>
            <a:r>
              <a:rPr sz="1000" spc="-4" dirty="0">
                <a:latin typeface="Arial"/>
                <a:cs typeface="Arial"/>
              </a:rPr>
              <a:t>q</a:t>
            </a:r>
            <a:r>
              <a:rPr sz="1000" dirty="0">
                <a:latin typeface="Arial"/>
                <a:cs typeface="Arial"/>
              </a:rPr>
              <a:t>u</a:t>
            </a:r>
            <a:r>
              <a:rPr sz="1000" spc="-4" dirty="0">
                <a:latin typeface="Arial"/>
                <a:cs typeface="Arial"/>
              </a:rPr>
              <a:t>i</a:t>
            </a:r>
            <a:r>
              <a:rPr sz="1000" spc="4" dirty="0">
                <a:latin typeface="Arial"/>
                <a:cs typeface="Arial"/>
              </a:rPr>
              <a:t>r</a:t>
            </a:r>
            <a:r>
              <a:rPr sz="1000" dirty="0">
                <a:latin typeface="Arial"/>
                <a:cs typeface="Arial"/>
              </a:rPr>
              <a:t>e</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a:t>
            </a:r>
            <a:r>
              <a:rPr sz="1000" spc="-61" dirty="0">
                <a:latin typeface="Arial"/>
                <a:cs typeface="Arial"/>
              </a:rPr>
              <a:t> </a:t>
            </a:r>
            <a:r>
              <a:rPr sz="1000" dirty="0">
                <a:latin typeface="Arial"/>
                <a:cs typeface="Arial"/>
              </a:rPr>
              <a:t>e.</a:t>
            </a:r>
            <a:r>
              <a:rPr sz="1000" spc="-4" dirty="0">
                <a:latin typeface="Arial"/>
                <a:cs typeface="Arial"/>
              </a:rPr>
              <a:t>g</a:t>
            </a:r>
            <a:r>
              <a:rPr sz="1000" dirty="0">
                <a:latin typeface="Arial"/>
                <a:cs typeface="Arial"/>
              </a:rPr>
              <a:t>.</a:t>
            </a:r>
            <a:r>
              <a:rPr sz="1000" spc="-25" dirty="0">
                <a:latin typeface="Arial"/>
                <a:cs typeface="Arial"/>
              </a:rPr>
              <a:t> </a:t>
            </a:r>
            <a:r>
              <a:rPr sz="1000" spc="-9" dirty="0">
                <a:latin typeface="Arial"/>
                <a:cs typeface="Arial"/>
              </a:rPr>
              <a:t>w</a:t>
            </a:r>
            <a:r>
              <a:rPr sz="1000" dirty="0">
                <a:latin typeface="Arial"/>
                <a:cs typeface="Arial"/>
              </a:rPr>
              <a:t>h</a:t>
            </a:r>
            <a:r>
              <a:rPr sz="1000" spc="-4" dirty="0">
                <a:latin typeface="Arial"/>
                <a:cs typeface="Arial"/>
              </a:rPr>
              <a:t>e</a:t>
            </a:r>
            <a:r>
              <a:rPr sz="1000" dirty="0">
                <a:latin typeface="Arial"/>
                <a:cs typeface="Arial"/>
              </a:rPr>
              <a:t>th</a:t>
            </a:r>
            <a:r>
              <a:rPr sz="1000" spc="-4" dirty="0">
                <a:latin typeface="Arial"/>
                <a:cs typeface="Arial"/>
              </a:rPr>
              <a:t>e</a:t>
            </a:r>
            <a:r>
              <a:rPr sz="1000" dirty="0">
                <a:latin typeface="Arial"/>
                <a:cs typeface="Arial"/>
              </a:rPr>
              <a:t>r</a:t>
            </a:r>
            <a:r>
              <a:rPr sz="1000" spc="-20" dirty="0">
                <a:latin typeface="Arial"/>
                <a:cs typeface="Arial"/>
              </a:rPr>
              <a:t> </a:t>
            </a:r>
            <a:r>
              <a:rPr sz="1000" dirty="0">
                <a:latin typeface="Arial"/>
                <a:cs typeface="Arial"/>
              </a:rPr>
              <a:t>g</a:t>
            </a:r>
            <a:r>
              <a:rPr sz="1000" spc="-4" dirty="0">
                <a:latin typeface="Arial"/>
                <a:cs typeface="Arial"/>
              </a:rPr>
              <a:t>o</a:t>
            </a:r>
            <a:r>
              <a:rPr sz="1000" dirty="0">
                <a:latin typeface="Arial"/>
                <a:cs typeface="Arial"/>
              </a:rPr>
              <a:t>o</a:t>
            </a:r>
            <a:r>
              <a:rPr sz="1000" spc="-4" dirty="0">
                <a:latin typeface="Arial"/>
                <a:cs typeface="Arial"/>
              </a:rPr>
              <a:t>d</a:t>
            </a:r>
            <a:r>
              <a:rPr sz="1000" dirty="0">
                <a:latin typeface="Arial"/>
                <a:cs typeface="Arial"/>
              </a:rPr>
              <a:t>s</a:t>
            </a:r>
            <a:r>
              <a:rPr sz="1000" spc="-37" dirty="0">
                <a:latin typeface="Arial"/>
                <a:cs typeface="Arial"/>
              </a:rPr>
              <a:t> </a:t>
            </a:r>
            <a:r>
              <a:rPr sz="1000" spc="-4" dirty="0">
                <a:latin typeface="Arial"/>
                <a:cs typeface="Arial"/>
              </a:rPr>
              <a:t>i</a:t>
            </a:r>
            <a:r>
              <a:rPr sz="1000" dirty="0">
                <a:latin typeface="Arial"/>
                <a:cs typeface="Arial"/>
              </a:rPr>
              <a:t>s</a:t>
            </a:r>
            <a:r>
              <a:rPr sz="1000" spc="-2" dirty="0">
                <a:latin typeface="Arial"/>
                <a:cs typeface="Arial"/>
              </a:rPr>
              <a:t> </a:t>
            </a:r>
            <a:r>
              <a:rPr sz="1000" dirty="0">
                <a:latin typeface="Arial"/>
                <a:cs typeface="Arial"/>
              </a:rPr>
              <a:t>to</a:t>
            </a:r>
            <a:r>
              <a:rPr sz="1000" spc="-13" dirty="0">
                <a:latin typeface="Arial"/>
                <a:cs typeface="Arial"/>
              </a:rPr>
              <a:t> </a:t>
            </a:r>
            <a:r>
              <a:rPr sz="1000" dirty="0">
                <a:latin typeface="Arial"/>
                <a:cs typeface="Arial"/>
              </a:rPr>
              <a:t>be </a:t>
            </a:r>
            <a:r>
              <a:rPr sz="1000" spc="-4" dirty="0">
                <a:latin typeface="Arial"/>
                <a:cs typeface="Arial"/>
              </a:rPr>
              <a:t>i</a:t>
            </a:r>
            <a:r>
              <a:rPr sz="1000" spc="4" dirty="0">
                <a:latin typeface="Arial"/>
                <a:cs typeface="Arial"/>
              </a:rPr>
              <a:t>ss</a:t>
            </a:r>
            <a:r>
              <a:rPr sz="1000" dirty="0">
                <a:latin typeface="Arial"/>
                <a:cs typeface="Arial"/>
              </a:rPr>
              <a:t>u</a:t>
            </a:r>
            <a:r>
              <a:rPr sz="1000" spc="-4" dirty="0">
                <a:latin typeface="Arial"/>
                <a:cs typeface="Arial"/>
              </a:rPr>
              <a:t>e</a:t>
            </a:r>
            <a:r>
              <a:rPr sz="1000" dirty="0">
                <a:latin typeface="Arial"/>
                <a:cs typeface="Arial"/>
              </a:rPr>
              <a:t>d</a:t>
            </a:r>
            <a:r>
              <a:rPr sz="1000" spc="-25" dirty="0">
                <a:latin typeface="Arial"/>
                <a:cs typeface="Arial"/>
              </a:rPr>
              <a:t> </a:t>
            </a:r>
            <a:r>
              <a:rPr sz="1000" dirty="0">
                <a:latin typeface="Arial"/>
                <a:cs typeface="Arial"/>
              </a:rPr>
              <a:t>b</a:t>
            </a:r>
            <a:r>
              <a:rPr sz="1000" spc="-4" dirty="0">
                <a:latin typeface="Arial"/>
                <a:cs typeface="Arial"/>
              </a:rPr>
              <a:t>e</a:t>
            </a:r>
            <a:r>
              <a:rPr sz="1000" spc="9" dirty="0">
                <a:latin typeface="Arial"/>
                <a:cs typeface="Arial"/>
              </a:rPr>
              <a:t>f</a:t>
            </a:r>
            <a:r>
              <a:rPr sz="1000" dirty="0">
                <a:latin typeface="Arial"/>
                <a:cs typeface="Arial"/>
              </a:rPr>
              <a:t>ore</a:t>
            </a:r>
            <a:r>
              <a:rPr sz="1000" spc="-38" dirty="0">
                <a:latin typeface="Arial"/>
                <a:cs typeface="Arial"/>
              </a:rPr>
              <a:t> </a:t>
            </a:r>
            <a:r>
              <a:rPr sz="1000" dirty="0">
                <a:latin typeface="Arial"/>
                <a:cs typeface="Arial"/>
              </a:rPr>
              <a:t>b</a:t>
            </a:r>
            <a:r>
              <a:rPr sz="1000" spc="-4" dirty="0">
                <a:latin typeface="Arial"/>
                <a:cs typeface="Arial"/>
              </a:rPr>
              <a:t>illi</a:t>
            </a:r>
            <a:r>
              <a:rPr sz="1000" dirty="0">
                <a:latin typeface="Arial"/>
                <a:cs typeface="Arial"/>
              </a:rPr>
              <a:t>n</a:t>
            </a:r>
            <a:r>
              <a:rPr sz="1000" spc="-4" dirty="0">
                <a:latin typeface="Arial"/>
                <a:cs typeface="Arial"/>
              </a:rPr>
              <a:t>g</a:t>
            </a:r>
            <a:r>
              <a:rPr sz="1000" dirty="0">
                <a:latin typeface="Arial"/>
                <a:cs typeface="Arial"/>
              </a:rPr>
              <a:t>.</a:t>
            </a:r>
            <a:endParaRPr sz="1000">
              <a:latin typeface="Arial"/>
              <a:cs typeface="Arial"/>
            </a:endParaRPr>
          </a:p>
        </p:txBody>
      </p:sp>
      <p:sp>
        <p:nvSpPr>
          <p:cNvPr id="4" name="Title 3"/>
          <p:cNvSpPr>
            <a:spLocks noGrp="1"/>
          </p:cNvSpPr>
          <p:nvPr>
            <p:ph type="title"/>
          </p:nvPr>
        </p:nvSpPr>
        <p:spPr/>
        <p:txBody>
          <a:bodyPr>
            <a:normAutofit fontScale="90000"/>
          </a:bodyPr>
          <a:lstStyle/>
          <a:p>
            <a:r>
              <a:rPr lang="en-US" sz="2700" dirty="0">
                <a:latin typeface="+mn-lt"/>
                <a:cs typeface="Arial"/>
              </a:rPr>
              <a:t>Copy Controls</a:t>
            </a:r>
            <a:br>
              <a:rPr lang="en-US" sz="2800" dirty="0">
                <a:latin typeface="Arial"/>
                <a:cs typeface="Arial"/>
              </a:rPr>
            </a:b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1A28922B-B702-46CB-83EC-324B86AD1D8F}"/>
              </a:ext>
            </a:extLst>
          </p:cNvPr>
          <p:cNvSpPr txBox="1">
            <a:spLocks/>
          </p:cNvSpPr>
          <p:nvPr/>
        </p:nvSpPr>
        <p:spPr>
          <a:xfrm>
            <a:off x="6096000" y="3200400"/>
            <a:ext cx="5419268" cy="1902287"/>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sz="2025" kern="1200">
                <a:solidFill>
                  <a:schemeClr val="bg1"/>
                </a:solidFill>
                <a:latin typeface="+mj-lt"/>
                <a:ea typeface="+mn-ea"/>
                <a:cs typeface="+mn-cs"/>
              </a:defRPr>
            </a:lvl1pPr>
            <a:lvl2pPr marL="257175" indent="0" algn="l" defTabSz="685800" rtl="0" eaLnBrk="1" latinLnBrk="0" hangingPunct="1">
              <a:lnSpc>
                <a:spcPct val="90000"/>
              </a:lnSpc>
              <a:spcBef>
                <a:spcPts val="375"/>
              </a:spcBef>
              <a:buClr>
                <a:schemeClr val="accent1"/>
              </a:buClr>
              <a:buFont typeface="Wingdings" panose="05000000000000000000" pitchFamily="2" charset="2"/>
              <a:buNone/>
              <a:defRPr sz="3375" kern="1200">
                <a:solidFill>
                  <a:schemeClr val="bg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05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solidFill>
                  <a:schemeClr val="tx1"/>
                </a:solidFill>
              </a:rPr>
              <a:t>Special Billing Process</a:t>
            </a:r>
            <a:endParaRPr lang="en-US" dirty="0">
              <a:solidFill>
                <a:schemeClr val="tx1"/>
              </a:solidFill>
            </a:endParaRPr>
          </a:p>
        </p:txBody>
      </p:sp>
    </p:spTree>
    <p:extLst>
      <p:ext uri="{BB962C8B-B14F-4D97-AF65-F5344CB8AC3E}">
        <p14:creationId xmlns:p14="http://schemas.microsoft.com/office/powerpoint/2010/main" val="20540886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p:nvPr/>
        </p:nvSpPr>
        <p:spPr>
          <a:xfrm>
            <a:off x="1981200" y="1295400"/>
            <a:ext cx="4114800" cy="3886200"/>
          </a:xfrm>
          <a:prstGeom prst="rect">
            <a:avLst/>
          </a:prstGeom>
          <a:blipFill>
            <a:blip r:embed="rId2" cstate="print"/>
            <a:stretch>
              <a:fillRect/>
            </a:stretch>
          </a:blipFill>
        </p:spPr>
        <p:txBody>
          <a:bodyPr wrap="square" lIns="0" tIns="0" rIns="0" bIns="0" rtlCol="0">
            <a:noAutofit/>
          </a:bodyPr>
          <a:lstStyle/>
          <a:p>
            <a:endParaRPr/>
          </a:p>
        </p:txBody>
      </p:sp>
      <p:sp>
        <p:nvSpPr>
          <p:cNvPr id="13" name="object 13"/>
          <p:cNvSpPr/>
          <p:nvPr/>
        </p:nvSpPr>
        <p:spPr>
          <a:xfrm>
            <a:off x="1966913" y="1281050"/>
            <a:ext cx="4143375" cy="3914775"/>
          </a:xfrm>
          <a:custGeom>
            <a:avLst/>
            <a:gdLst/>
            <a:ahLst/>
            <a:cxnLst/>
            <a:rect l="l" t="t" r="r" b="b"/>
            <a:pathLst>
              <a:path w="4143375" h="3914775">
                <a:moveTo>
                  <a:pt x="0" y="3914775"/>
                </a:moveTo>
                <a:lnTo>
                  <a:pt x="4143375" y="3914775"/>
                </a:lnTo>
                <a:lnTo>
                  <a:pt x="4143375" y="0"/>
                </a:lnTo>
                <a:lnTo>
                  <a:pt x="0" y="0"/>
                </a:lnTo>
                <a:lnTo>
                  <a:pt x="0" y="3914775"/>
                </a:lnTo>
                <a:close/>
              </a:path>
            </a:pathLst>
          </a:custGeom>
          <a:ln w="28575">
            <a:solidFill>
              <a:srgbClr val="000000"/>
            </a:solidFill>
          </a:ln>
        </p:spPr>
        <p:txBody>
          <a:bodyPr wrap="square" lIns="0" tIns="0" rIns="0" bIns="0" rtlCol="0">
            <a:noAutofit/>
          </a:bodyPr>
          <a:lstStyle/>
          <a:p>
            <a:endParaRPr/>
          </a:p>
        </p:txBody>
      </p:sp>
      <p:sp>
        <p:nvSpPr>
          <p:cNvPr id="14" name="object 14"/>
          <p:cNvSpPr/>
          <p:nvPr/>
        </p:nvSpPr>
        <p:spPr>
          <a:xfrm>
            <a:off x="2395563" y="3649600"/>
            <a:ext cx="2100237" cy="998601"/>
          </a:xfrm>
          <a:custGeom>
            <a:avLst/>
            <a:gdLst/>
            <a:ahLst/>
            <a:cxnLst/>
            <a:rect l="l" t="t" r="r" b="b"/>
            <a:pathLst>
              <a:path w="2100237" h="998601">
                <a:moveTo>
                  <a:pt x="2100237" y="731901"/>
                </a:moveTo>
                <a:lnTo>
                  <a:pt x="2100237" y="617601"/>
                </a:lnTo>
                <a:lnTo>
                  <a:pt x="2099906" y="610470"/>
                </a:lnTo>
                <a:lnTo>
                  <a:pt x="2092105" y="583350"/>
                </a:lnTo>
                <a:lnTo>
                  <a:pt x="2075483" y="561422"/>
                </a:lnTo>
                <a:lnTo>
                  <a:pt x="2052105" y="546750"/>
                </a:lnTo>
                <a:lnTo>
                  <a:pt x="2024037" y="541401"/>
                </a:lnTo>
                <a:lnTo>
                  <a:pt x="1389037" y="541401"/>
                </a:lnTo>
                <a:lnTo>
                  <a:pt x="0" y="0"/>
                </a:lnTo>
                <a:lnTo>
                  <a:pt x="1084237" y="541401"/>
                </a:lnTo>
                <a:lnTo>
                  <a:pt x="957237" y="541401"/>
                </a:lnTo>
                <a:lnTo>
                  <a:pt x="950106" y="541731"/>
                </a:lnTo>
                <a:lnTo>
                  <a:pt x="911244" y="556870"/>
                </a:lnTo>
                <a:lnTo>
                  <a:pt x="886386" y="589532"/>
                </a:lnTo>
                <a:lnTo>
                  <a:pt x="881037" y="617601"/>
                </a:lnTo>
                <a:lnTo>
                  <a:pt x="881037" y="922401"/>
                </a:lnTo>
                <a:lnTo>
                  <a:pt x="896506" y="968393"/>
                </a:lnTo>
                <a:lnTo>
                  <a:pt x="929169" y="993251"/>
                </a:lnTo>
                <a:lnTo>
                  <a:pt x="957237" y="998601"/>
                </a:lnTo>
                <a:lnTo>
                  <a:pt x="2024037" y="998601"/>
                </a:lnTo>
                <a:lnTo>
                  <a:pt x="2070029" y="983131"/>
                </a:lnTo>
                <a:lnTo>
                  <a:pt x="2094887" y="950469"/>
                </a:lnTo>
                <a:lnTo>
                  <a:pt x="2100237" y="922401"/>
                </a:lnTo>
                <a:lnTo>
                  <a:pt x="2100237" y="731901"/>
                </a:lnTo>
                <a:close/>
              </a:path>
            </a:pathLst>
          </a:custGeom>
          <a:solidFill>
            <a:srgbClr val="FFFF99"/>
          </a:solidFill>
        </p:spPr>
        <p:txBody>
          <a:bodyPr wrap="square" lIns="0" tIns="0" rIns="0" bIns="0" rtlCol="0">
            <a:noAutofit/>
          </a:bodyPr>
          <a:lstStyle/>
          <a:p>
            <a:endParaRPr/>
          </a:p>
        </p:txBody>
      </p:sp>
      <p:sp>
        <p:nvSpPr>
          <p:cNvPr id="15" name="object 15"/>
          <p:cNvSpPr/>
          <p:nvPr/>
        </p:nvSpPr>
        <p:spPr>
          <a:xfrm>
            <a:off x="3511550" y="2405126"/>
            <a:ext cx="1822450" cy="795274"/>
          </a:xfrm>
          <a:custGeom>
            <a:avLst/>
            <a:gdLst/>
            <a:ahLst/>
            <a:cxnLst/>
            <a:rect l="l" t="t" r="r" b="b"/>
            <a:pathLst>
              <a:path w="1822450" h="795274">
                <a:moveTo>
                  <a:pt x="1822450" y="528574"/>
                </a:moveTo>
                <a:lnTo>
                  <a:pt x="1822450" y="414274"/>
                </a:lnTo>
                <a:lnTo>
                  <a:pt x="1822119" y="407143"/>
                </a:lnTo>
                <a:lnTo>
                  <a:pt x="1814318" y="380023"/>
                </a:lnTo>
                <a:lnTo>
                  <a:pt x="1797696" y="358095"/>
                </a:lnTo>
                <a:lnTo>
                  <a:pt x="1774318" y="343423"/>
                </a:lnTo>
                <a:lnTo>
                  <a:pt x="1746250" y="338074"/>
                </a:lnTo>
                <a:lnTo>
                  <a:pt x="1155700" y="338074"/>
                </a:lnTo>
                <a:lnTo>
                  <a:pt x="0" y="0"/>
                </a:lnTo>
                <a:lnTo>
                  <a:pt x="869950" y="338074"/>
                </a:lnTo>
                <a:lnTo>
                  <a:pt x="755650" y="338074"/>
                </a:lnTo>
                <a:lnTo>
                  <a:pt x="748519" y="338404"/>
                </a:lnTo>
                <a:lnTo>
                  <a:pt x="709657" y="353543"/>
                </a:lnTo>
                <a:lnTo>
                  <a:pt x="684799" y="386205"/>
                </a:lnTo>
                <a:lnTo>
                  <a:pt x="679450" y="414274"/>
                </a:lnTo>
                <a:lnTo>
                  <a:pt x="679450" y="719074"/>
                </a:lnTo>
                <a:lnTo>
                  <a:pt x="694919" y="765066"/>
                </a:lnTo>
                <a:lnTo>
                  <a:pt x="727581" y="789924"/>
                </a:lnTo>
                <a:lnTo>
                  <a:pt x="755650" y="795274"/>
                </a:lnTo>
                <a:lnTo>
                  <a:pt x="1746250" y="795274"/>
                </a:lnTo>
                <a:lnTo>
                  <a:pt x="1792242" y="779804"/>
                </a:lnTo>
                <a:lnTo>
                  <a:pt x="1817100" y="747142"/>
                </a:lnTo>
                <a:lnTo>
                  <a:pt x="1822450" y="719074"/>
                </a:lnTo>
                <a:lnTo>
                  <a:pt x="1822450" y="528574"/>
                </a:lnTo>
                <a:close/>
              </a:path>
            </a:pathLst>
          </a:custGeom>
          <a:solidFill>
            <a:srgbClr val="FFFF99"/>
          </a:solidFill>
        </p:spPr>
        <p:txBody>
          <a:bodyPr wrap="square" lIns="0" tIns="0" rIns="0" bIns="0" rtlCol="0">
            <a:noAutofit/>
          </a:bodyPr>
          <a:lstStyle/>
          <a:p>
            <a:endParaRPr/>
          </a:p>
        </p:txBody>
      </p:sp>
      <p:sp>
        <p:nvSpPr>
          <p:cNvPr id="7" name="object 7"/>
          <p:cNvSpPr txBox="1"/>
          <p:nvPr/>
        </p:nvSpPr>
        <p:spPr>
          <a:xfrm>
            <a:off x="6403976" y="1492774"/>
            <a:ext cx="4133679" cy="4603226"/>
          </a:xfrm>
          <a:prstGeom prst="rect">
            <a:avLst/>
          </a:prstGeom>
        </p:spPr>
        <p:txBody>
          <a:bodyPr wrap="square" lIns="0" tIns="0" rIns="0" bIns="0" rtlCol="0">
            <a:noAutofit/>
          </a:bodyPr>
          <a:lstStyle/>
          <a:p>
            <a:pPr marL="12700" marR="22349">
              <a:lnSpc>
                <a:spcPts val="2150"/>
              </a:lnSpc>
              <a:spcBef>
                <a:spcPts val="107"/>
              </a:spcBef>
            </a:pPr>
            <a:r>
              <a:rPr sz="1600" b="1" dirty="0">
                <a:cs typeface="Arial"/>
              </a:rPr>
              <a:t>Pro</a:t>
            </a:r>
            <a:r>
              <a:rPr sz="1600" b="1" spc="-19" dirty="0">
                <a:cs typeface="Arial"/>
              </a:rPr>
              <a:t> </a:t>
            </a:r>
            <a:r>
              <a:rPr sz="1600" b="1" dirty="0">
                <a:cs typeface="Arial"/>
              </a:rPr>
              <a:t>forma</a:t>
            </a:r>
            <a:r>
              <a:rPr sz="1600" b="1" spc="-24" dirty="0">
                <a:cs typeface="Arial"/>
              </a:rPr>
              <a:t> </a:t>
            </a:r>
            <a:r>
              <a:rPr sz="1600" b="1" dirty="0">
                <a:cs typeface="Arial"/>
              </a:rPr>
              <a:t>In</a:t>
            </a:r>
            <a:r>
              <a:rPr sz="1600" b="1" spc="-29" dirty="0">
                <a:cs typeface="Arial"/>
              </a:rPr>
              <a:t>v</a:t>
            </a:r>
            <a:r>
              <a:rPr sz="1600" b="1" dirty="0">
                <a:cs typeface="Arial"/>
              </a:rPr>
              <a:t>oice</a:t>
            </a:r>
          </a:p>
          <a:p>
            <a:pPr marL="298450" marR="22349" indent="-285750">
              <a:spcBef>
                <a:spcPts val="92"/>
              </a:spcBef>
              <a:buClr>
                <a:srgbClr val="00B0F0"/>
              </a:buClr>
              <a:buFont typeface="Wingdings" panose="05000000000000000000" pitchFamily="2" charset="2"/>
              <a:buChar char="§"/>
            </a:pPr>
            <a:r>
              <a:rPr lang="en-US" sz="1600" dirty="0">
                <a:cs typeface="Arial"/>
              </a:rPr>
              <a:t>Y</a:t>
            </a:r>
            <a:r>
              <a:rPr sz="1600" dirty="0">
                <a:cs typeface="Arial"/>
              </a:rPr>
              <a:t>ou can use</a:t>
            </a:r>
            <a:r>
              <a:rPr sz="1600" spc="-27" dirty="0">
                <a:cs typeface="Arial"/>
              </a:rPr>
              <a:t> </a:t>
            </a:r>
            <a:r>
              <a:rPr sz="1600" spc="-4" dirty="0">
                <a:cs typeface="Arial"/>
              </a:rPr>
              <a:t>f</a:t>
            </a:r>
            <a:r>
              <a:rPr sz="1600" dirty="0">
                <a:cs typeface="Arial"/>
              </a:rPr>
              <a:t>oll</a:t>
            </a:r>
            <a:r>
              <a:rPr sz="1600" spc="-4" dirty="0">
                <a:cs typeface="Arial"/>
              </a:rPr>
              <a:t>o</a:t>
            </a:r>
            <a:r>
              <a:rPr sz="1600" spc="39" dirty="0">
                <a:cs typeface="Arial"/>
              </a:rPr>
              <a:t>w</a:t>
            </a:r>
            <a:r>
              <a:rPr sz="1600" dirty="0">
                <a:cs typeface="Arial"/>
              </a:rPr>
              <a:t>ing</a:t>
            </a:r>
            <a:r>
              <a:rPr sz="1600" spc="-65" dirty="0">
                <a:cs typeface="Arial"/>
              </a:rPr>
              <a:t> </a:t>
            </a:r>
            <a:r>
              <a:rPr sz="1600" dirty="0">
                <a:cs typeface="Arial"/>
              </a:rPr>
              <a:t>billi</a:t>
            </a:r>
            <a:r>
              <a:rPr sz="1600" spc="-4" dirty="0">
                <a:cs typeface="Arial"/>
              </a:rPr>
              <a:t>n</a:t>
            </a:r>
            <a:r>
              <a:rPr sz="1600" dirty="0">
                <a:cs typeface="Arial"/>
              </a:rPr>
              <a:t>g</a:t>
            </a:r>
            <a:r>
              <a:rPr sz="1600" spc="35" dirty="0">
                <a:cs typeface="Arial"/>
              </a:rPr>
              <a:t> </a:t>
            </a:r>
            <a:r>
              <a:rPr sz="1600" dirty="0">
                <a:cs typeface="Arial"/>
              </a:rPr>
              <a:t>t</a:t>
            </a:r>
            <a:r>
              <a:rPr sz="1600" spc="-39" dirty="0">
                <a:cs typeface="Arial"/>
              </a:rPr>
              <a:t>y</a:t>
            </a:r>
            <a:r>
              <a:rPr sz="1600" dirty="0">
                <a:cs typeface="Arial"/>
              </a:rPr>
              <a:t>pes</a:t>
            </a:r>
          </a:p>
          <a:p>
            <a:pPr marL="525525" marR="22349" indent="-285750">
              <a:lnSpc>
                <a:spcPct val="95825"/>
              </a:lnSpc>
              <a:spcBef>
                <a:spcPts val="80"/>
              </a:spcBef>
              <a:buClr>
                <a:srgbClr val="C00000"/>
              </a:buClr>
              <a:buFont typeface="Wingdings" panose="05000000000000000000" pitchFamily="2" charset="2"/>
              <a:buChar char="§"/>
            </a:pPr>
            <a:r>
              <a:rPr sz="1600" dirty="0">
                <a:cs typeface="Arial" panose="020B0604020202020204" pitchFamily="34" charset="0"/>
              </a:rPr>
              <a:t>F5</a:t>
            </a:r>
            <a:r>
              <a:rPr sz="1600" spc="-8" dirty="0">
                <a:cs typeface="Arial" panose="020B0604020202020204" pitchFamily="34" charset="0"/>
              </a:rPr>
              <a:t> </a:t>
            </a:r>
            <a:r>
              <a:rPr sz="1600" dirty="0">
                <a:cs typeface="Arial" panose="020B0604020202020204" pitchFamily="34" charset="0"/>
              </a:rPr>
              <a:t>–</a:t>
            </a:r>
            <a:r>
              <a:rPr sz="1600" spc="-8" dirty="0">
                <a:cs typeface="Arial" panose="020B0604020202020204" pitchFamily="34" charset="0"/>
              </a:rPr>
              <a:t> </a:t>
            </a:r>
            <a:r>
              <a:rPr sz="1600" dirty="0">
                <a:cs typeface="Arial" panose="020B0604020202020204" pitchFamily="34" charset="0"/>
              </a:rPr>
              <a:t>Sal</a:t>
            </a:r>
            <a:r>
              <a:rPr sz="1600" spc="4" dirty="0">
                <a:cs typeface="Arial" panose="020B0604020202020204" pitchFamily="34" charset="0"/>
              </a:rPr>
              <a:t>e</a:t>
            </a:r>
            <a:r>
              <a:rPr sz="1600" dirty="0">
                <a:cs typeface="Arial" panose="020B0604020202020204" pitchFamily="34" charset="0"/>
              </a:rPr>
              <a:t>s</a:t>
            </a:r>
            <a:r>
              <a:rPr sz="1600" spc="-31" dirty="0">
                <a:cs typeface="Arial" panose="020B0604020202020204" pitchFamily="34" charset="0"/>
              </a:rPr>
              <a:t> </a:t>
            </a:r>
            <a:r>
              <a:rPr sz="1600" spc="-4" dirty="0">
                <a:cs typeface="Arial" panose="020B0604020202020204" pitchFamily="34" charset="0"/>
              </a:rPr>
              <a:t>O</a:t>
            </a:r>
            <a:r>
              <a:rPr sz="1600" dirty="0">
                <a:cs typeface="Arial" panose="020B0604020202020204" pitchFamily="34" charset="0"/>
              </a:rPr>
              <a:t>rder</a:t>
            </a:r>
          </a:p>
          <a:p>
            <a:pPr marL="525525" marR="22349" indent="-285750">
              <a:lnSpc>
                <a:spcPct val="95825"/>
              </a:lnSpc>
              <a:spcBef>
                <a:spcPts val="70"/>
              </a:spcBef>
              <a:buClr>
                <a:srgbClr val="C00000"/>
              </a:buClr>
              <a:buFont typeface="Wingdings" panose="05000000000000000000" pitchFamily="2" charset="2"/>
              <a:buChar char="§"/>
            </a:pPr>
            <a:r>
              <a:rPr sz="1600" dirty="0">
                <a:cs typeface="Arial" panose="020B0604020202020204" pitchFamily="34" charset="0"/>
              </a:rPr>
              <a:t>F8</a:t>
            </a:r>
            <a:r>
              <a:rPr sz="1600" spc="-8" dirty="0">
                <a:cs typeface="Arial" panose="020B0604020202020204" pitchFamily="34" charset="0"/>
              </a:rPr>
              <a:t> </a:t>
            </a:r>
            <a:r>
              <a:rPr sz="1600" dirty="0">
                <a:cs typeface="Arial" panose="020B0604020202020204" pitchFamily="34" charset="0"/>
              </a:rPr>
              <a:t>–</a:t>
            </a:r>
            <a:r>
              <a:rPr sz="1600" spc="-7" dirty="0">
                <a:cs typeface="Arial" panose="020B0604020202020204" pitchFamily="34" charset="0"/>
              </a:rPr>
              <a:t> </a:t>
            </a:r>
            <a:r>
              <a:rPr sz="1600" dirty="0">
                <a:cs typeface="Arial" panose="020B0604020202020204" pitchFamily="34" charset="0"/>
              </a:rPr>
              <a:t>Deli</a:t>
            </a:r>
            <a:r>
              <a:rPr sz="1600" spc="-39" dirty="0">
                <a:cs typeface="Arial" panose="020B0604020202020204" pitchFamily="34" charset="0"/>
              </a:rPr>
              <a:t>v</a:t>
            </a:r>
            <a:r>
              <a:rPr sz="1600" dirty="0">
                <a:cs typeface="Arial" panose="020B0604020202020204" pitchFamily="34" charset="0"/>
              </a:rPr>
              <a:t>e</a:t>
            </a:r>
            <a:r>
              <a:rPr sz="1600" spc="9" dirty="0">
                <a:cs typeface="Arial" panose="020B0604020202020204" pitchFamily="34" charset="0"/>
              </a:rPr>
              <a:t>r</a:t>
            </a:r>
            <a:r>
              <a:rPr sz="1600" dirty="0">
                <a:cs typeface="Arial" panose="020B0604020202020204" pitchFamily="34" charset="0"/>
              </a:rPr>
              <a:t>y</a:t>
            </a:r>
            <a:endParaRPr lang="en-US" sz="1600" dirty="0">
              <a:cs typeface="Arial" panose="020B0604020202020204" pitchFamily="34" charset="0"/>
            </a:endParaRPr>
          </a:p>
          <a:p>
            <a:pPr marL="298450" indent="-285750">
              <a:spcBef>
                <a:spcPts val="85"/>
              </a:spcBef>
              <a:buClr>
                <a:srgbClr val="00B0F0"/>
              </a:buClr>
              <a:buFont typeface="Wingdings" panose="05000000000000000000" pitchFamily="2" charset="2"/>
              <a:buChar char="§"/>
            </a:pPr>
            <a:r>
              <a:rPr sz="1600" dirty="0">
                <a:cs typeface="Arial"/>
              </a:rPr>
              <a:t>It</a:t>
            </a:r>
            <a:r>
              <a:rPr sz="1600" spc="10" dirty="0">
                <a:cs typeface="Arial"/>
              </a:rPr>
              <a:t> </a:t>
            </a:r>
            <a:r>
              <a:rPr sz="1600" dirty="0">
                <a:cs typeface="Arial"/>
              </a:rPr>
              <a:t>di</a:t>
            </a:r>
            <a:r>
              <a:rPr sz="1600" spc="-4" dirty="0">
                <a:cs typeface="Arial"/>
              </a:rPr>
              <a:t>f</a:t>
            </a:r>
            <a:r>
              <a:rPr sz="1600" dirty="0">
                <a:cs typeface="Arial"/>
              </a:rPr>
              <a:t>fers</a:t>
            </a:r>
            <a:r>
              <a:rPr sz="1600" spc="-13" dirty="0">
                <a:cs typeface="Arial"/>
              </a:rPr>
              <a:t> </a:t>
            </a:r>
            <a:r>
              <a:rPr sz="1600" dirty="0">
                <a:cs typeface="Arial"/>
              </a:rPr>
              <a:t>from</a:t>
            </a:r>
            <a:r>
              <a:rPr sz="1600" spc="-20" dirty="0">
                <a:cs typeface="Arial"/>
              </a:rPr>
              <a:t> </a:t>
            </a:r>
            <a:r>
              <a:rPr sz="1600" dirty="0">
                <a:cs typeface="Arial"/>
              </a:rPr>
              <a:t>in</a:t>
            </a:r>
            <a:r>
              <a:rPr sz="1600" spc="-39" dirty="0">
                <a:cs typeface="Arial"/>
              </a:rPr>
              <a:t>v</a:t>
            </a:r>
            <a:r>
              <a:rPr sz="1600" spc="9" dirty="0">
                <a:cs typeface="Arial"/>
              </a:rPr>
              <a:t>o</a:t>
            </a:r>
            <a:r>
              <a:rPr sz="1600" dirty="0">
                <a:cs typeface="Arial"/>
              </a:rPr>
              <a:t>ices</a:t>
            </a:r>
            <a:r>
              <a:rPr sz="1600" spc="-13" dirty="0">
                <a:cs typeface="Arial"/>
              </a:rPr>
              <a:t> </a:t>
            </a:r>
            <a:r>
              <a:rPr sz="1600" dirty="0">
                <a:cs typeface="Arial"/>
              </a:rPr>
              <a:t>in</a:t>
            </a:r>
            <a:r>
              <a:rPr sz="1600" spc="5" dirty="0">
                <a:cs typeface="Arial"/>
              </a:rPr>
              <a:t> </a:t>
            </a:r>
            <a:r>
              <a:rPr sz="1600" dirty="0">
                <a:cs typeface="Arial"/>
              </a:rPr>
              <a:t>f</a:t>
            </a:r>
            <a:r>
              <a:rPr sz="1600" spc="-4" dirty="0">
                <a:cs typeface="Arial"/>
              </a:rPr>
              <a:t>o</a:t>
            </a:r>
            <a:r>
              <a:rPr sz="1600" dirty="0">
                <a:cs typeface="Arial"/>
              </a:rPr>
              <a:t>llo</a:t>
            </a:r>
            <a:r>
              <a:rPr sz="1600" spc="39" dirty="0">
                <a:cs typeface="Arial"/>
              </a:rPr>
              <a:t>w</a:t>
            </a:r>
            <a:r>
              <a:rPr sz="1600" dirty="0">
                <a:cs typeface="Arial"/>
              </a:rPr>
              <a:t>ing</a:t>
            </a:r>
            <a:r>
              <a:rPr sz="1600" spc="-65" dirty="0">
                <a:cs typeface="Arial"/>
              </a:rPr>
              <a:t> </a:t>
            </a:r>
            <a:r>
              <a:rPr sz="1600" spc="39" dirty="0">
                <a:cs typeface="Arial"/>
              </a:rPr>
              <a:t>w</a:t>
            </a:r>
            <a:r>
              <a:rPr sz="1600" dirty="0">
                <a:cs typeface="Arial"/>
              </a:rPr>
              <a:t>ay</a:t>
            </a:r>
            <a:r>
              <a:rPr sz="1600" spc="-65" dirty="0">
                <a:cs typeface="Arial"/>
              </a:rPr>
              <a:t> </a:t>
            </a:r>
            <a:r>
              <a:rPr sz="1600" dirty="0">
                <a:cs typeface="Arial"/>
              </a:rPr>
              <a:t>: </a:t>
            </a:r>
            <a:r>
              <a:rPr sz="1600" spc="-4" dirty="0">
                <a:cs typeface="Arial"/>
              </a:rPr>
              <a:t>G</a:t>
            </a:r>
            <a:r>
              <a:rPr sz="1600" dirty="0">
                <a:cs typeface="Arial"/>
              </a:rPr>
              <a:t>o</a:t>
            </a:r>
            <a:r>
              <a:rPr sz="1600" spc="-4" dirty="0">
                <a:cs typeface="Arial"/>
              </a:rPr>
              <a:t>o</a:t>
            </a:r>
            <a:r>
              <a:rPr sz="1600" dirty="0">
                <a:cs typeface="Arial"/>
              </a:rPr>
              <a:t>ds</a:t>
            </a:r>
            <a:r>
              <a:rPr sz="1600" spc="-20" dirty="0">
                <a:cs typeface="Arial"/>
              </a:rPr>
              <a:t> </a:t>
            </a:r>
            <a:r>
              <a:rPr sz="1600" dirty="0">
                <a:cs typeface="Arial"/>
              </a:rPr>
              <a:t>Issue</a:t>
            </a:r>
            <a:r>
              <a:rPr sz="1600" spc="-30" dirty="0">
                <a:cs typeface="Arial"/>
              </a:rPr>
              <a:t> </a:t>
            </a:r>
            <a:r>
              <a:rPr sz="1600" dirty="0">
                <a:cs typeface="Arial"/>
              </a:rPr>
              <a:t>is</a:t>
            </a:r>
            <a:r>
              <a:rPr sz="1600" spc="-3" dirty="0">
                <a:cs typeface="Arial"/>
              </a:rPr>
              <a:t> </a:t>
            </a:r>
            <a:r>
              <a:rPr sz="1600" dirty="0">
                <a:cs typeface="Arial"/>
              </a:rPr>
              <a:t>n</a:t>
            </a:r>
            <a:r>
              <a:rPr sz="1600" spc="-4" dirty="0">
                <a:cs typeface="Arial"/>
              </a:rPr>
              <a:t>o</a:t>
            </a:r>
            <a:r>
              <a:rPr sz="1600" dirty="0">
                <a:cs typeface="Arial"/>
              </a:rPr>
              <a:t>t</a:t>
            </a:r>
            <a:r>
              <a:rPr sz="1600" spc="-4" dirty="0">
                <a:cs typeface="Arial"/>
              </a:rPr>
              <a:t> </a:t>
            </a:r>
            <a:r>
              <a:rPr sz="1600" dirty="0">
                <a:cs typeface="Arial"/>
              </a:rPr>
              <a:t>required</a:t>
            </a:r>
            <a:r>
              <a:rPr sz="1600" spc="-43" dirty="0">
                <a:cs typeface="Arial"/>
              </a:rPr>
              <a:t> </a:t>
            </a:r>
            <a:r>
              <a:rPr sz="1600" dirty="0">
                <a:cs typeface="Arial"/>
              </a:rPr>
              <a:t>in</a:t>
            </a:r>
            <a:r>
              <a:rPr sz="1600" spc="-4" dirty="0">
                <a:cs typeface="Arial"/>
              </a:rPr>
              <a:t> </a:t>
            </a:r>
            <a:r>
              <a:rPr sz="1600" dirty="0">
                <a:cs typeface="Arial"/>
              </a:rPr>
              <a:t>deli</a:t>
            </a:r>
            <a:r>
              <a:rPr sz="1600" spc="-34" dirty="0">
                <a:cs typeface="Arial"/>
              </a:rPr>
              <a:t>v</a:t>
            </a:r>
            <a:r>
              <a:rPr sz="1600" dirty="0">
                <a:cs typeface="Arial"/>
              </a:rPr>
              <a:t>e</a:t>
            </a:r>
            <a:r>
              <a:rPr sz="1600" spc="14" dirty="0">
                <a:cs typeface="Arial"/>
              </a:rPr>
              <a:t>r</a:t>
            </a:r>
            <a:r>
              <a:rPr sz="1600" dirty="0">
                <a:cs typeface="Arial"/>
              </a:rPr>
              <a:t>y related</a:t>
            </a:r>
            <a:r>
              <a:rPr sz="1600" spc="-32" dirty="0">
                <a:cs typeface="Arial"/>
              </a:rPr>
              <a:t> </a:t>
            </a:r>
            <a:r>
              <a:rPr sz="1600" dirty="0">
                <a:cs typeface="Arial"/>
              </a:rPr>
              <a:t>pro</a:t>
            </a:r>
            <a:r>
              <a:rPr sz="1600" spc="-5" dirty="0">
                <a:cs typeface="Arial"/>
              </a:rPr>
              <a:t> </a:t>
            </a:r>
            <a:r>
              <a:rPr sz="1600" dirty="0">
                <a:cs typeface="Arial"/>
              </a:rPr>
              <a:t>f</a:t>
            </a:r>
            <a:r>
              <a:rPr sz="1600" spc="-4" dirty="0">
                <a:cs typeface="Arial"/>
              </a:rPr>
              <a:t>o</a:t>
            </a:r>
            <a:r>
              <a:rPr sz="1600" dirty="0">
                <a:cs typeface="Arial"/>
              </a:rPr>
              <a:t>rma</a:t>
            </a:r>
            <a:r>
              <a:rPr sz="1600" spc="-19" dirty="0">
                <a:cs typeface="Arial"/>
              </a:rPr>
              <a:t> </a:t>
            </a:r>
            <a:r>
              <a:rPr sz="1600" dirty="0">
                <a:cs typeface="Arial"/>
              </a:rPr>
              <a:t>in</a:t>
            </a:r>
            <a:r>
              <a:rPr sz="1600" spc="-39" dirty="0">
                <a:cs typeface="Arial"/>
              </a:rPr>
              <a:t>v</a:t>
            </a:r>
            <a:r>
              <a:rPr sz="1600" dirty="0">
                <a:cs typeface="Arial"/>
              </a:rPr>
              <a:t>oic</a:t>
            </a:r>
            <a:r>
              <a:rPr sz="1600" spc="9" dirty="0">
                <a:cs typeface="Arial"/>
              </a:rPr>
              <a:t>e</a:t>
            </a:r>
            <a:r>
              <a:rPr sz="1600" dirty="0">
                <a:cs typeface="Arial"/>
              </a:rPr>
              <a:t>.</a:t>
            </a:r>
            <a:endParaRPr lang="en-US" sz="1600" dirty="0">
              <a:cs typeface="Arial"/>
            </a:endParaRPr>
          </a:p>
          <a:p>
            <a:pPr marL="298450" indent="-285750">
              <a:spcBef>
                <a:spcPts val="86"/>
              </a:spcBef>
              <a:buClr>
                <a:srgbClr val="00B0F0"/>
              </a:buClr>
              <a:buFont typeface="Wingdings" panose="05000000000000000000" pitchFamily="2" charset="2"/>
              <a:buChar char="§"/>
            </a:pPr>
            <a:r>
              <a:rPr lang="en-US" sz="1600" spc="-114" dirty="0">
                <a:cs typeface="Arial"/>
              </a:rPr>
              <a:t>Y</a:t>
            </a:r>
            <a:r>
              <a:rPr lang="en-US" sz="1600" dirty="0">
                <a:cs typeface="Arial"/>
              </a:rPr>
              <a:t>ou</a:t>
            </a:r>
            <a:r>
              <a:rPr lang="en-US" sz="1600" spc="-25" dirty="0">
                <a:cs typeface="Arial"/>
              </a:rPr>
              <a:t> </a:t>
            </a:r>
            <a:r>
              <a:rPr lang="en-US" sz="1600" dirty="0">
                <a:cs typeface="Arial"/>
              </a:rPr>
              <a:t>can</a:t>
            </a:r>
            <a:r>
              <a:rPr lang="en-US" sz="1600" spc="-27" dirty="0">
                <a:cs typeface="Arial"/>
              </a:rPr>
              <a:t> </a:t>
            </a:r>
            <a:r>
              <a:rPr lang="en-US" sz="1600" dirty="0">
                <a:cs typeface="Arial"/>
              </a:rPr>
              <a:t>create</a:t>
            </a:r>
            <a:r>
              <a:rPr lang="en-US" sz="1600" spc="-22" dirty="0">
                <a:cs typeface="Arial"/>
              </a:rPr>
              <a:t> </a:t>
            </a:r>
            <a:r>
              <a:rPr lang="en-US" sz="1600" dirty="0">
                <a:cs typeface="Arial"/>
              </a:rPr>
              <a:t>as</a:t>
            </a:r>
            <a:r>
              <a:rPr lang="en-US" sz="1600" spc="-17" dirty="0">
                <a:cs typeface="Arial"/>
              </a:rPr>
              <a:t> </a:t>
            </a:r>
            <a:r>
              <a:rPr lang="en-US" sz="1600" dirty="0">
                <a:cs typeface="Arial"/>
              </a:rPr>
              <a:t>many</a:t>
            </a:r>
            <a:r>
              <a:rPr lang="en-US" sz="1600" spc="-36" dirty="0">
                <a:cs typeface="Arial"/>
              </a:rPr>
              <a:t> </a:t>
            </a:r>
            <a:r>
              <a:rPr lang="en-US" sz="1600" dirty="0">
                <a:cs typeface="Arial"/>
              </a:rPr>
              <a:t>in</a:t>
            </a:r>
            <a:r>
              <a:rPr lang="en-US" sz="1600" spc="-39" dirty="0">
                <a:cs typeface="Arial"/>
              </a:rPr>
              <a:t>v</a:t>
            </a:r>
            <a:r>
              <a:rPr lang="en-US" sz="1600" spc="9" dirty="0">
                <a:cs typeface="Arial"/>
              </a:rPr>
              <a:t>o</a:t>
            </a:r>
            <a:r>
              <a:rPr lang="en-US" sz="1600" dirty="0">
                <a:cs typeface="Arial"/>
              </a:rPr>
              <a:t>ices</a:t>
            </a:r>
            <a:r>
              <a:rPr lang="en-US" sz="1600" spc="-13" dirty="0">
                <a:cs typeface="Arial"/>
              </a:rPr>
              <a:t> </a:t>
            </a:r>
            <a:r>
              <a:rPr lang="en-US" sz="1600" dirty="0">
                <a:cs typeface="Arial"/>
              </a:rPr>
              <a:t>as b</a:t>
            </a:r>
            <a:r>
              <a:rPr lang="en-US" sz="1600" spc="-4" dirty="0">
                <a:cs typeface="Arial"/>
              </a:rPr>
              <a:t>i</a:t>
            </a:r>
            <a:r>
              <a:rPr lang="en-US" sz="1600" dirty="0">
                <a:cs typeface="Arial"/>
              </a:rPr>
              <a:t>lli</a:t>
            </a:r>
            <a:r>
              <a:rPr lang="en-US" sz="1600" spc="-4" dirty="0">
                <a:cs typeface="Arial"/>
              </a:rPr>
              <a:t>n</a:t>
            </a:r>
            <a:r>
              <a:rPr lang="en-US" sz="1600" dirty="0">
                <a:cs typeface="Arial"/>
              </a:rPr>
              <a:t>g</a:t>
            </a:r>
            <a:r>
              <a:rPr lang="en-US" sz="1600" spc="44" dirty="0">
                <a:cs typeface="Arial"/>
              </a:rPr>
              <a:t> </a:t>
            </a:r>
            <a:r>
              <a:rPr lang="en-US" sz="1600" dirty="0">
                <a:cs typeface="Arial"/>
              </a:rPr>
              <a:t>s</a:t>
            </a:r>
            <a:r>
              <a:rPr lang="en-US" sz="1600" spc="-4" dirty="0">
                <a:cs typeface="Arial"/>
              </a:rPr>
              <a:t>t</a:t>
            </a:r>
            <a:r>
              <a:rPr lang="en-US" sz="1600" dirty="0">
                <a:cs typeface="Arial"/>
              </a:rPr>
              <a:t>a</a:t>
            </a:r>
            <a:r>
              <a:rPr lang="en-US" sz="1600" spc="-4" dirty="0">
                <a:cs typeface="Arial"/>
              </a:rPr>
              <a:t>t</a:t>
            </a:r>
            <a:r>
              <a:rPr lang="en-US" sz="1600" dirty="0">
                <a:cs typeface="Arial"/>
              </a:rPr>
              <a:t>us</a:t>
            </a:r>
            <a:r>
              <a:rPr lang="en-US" sz="1600" spc="-27" dirty="0">
                <a:cs typeface="Arial"/>
              </a:rPr>
              <a:t> </a:t>
            </a:r>
            <a:r>
              <a:rPr lang="en-US" sz="1600" dirty="0">
                <a:cs typeface="Arial"/>
              </a:rPr>
              <a:t>is</a:t>
            </a:r>
            <a:r>
              <a:rPr lang="en-US" sz="1600" spc="9" dirty="0">
                <a:cs typeface="Arial"/>
              </a:rPr>
              <a:t> </a:t>
            </a:r>
            <a:r>
              <a:rPr lang="en-US" sz="1600" dirty="0">
                <a:cs typeface="Arial"/>
              </a:rPr>
              <a:t>n</a:t>
            </a:r>
            <a:r>
              <a:rPr lang="en-US" sz="1600" spc="-9" dirty="0">
                <a:cs typeface="Arial"/>
              </a:rPr>
              <a:t>o</a:t>
            </a:r>
            <a:r>
              <a:rPr lang="en-US" sz="1600" dirty="0">
                <a:cs typeface="Arial"/>
              </a:rPr>
              <a:t>t</a:t>
            </a:r>
            <a:r>
              <a:rPr lang="en-US" sz="1600" spc="14" dirty="0">
                <a:cs typeface="Arial"/>
              </a:rPr>
              <a:t> </a:t>
            </a:r>
            <a:r>
              <a:rPr lang="en-US" sz="1600" dirty="0">
                <a:cs typeface="Arial"/>
              </a:rPr>
              <a:t>u</a:t>
            </a:r>
            <a:r>
              <a:rPr lang="en-US" sz="1600" spc="-9" dirty="0">
                <a:cs typeface="Arial"/>
              </a:rPr>
              <a:t>p</a:t>
            </a:r>
            <a:r>
              <a:rPr lang="en-US" sz="1600" dirty="0">
                <a:cs typeface="Arial"/>
              </a:rPr>
              <a:t>d</a:t>
            </a:r>
            <a:r>
              <a:rPr lang="en-US" sz="1600" spc="-4" dirty="0">
                <a:cs typeface="Arial"/>
              </a:rPr>
              <a:t>a</a:t>
            </a:r>
            <a:r>
              <a:rPr lang="en-US" sz="1600" dirty="0">
                <a:cs typeface="Arial"/>
              </a:rPr>
              <a:t>t</a:t>
            </a:r>
            <a:r>
              <a:rPr lang="en-US" sz="1600" spc="-4" dirty="0">
                <a:cs typeface="Arial"/>
              </a:rPr>
              <a:t>e</a:t>
            </a:r>
            <a:r>
              <a:rPr lang="en-US" sz="1600" dirty="0">
                <a:cs typeface="Arial"/>
              </a:rPr>
              <a:t>d.</a:t>
            </a:r>
          </a:p>
          <a:p>
            <a:pPr marL="298450" indent="-285750">
              <a:spcBef>
                <a:spcPts val="86"/>
              </a:spcBef>
              <a:buClr>
                <a:srgbClr val="00B0F0"/>
              </a:buClr>
              <a:buFont typeface="Wingdings" panose="05000000000000000000" pitchFamily="2" charset="2"/>
              <a:buChar char="§"/>
            </a:pPr>
            <a:r>
              <a:rPr lang="en-US" sz="1600" dirty="0">
                <a:cs typeface="Arial"/>
              </a:rPr>
              <a:t>Data</a:t>
            </a:r>
            <a:r>
              <a:rPr lang="en-US" sz="1600" spc="-14" dirty="0">
                <a:cs typeface="Arial"/>
              </a:rPr>
              <a:t> </a:t>
            </a:r>
            <a:r>
              <a:rPr lang="en-US" sz="1600" dirty="0">
                <a:cs typeface="Arial"/>
              </a:rPr>
              <a:t>from</a:t>
            </a:r>
            <a:r>
              <a:rPr lang="en-US" sz="1600" spc="-20" dirty="0">
                <a:cs typeface="Arial"/>
              </a:rPr>
              <a:t> </a:t>
            </a:r>
            <a:r>
              <a:rPr lang="en-US" sz="1600" dirty="0">
                <a:cs typeface="Arial"/>
              </a:rPr>
              <a:t>P</a:t>
            </a:r>
            <a:r>
              <a:rPr lang="en-US" sz="1600" spc="4" dirty="0">
                <a:cs typeface="Arial"/>
              </a:rPr>
              <a:t>r</a:t>
            </a:r>
            <a:r>
              <a:rPr lang="en-US" sz="1600" dirty="0">
                <a:cs typeface="Arial"/>
              </a:rPr>
              <a:t>o</a:t>
            </a:r>
            <a:r>
              <a:rPr lang="en-US" sz="1600" spc="-26" dirty="0">
                <a:cs typeface="Arial"/>
              </a:rPr>
              <a:t> </a:t>
            </a:r>
            <a:r>
              <a:rPr lang="en-US" sz="1600" spc="-4" dirty="0">
                <a:cs typeface="Arial"/>
              </a:rPr>
              <a:t>f</a:t>
            </a:r>
            <a:r>
              <a:rPr lang="en-US" sz="1600" dirty="0">
                <a:cs typeface="Arial"/>
              </a:rPr>
              <a:t>orma</a:t>
            </a:r>
            <a:r>
              <a:rPr lang="en-US" sz="1600" spc="-14" dirty="0">
                <a:cs typeface="Arial"/>
              </a:rPr>
              <a:t> </a:t>
            </a:r>
            <a:r>
              <a:rPr lang="en-US" sz="1600" dirty="0">
                <a:cs typeface="Arial"/>
              </a:rPr>
              <a:t>is</a:t>
            </a:r>
            <a:r>
              <a:rPr lang="en-US" sz="1600" spc="-3" dirty="0">
                <a:cs typeface="Arial"/>
              </a:rPr>
              <a:t> </a:t>
            </a:r>
            <a:r>
              <a:rPr lang="en-US" sz="1600" dirty="0">
                <a:cs typeface="Arial"/>
              </a:rPr>
              <a:t>n</a:t>
            </a:r>
            <a:r>
              <a:rPr lang="en-US" sz="1600" spc="-4" dirty="0">
                <a:cs typeface="Arial"/>
              </a:rPr>
              <a:t>o</a:t>
            </a:r>
            <a:r>
              <a:rPr lang="en-US" sz="1600" dirty="0">
                <a:cs typeface="Arial"/>
              </a:rPr>
              <a:t>t</a:t>
            </a:r>
            <a:r>
              <a:rPr lang="en-US" sz="1600" spc="-14" dirty="0">
                <a:cs typeface="Arial"/>
              </a:rPr>
              <a:t> </a:t>
            </a:r>
            <a:r>
              <a:rPr lang="en-US" sz="1600" dirty="0">
                <a:cs typeface="Arial"/>
              </a:rPr>
              <a:t>passed</a:t>
            </a:r>
            <a:r>
              <a:rPr lang="en-US" sz="1600" spc="-50" dirty="0">
                <a:cs typeface="Arial"/>
              </a:rPr>
              <a:t> </a:t>
            </a:r>
            <a:r>
              <a:rPr lang="en-US" sz="1600" dirty="0">
                <a:cs typeface="Arial"/>
              </a:rPr>
              <a:t>to FI accou</a:t>
            </a:r>
            <a:r>
              <a:rPr lang="en-US" sz="1600" spc="-9" dirty="0">
                <a:cs typeface="Arial"/>
              </a:rPr>
              <a:t>n</a:t>
            </a:r>
            <a:r>
              <a:rPr lang="en-US" sz="1600" dirty="0">
                <a:cs typeface="Arial"/>
              </a:rPr>
              <a:t>ti</a:t>
            </a:r>
            <a:r>
              <a:rPr lang="en-US" sz="1600" spc="-4" dirty="0">
                <a:cs typeface="Arial"/>
              </a:rPr>
              <a:t>n</a:t>
            </a:r>
            <a:r>
              <a:rPr lang="en-US" sz="1600" dirty="0">
                <a:cs typeface="Arial"/>
              </a:rPr>
              <a:t>g</a:t>
            </a:r>
          </a:p>
          <a:p>
            <a:pPr marL="15748" marR="30403">
              <a:lnSpc>
                <a:spcPct val="95825"/>
              </a:lnSpc>
            </a:pPr>
            <a:endParaRPr lang="en-US" sz="1600" dirty="0">
              <a:latin typeface="Arial"/>
              <a:cs typeface="Arial"/>
            </a:endParaRPr>
          </a:p>
          <a:p>
            <a:pPr marL="181863" indent="-169163">
              <a:lnSpc>
                <a:spcPct val="100041"/>
              </a:lnSpc>
              <a:spcBef>
                <a:spcPts val="85"/>
              </a:spcBef>
            </a:pPr>
            <a:endParaRPr sz="1600" dirty="0">
              <a:latin typeface="Arial"/>
              <a:cs typeface="Arial"/>
            </a:endParaRPr>
          </a:p>
        </p:txBody>
      </p:sp>
      <p:sp>
        <p:nvSpPr>
          <p:cNvPr id="4" name="object 4"/>
          <p:cNvSpPr txBox="1"/>
          <p:nvPr/>
        </p:nvSpPr>
        <p:spPr>
          <a:xfrm>
            <a:off x="2059941" y="5938905"/>
            <a:ext cx="2590063" cy="254000"/>
          </a:xfrm>
          <a:prstGeom prst="rect">
            <a:avLst/>
          </a:prstGeom>
        </p:spPr>
        <p:txBody>
          <a:bodyPr wrap="square" lIns="0" tIns="0" rIns="0" bIns="0" rtlCol="0">
            <a:noAutofit/>
          </a:bodyPr>
          <a:lstStyle/>
          <a:p>
            <a:pPr marL="12700">
              <a:lnSpc>
                <a:spcPts val="1939"/>
              </a:lnSpc>
              <a:spcBef>
                <a:spcPts val="97"/>
              </a:spcBef>
            </a:pPr>
            <a:r>
              <a:rPr spc="-54" dirty="0">
                <a:latin typeface="Arial"/>
                <a:cs typeface="Arial"/>
              </a:rPr>
              <a:t>T</a:t>
            </a:r>
            <a:r>
              <a:rPr dirty="0">
                <a:latin typeface="Arial"/>
                <a:cs typeface="Arial"/>
              </a:rPr>
              <a:t>ra</a:t>
            </a:r>
            <a:r>
              <a:rPr spc="-9" dirty="0">
                <a:latin typeface="Arial"/>
                <a:cs typeface="Arial"/>
              </a:rPr>
              <a:t>n</a:t>
            </a:r>
            <a:r>
              <a:rPr dirty="0">
                <a:latin typeface="Arial"/>
                <a:cs typeface="Arial"/>
              </a:rPr>
              <a:t>sacti</a:t>
            </a:r>
            <a:r>
              <a:rPr spc="-9" dirty="0">
                <a:latin typeface="Arial"/>
                <a:cs typeface="Arial"/>
              </a:rPr>
              <a:t>o</a:t>
            </a:r>
            <a:r>
              <a:rPr dirty="0">
                <a:latin typeface="Arial"/>
                <a:cs typeface="Arial"/>
              </a:rPr>
              <a:t>n</a:t>
            </a:r>
            <a:r>
              <a:rPr spc="-9" dirty="0">
                <a:latin typeface="Arial"/>
                <a:cs typeface="Arial"/>
              </a:rPr>
              <a:t> </a:t>
            </a:r>
            <a:r>
              <a:rPr dirty="0">
                <a:latin typeface="Arial"/>
                <a:cs typeface="Arial"/>
              </a:rPr>
              <a:t>C</a:t>
            </a:r>
            <a:r>
              <a:rPr spc="-9" dirty="0">
                <a:latin typeface="Arial"/>
                <a:cs typeface="Arial"/>
              </a:rPr>
              <a:t>o</a:t>
            </a:r>
            <a:r>
              <a:rPr dirty="0">
                <a:latin typeface="Arial"/>
                <a:cs typeface="Arial"/>
              </a:rPr>
              <a:t>de</a:t>
            </a:r>
            <a:r>
              <a:rPr spc="4" dirty="0">
                <a:latin typeface="Arial"/>
                <a:cs typeface="Arial"/>
              </a:rPr>
              <a:t> </a:t>
            </a:r>
            <a:r>
              <a:rPr dirty="0">
                <a:latin typeface="Arial"/>
                <a:cs typeface="Arial"/>
              </a:rPr>
              <a:t>:</a:t>
            </a:r>
            <a:r>
              <a:rPr spc="4" dirty="0">
                <a:latin typeface="Arial"/>
                <a:cs typeface="Arial"/>
              </a:rPr>
              <a:t> </a:t>
            </a:r>
            <a:r>
              <a:rPr dirty="0">
                <a:latin typeface="Arial"/>
                <a:cs typeface="Arial"/>
              </a:rPr>
              <a:t>VF01</a:t>
            </a:r>
            <a:endParaRPr>
              <a:latin typeface="Arial"/>
              <a:cs typeface="Arial"/>
            </a:endParaRPr>
          </a:p>
        </p:txBody>
      </p:sp>
      <p:sp>
        <p:nvSpPr>
          <p:cNvPr id="2" name="object 2"/>
          <p:cNvSpPr txBox="1"/>
          <p:nvPr/>
        </p:nvSpPr>
        <p:spPr>
          <a:xfrm>
            <a:off x="1966913" y="1281050"/>
            <a:ext cx="4143375" cy="3914775"/>
          </a:xfrm>
          <a:prstGeom prst="rect">
            <a:avLst/>
          </a:prstGeom>
        </p:spPr>
        <p:txBody>
          <a:bodyPr wrap="square" lIns="0" tIns="0" rIns="0" bIns="0" rtlCol="0">
            <a:noAutofit/>
          </a:bodyPr>
          <a:lstStyle/>
          <a:p>
            <a:pPr>
              <a:lnSpc>
                <a:spcPts val="1000"/>
              </a:lnSpc>
            </a:pPr>
            <a:endParaRPr sz="1000"/>
          </a:p>
          <a:p>
            <a:pPr marL="2384361" marR="915542" indent="236600">
              <a:lnSpc>
                <a:spcPct val="100041"/>
              </a:lnSpc>
              <a:spcBef>
                <a:spcPts val="11087"/>
              </a:spcBef>
            </a:pPr>
            <a:r>
              <a:rPr sz="1000" spc="-4" dirty="0">
                <a:latin typeface="Arial"/>
                <a:cs typeface="Arial"/>
              </a:rPr>
              <a:t>S</a:t>
            </a:r>
            <a:r>
              <a:rPr sz="1000" dirty="0">
                <a:latin typeface="Arial"/>
                <a:cs typeface="Arial"/>
              </a:rPr>
              <a:t>e</a:t>
            </a:r>
            <a:r>
              <a:rPr sz="1000" spc="-4" dirty="0">
                <a:latin typeface="Arial"/>
                <a:cs typeface="Arial"/>
              </a:rPr>
              <a:t>l</a:t>
            </a:r>
            <a:r>
              <a:rPr sz="1000" dirty="0">
                <a:latin typeface="Arial"/>
                <a:cs typeface="Arial"/>
              </a:rPr>
              <a:t>e</a:t>
            </a:r>
            <a:r>
              <a:rPr sz="1000" spc="4" dirty="0">
                <a:latin typeface="Arial"/>
                <a:cs typeface="Arial"/>
              </a:rPr>
              <a:t>c</a:t>
            </a:r>
            <a:r>
              <a:rPr sz="1000" dirty="0">
                <a:latin typeface="Arial"/>
                <a:cs typeface="Arial"/>
              </a:rPr>
              <a:t>t 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a:t>
            </a:r>
            <a:r>
              <a:rPr sz="1000" spc="-93" dirty="0">
                <a:latin typeface="Arial"/>
                <a:cs typeface="Arial"/>
              </a:rPr>
              <a:t> </a:t>
            </a:r>
            <a:r>
              <a:rPr sz="1000" dirty="0">
                <a:latin typeface="Arial"/>
                <a:cs typeface="Arial"/>
              </a:rPr>
              <a:t>t</a:t>
            </a:r>
            <a:r>
              <a:rPr sz="1000" spc="-29" dirty="0">
                <a:latin typeface="Arial"/>
                <a:cs typeface="Arial"/>
              </a:rPr>
              <a:t>y</a:t>
            </a:r>
            <a:r>
              <a:rPr sz="1000" dirty="0">
                <a:latin typeface="Arial"/>
                <a:cs typeface="Arial"/>
              </a:rPr>
              <a:t>pe</a:t>
            </a:r>
            <a:endParaRPr sz="1000">
              <a:latin typeface="Arial"/>
              <a:cs typeface="Arial"/>
            </a:endParaRPr>
          </a:p>
          <a:p>
            <a:pPr marL="1462056" marR="1766632" algn="ctr">
              <a:lnSpc>
                <a:spcPct val="100041"/>
              </a:lnSpc>
              <a:spcBef>
                <a:spcPts val="9002"/>
              </a:spcBef>
            </a:pPr>
            <a:r>
              <a:rPr sz="1000" spc="-4" dirty="0">
                <a:latin typeface="Arial"/>
                <a:cs typeface="Arial"/>
              </a:rPr>
              <a:t>E</a:t>
            </a:r>
            <a:r>
              <a:rPr sz="1000" dirty="0">
                <a:latin typeface="Arial"/>
                <a:cs typeface="Arial"/>
              </a:rPr>
              <a:t>nt</a:t>
            </a:r>
            <a:r>
              <a:rPr sz="1000" spc="-4" dirty="0">
                <a:latin typeface="Arial"/>
                <a:cs typeface="Arial"/>
              </a:rPr>
              <a:t>e</a:t>
            </a:r>
            <a:r>
              <a:rPr sz="1000" dirty="0">
                <a:latin typeface="Arial"/>
                <a:cs typeface="Arial"/>
              </a:rPr>
              <a:t>r</a:t>
            </a:r>
            <a:r>
              <a:rPr sz="1000" spc="-33" dirty="0">
                <a:latin typeface="Arial"/>
                <a:cs typeface="Arial"/>
              </a:rPr>
              <a:t> </a:t>
            </a:r>
            <a:r>
              <a:rPr sz="1000" dirty="0">
                <a:latin typeface="Arial"/>
                <a:cs typeface="Arial"/>
              </a:rPr>
              <a:t>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 n</a:t>
            </a:r>
            <a:r>
              <a:rPr sz="1000" spc="-4" dirty="0">
                <a:latin typeface="Arial"/>
                <a:cs typeface="Arial"/>
              </a:rPr>
              <a:t>u</a:t>
            </a:r>
            <a:r>
              <a:rPr sz="1000" spc="19" dirty="0">
                <a:latin typeface="Arial"/>
                <a:cs typeface="Arial"/>
              </a:rPr>
              <a:t>m</a:t>
            </a:r>
            <a:r>
              <a:rPr sz="1000" dirty="0">
                <a:latin typeface="Arial"/>
                <a:cs typeface="Arial"/>
              </a:rPr>
              <a:t>b</a:t>
            </a:r>
            <a:r>
              <a:rPr sz="1000" spc="-4" dirty="0">
                <a:latin typeface="Arial"/>
                <a:cs typeface="Arial"/>
              </a:rPr>
              <a:t>e</a:t>
            </a:r>
            <a:r>
              <a:rPr sz="1000" dirty="0">
                <a:latin typeface="Arial"/>
                <a:cs typeface="Arial"/>
              </a:rPr>
              <a:t>r</a:t>
            </a:r>
            <a:endParaRPr sz="1000">
              <a:latin typeface="Arial"/>
              <a:cs typeface="Arial"/>
            </a:endParaRPr>
          </a:p>
        </p:txBody>
      </p:sp>
      <p:sp>
        <p:nvSpPr>
          <p:cNvPr id="3" name="Title 2"/>
          <p:cNvSpPr>
            <a:spLocks noGrp="1"/>
          </p:cNvSpPr>
          <p:nvPr>
            <p:ph type="title"/>
          </p:nvPr>
        </p:nvSpPr>
        <p:spPr/>
        <p:txBody>
          <a:bodyPr vert="horz" lIns="0" tIns="180000" rIns="0" bIns="0" rtlCol="0" anchor="t">
            <a:normAutofit fontScale="90000"/>
          </a:bodyPr>
          <a:lstStyle/>
          <a:p>
            <a:r>
              <a:rPr lang="en-US" sz="2700" dirty="0">
                <a:latin typeface="+mn-lt"/>
                <a:cs typeface="Arial"/>
              </a:rPr>
              <a:t>Special Billing Process</a:t>
            </a:r>
            <a:br>
              <a:rPr lang="en-US" sz="2700" dirty="0">
                <a:latin typeface="+mn-lt"/>
                <a:cs typeface="Arial"/>
              </a:rPr>
            </a:br>
            <a:endParaRPr lang="en-US" sz="2700" dirty="0">
              <a:latin typeface="+mn-lt"/>
              <a:cs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bject 23"/>
          <p:cNvSpPr/>
          <p:nvPr/>
        </p:nvSpPr>
        <p:spPr>
          <a:xfrm>
            <a:off x="6248400" y="2667000"/>
            <a:ext cx="3962400" cy="3429000"/>
          </a:xfrm>
          <a:prstGeom prst="rect">
            <a:avLst/>
          </a:prstGeom>
          <a:blipFill>
            <a:blip r:embed="rId2" cstate="print"/>
            <a:stretch>
              <a:fillRect/>
            </a:stretch>
          </a:blipFill>
        </p:spPr>
        <p:txBody>
          <a:bodyPr wrap="square" lIns="0" tIns="0" rIns="0" bIns="0" rtlCol="0">
            <a:noAutofit/>
          </a:bodyPr>
          <a:lstStyle/>
          <a:p>
            <a:endParaRPr/>
          </a:p>
        </p:txBody>
      </p:sp>
      <p:sp>
        <p:nvSpPr>
          <p:cNvPr id="24" name="object 24"/>
          <p:cNvSpPr/>
          <p:nvPr/>
        </p:nvSpPr>
        <p:spPr>
          <a:xfrm>
            <a:off x="6234050" y="2652713"/>
            <a:ext cx="3990975" cy="3457575"/>
          </a:xfrm>
          <a:custGeom>
            <a:avLst/>
            <a:gdLst/>
            <a:ahLst/>
            <a:cxnLst/>
            <a:rect l="l" t="t" r="r" b="b"/>
            <a:pathLst>
              <a:path w="3990975" h="3457575">
                <a:moveTo>
                  <a:pt x="0" y="3457575"/>
                </a:moveTo>
                <a:lnTo>
                  <a:pt x="3990975" y="3457575"/>
                </a:lnTo>
                <a:lnTo>
                  <a:pt x="3990975" y="0"/>
                </a:lnTo>
                <a:lnTo>
                  <a:pt x="0" y="0"/>
                </a:lnTo>
                <a:lnTo>
                  <a:pt x="0" y="3457575"/>
                </a:lnTo>
                <a:close/>
              </a:path>
            </a:pathLst>
          </a:custGeom>
          <a:ln w="28575">
            <a:solidFill>
              <a:srgbClr val="000000"/>
            </a:solidFill>
          </a:ln>
        </p:spPr>
        <p:txBody>
          <a:bodyPr wrap="square" lIns="0" tIns="0" rIns="0" bIns="0" rtlCol="0">
            <a:noAutofit/>
          </a:bodyPr>
          <a:lstStyle/>
          <a:p>
            <a:endParaRPr/>
          </a:p>
        </p:txBody>
      </p:sp>
      <p:sp>
        <p:nvSpPr>
          <p:cNvPr id="25" name="object 25"/>
          <p:cNvSpPr/>
          <p:nvPr/>
        </p:nvSpPr>
        <p:spPr>
          <a:xfrm>
            <a:off x="8099426" y="2971801"/>
            <a:ext cx="2111375" cy="1603375"/>
          </a:xfrm>
          <a:custGeom>
            <a:avLst/>
            <a:gdLst/>
            <a:ahLst/>
            <a:cxnLst/>
            <a:rect l="l" t="t" r="r" b="b"/>
            <a:pathLst>
              <a:path w="2111375" h="1603375">
                <a:moveTo>
                  <a:pt x="2111375" y="533400"/>
                </a:moveTo>
                <a:lnTo>
                  <a:pt x="2111375" y="152400"/>
                </a:lnTo>
                <a:lnTo>
                  <a:pt x="2110715" y="138120"/>
                </a:lnTo>
                <a:lnTo>
                  <a:pt x="2100843" y="96595"/>
                </a:lnTo>
                <a:lnTo>
                  <a:pt x="2080474" y="60360"/>
                </a:lnTo>
                <a:lnTo>
                  <a:pt x="2051337" y="31146"/>
                </a:lnTo>
                <a:lnTo>
                  <a:pt x="2015163" y="10683"/>
                </a:lnTo>
                <a:lnTo>
                  <a:pt x="1973682" y="699"/>
                </a:lnTo>
                <a:lnTo>
                  <a:pt x="1958975" y="0"/>
                </a:lnTo>
                <a:lnTo>
                  <a:pt x="1196975" y="0"/>
                </a:lnTo>
                <a:lnTo>
                  <a:pt x="1154509" y="5988"/>
                </a:lnTo>
                <a:lnTo>
                  <a:pt x="1116319" y="23051"/>
                </a:lnTo>
                <a:lnTo>
                  <a:pt x="1084573" y="49457"/>
                </a:lnTo>
                <a:lnTo>
                  <a:pt x="1061000" y="83478"/>
                </a:lnTo>
                <a:lnTo>
                  <a:pt x="1047331" y="123382"/>
                </a:lnTo>
                <a:lnTo>
                  <a:pt x="1044575" y="152400"/>
                </a:lnTo>
                <a:lnTo>
                  <a:pt x="1044575" y="533400"/>
                </a:lnTo>
                <a:lnTo>
                  <a:pt x="0" y="1603375"/>
                </a:lnTo>
                <a:lnTo>
                  <a:pt x="1044575" y="762000"/>
                </a:lnTo>
                <a:lnTo>
                  <a:pt x="1045234" y="776279"/>
                </a:lnTo>
                <a:lnTo>
                  <a:pt x="1047251" y="790602"/>
                </a:lnTo>
                <a:lnTo>
                  <a:pt x="1060815" y="830555"/>
                </a:lnTo>
                <a:lnTo>
                  <a:pt x="1084299" y="864642"/>
                </a:lnTo>
                <a:lnTo>
                  <a:pt x="1115973" y="891132"/>
                </a:lnTo>
                <a:lnTo>
                  <a:pt x="1154109" y="908294"/>
                </a:lnTo>
                <a:lnTo>
                  <a:pt x="1196975" y="914400"/>
                </a:lnTo>
                <a:lnTo>
                  <a:pt x="1958975" y="914400"/>
                </a:lnTo>
                <a:lnTo>
                  <a:pt x="2001440" y="908411"/>
                </a:lnTo>
                <a:lnTo>
                  <a:pt x="2039630" y="891348"/>
                </a:lnTo>
                <a:lnTo>
                  <a:pt x="2071376" y="864942"/>
                </a:lnTo>
                <a:lnTo>
                  <a:pt x="2094949" y="830921"/>
                </a:lnTo>
                <a:lnTo>
                  <a:pt x="2108618" y="791017"/>
                </a:lnTo>
                <a:lnTo>
                  <a:pt x="2111375" y="762000"/>
                </a:lnTo>
                <a:lnTo>
                  <a:pt x="2111375" y="533400"/>
                </a:lnTo>
                <a:close/>
              </a:path>
            </a:pathLst>
          </a:custGeom>
          <a:solidFill>
            <a:srgbClr val="FFFF99"/>
          </a:solidFill>
        </p:spPr>
        <p:txBody>
          <a:bodyPr wrap="square" lIns="0" tIns="0" rIns="0" bIns="0" rtlCol="0">
            <a:noAutofit/>
          </a:bodyPr>
          <a:lstStyle/>
          <a:p>
            <a:endParaRPr/>
          </a:p>
        </p:txBody>
      </p:sp>
      <p:sp>
        <p:nvSpPr>
          <p:cNvPr id="21" name="object 21"/>
          <p:cNvSpPr/>
          <p:nvPr/>
        </p:nvSpPr>
        <p:spPr>
          <a:xfrm>
            <a:off x="2133600" y="4114800"/>
            <a:ext cx="3733800" cy="1981200"/>
          </a:xfrm>
          <a:prstGeom prst="rect">
            <a:avLst/>
          </a:prstGeom>
          <a:blipFill>
            <a:blip r:embed="rId3" cstate="print"/>
            <a:stretch>
              <a:fillRect/>
            </a:stretch>
          </a:blipFill>
        </p:spPr>
        <p:txBody>
          <a:bodyPr wrap="square" lIns="0" tIns="0" rIns="0" bIns="0" rtlCol="0">
            <a:noAutofit/>
          </a:bodyPr>
          <a:lstStyle/>
          <a:p>
            <a:endParaRPr/>
          </a:p>
        </p:txBody>
      </p:sp>
      <p:sp>
        <p:nvSpPr>
          <p:cNvPr id="22" name="object 22"/>
          <p:cNvSpPr/>
          <p:nvPr/>
        </p:nvSpPr>
        <p:spPr>
          <a:xfrm>
            <a:off x="2119313" y="4100513"/>
            <a:ext cx="3762375" cy="2009775"/>
          </a:xfrm>
          <a:custGeom>
            <a:avLst/>
            <a:gdLst/>
            <a:ahLst/>
            <a:cxnLst/>
            <a:rect l="l" t="t" r="r" b="b"/>
            <a:pathLst>
              <a:path w="3762375" h="2009775">
                <a:moveTo>
                  <a:pt x="0" y="2009775"/>
                </a:moveTo>
                <a:lnTo>
                  <a:pt x="3762375" y="2009775"/>
                </a:lnTo>
                <a:lnTo>
                  <a:pt x="3762375" y="0"/>
                </a:lnTo>
                <a:lnTo>
                  <a:pt x="0" y="0"/>
                </a:lnTo>
                <a:lnTo>
                  <a:pt x="0" y="2009775"/>
                </a:lnTo>
                <a:close/>
              </a:path>
            </a:pathLst>
          </a:custGeom>
          <a:ln w="28575">
            <a:solidFill>
              <a:srgbClr val="000000"/>
            </a:solidFill>
          </a:ln>
        </p:spPr>
        <p:txBody>
          <a:bodyPr wrap="square" lIns="0" tIns="0" rIns="0" bIns="0" rtlCol="0">
            <a:noAutofit/>
          </a:bodyPr>
          <a:lstStyle/>
          <a:p>
            <a:endParaRPr/>
          </a:p>
        </p:txBody>
      </p:sp>
      <p:sp>
        <p:nvSpPr>
          <p:cNvPr id="19" name="object 19"/>
          <p:cNvSpPr txBox="1"/>
          <p:nvPr/>
        </p:nvSpPr>
        <p:spPr>
          <a:xfrm>
            <a:off x="2235450" y="1003897"/>
            <a:ext cx="5723349" cy="432149"/>
          </a:xfrm>
          <a:prstGeom prst="rect">
            <a:avLst/>
          </a:prstGeom>
        </p:spPr>
        <p:txBody>
          <a:bodyPr wrap="square" lIns="0" tIns="0" rIns="0" bIns="0" rtlCol="0">
            <a:noAutofit/>
          </a:bodyPr>
          <a:lstStyle/>
          <a:p>
            <a:pPr marL="12700" marR="22349">
              <a:lnSpc>
                <a:spcPts val="2150"/>
              </a:lnSpc>
              <a:spcBef>
                <a:spcPts val="107"/>
              </a:spcBef>
            </a:pPr>
            <a:r>
              <a:rPr sz="2000" b="1" dirty="0">
                <a:cs typeface="Arial"/>
              </a:rPr>
              <a:t>Cancellation of an Invoice</a:t>
            </a:r>
          </a:p>
        </p:txBody>
      </p:sp>
      <p:sp>
        <p:nvSpPr>
          <p:cNvPr id="17" name="object 17"/>
          <p:cNvSpPr txBox="1"/>
          <p:nvPr/>
        </p:nvSpPr>
        <p:spPr>
          <a:xfrm>
            <a:off x="2426252" y="1480237"/>
            <a:ext cx="7798772" cy="1491563"/>
          </a:xfrm>
          <a:prstGeom prst="rect">
            <a:avLst/>
          </a:prstGeom>
        </p:spPr>
        <p:txBody>
          <a:bodyPr wrap="square" lIns="0" tIns="0" rIns="0" bIns="0" rtlCol="0">
            <a:noAutofit/>
          </a:bodyPr>
          <a:lstStyle/>
          <a:p>
            <a:pPr marL="298450" indent="-285750">
              <a:spcBef>
                <a:spcPts val="97"/>
              </a:spcBef>
              <a:buClr>
                <a:srgbClr val="00B0F0"/>
              </a:buClr>
              <a:buFont typeface="Wingdings" panose="05000000000000000000" pitchFamily="2" charset="2"/>
              <a:buChar char="§"/>
            </a:pPr>
            <a:r>
              <a:rPr dirty="0">
                <a:cs typeface="Arial"/>
              </a:rPr>
              <a:t>Transaction Code : VF11 (SAP Easy Access </a:t>
            </a:r>
            <a:r>
              <a:rPr lang="en-US" dirty="0">
                <a:cs typeface="Arial"/>
                <a:sym typeface="Wingdings" panose="05000000000000000000" pitchFamily="2" charset="2"/>
              </a:rPr>
              <a:t></a:t>
            </a:r>
            <a:r>
              <a:rPr dirty="0">
                <a:cs typeface="Arial"/>
              </a:rPr>
              <a:t> Sales</a:t>
            </a:r>
            <a:r>
              <a:rPr lang="en-US" dirty="0">
                <a:cs typeface="Arial"/>
              </a:rPr>
              <a:t> and Distribution</a:t>
            </a:r>
            <a:r>
              <a:rPr lang="en-US" dirty="0">
                <a:cs typeface="Arial"/>
                <a:sym typeface="Wingdings" panose="05000000000000000000" pitchFamily="2" charset="2"/>
              </a:rPr>
              <a:t>Billing</a:t>
            </a:r>
            <a:r>
              <a:rPr lang="en-US" dirty="0">
                <a:cs typeface="Arial"/>
              </a:rPr>
              <a:t>Billing Documents </a:t>
            </a:r>
            <a:r>
              <a:rPr lang="en-US" dirty="0">
                <a:cs typeface="Arial"/>
                <a:sym typeface="Wingdings" panose="05000000000000000000" pitchFamily="2" charset="2"/>
              </a:rPr>
              <a:t></a:t>
            </a:r>
            <a:r>
              <a:rPr lang="en-US" dirty="0">
                <a:cs typeface="Arial"/>
              </a:rPr>
              <a:t>Cancel</a:t>
            </a:r>
          </a:p>
          <a:p>
            <a:pPr marL="298450" indent="-285750">
              <a:spcBef>
                <a:spcPts val="97"/>
              </a:spcBef>
              <a:buClr>
                <a:srgbClr val="00B0F0"/>
              </a:buClr>
              <a:buFont typeface="Wingdings" panose="05000000000000000000" pitchFamily="2" charset="2"/>
              <a:buChar char="§"/>
            </a:pPr>
            <a:r>
              <a:rPr lang="en-US" dirty="0">
                <a:cs typeface="Arial"/>
              </a:rPr>
              <a:t>You can select invoice by putting the invoice number or you can select from the list</a:t>
            </a:r>
          </a:p>
          <a:p>
            <a:pPr marL="12700">
              <a:lnSpc>
                <a:spcPts val="1939"/>
              </a:lnSpc>
              <a:spcBef>
                <a:spcPts val="97"/>
              </a:spcBef>
            </a:pPr>
            <a:endParaRPr dirty="0">
              <a:latin typeface="Arial"/>
              <a:cs typeface="Arial"/>
            </a:endParaRPr>
          </a:p>
        </p:txBody>
      </p:sp>
      <p:sp>
        <p:nvSpPr>
          <p:cNvPr id="5" name="object 5"/>
          <p:cNvSpPr txBox="1"/>
          <p:nvPr/>
        </p:nvSpPr>
        <p:spPr>
          <a:xfrm>
            <a:off x="2288540" y="3731918"/>
            <a:ext cx="1826416" cy="280212"/>
          </a:xfrm>
          <a:prstGeom prst="rect">
            <a:avLst/>
          </a:prstGeom>
        </p:spPr>
        <p:txBody>
          <a:bodyPr wrap="square" lIns="0" tIns="0" rIns="0" bIns="0" rtlCol="0">
            <a:noAutofit/>
          </a:bodyPr>
          <a:lstStyle/>
          <a:p>
            <a:pPr marL="12700">
              <a:lnSpc>
                <a:spcPts val="2150"/>
              </a:lnSpc>
              <a:spcBef>
                <a:spcPts val="107"/>
              </a:spcBef>
            </a:pPr>
            <a:r>
              <a:rPr sz="2000" dirty="0">
                <a:latin typeface="Arial"/>
                <a:cs typeface="Arial"/>
              </a:rPr>
              <a:t>Do</a:t>
            </a:r>
            <a:r>
              <a:rPr sz="2000" spc="4" dirty="0">
                <a:latin typeface="Arial"/>
                <a:cs typeface="Arial"/>
              </a:rPr>
              <a:t>c</a:t>
            </a:r>
            <a:r>
              <a:rPr sz="2000" dirty="0">
                <a:latin typeface="Arial"/>
                <a:cs typeface="Arial"/>
              </a:rPr>
              <a:t>ument</a:t>
            </a:r>
            <a:r>
              <a:rPr sz="2000" spc="-59" dirty="0">
                <a:latin typeface="Arial"/>
                <a:cs typeface="Arial"/>
              </a:rPr>
              <a:t> </a:t>
            </a:r>
            <a:r>
              <a:rPr sz="2000" dirty="0">
                <a:latin typeface="Arial"/>
                <a:cs typeface="Arial"/>
              </a:rPr>
              <a:t>Flow</a:t>
            </a:r>
            <a:endParaRPr sz="2000">
              <a:latin typeface="Arial"/>
              <a:cs typeface="Arial"/>
            </a:endParaRPr>
          </a:p>
        </p:txBody>
      </p:sp>
      <p:sp>
        <p:nvSpPr>
          <p:cNvPr id="3" name="object 3"/>
          <p:cNvSpPr txBox="1"/>
          <p:nvPr/>
        </p:nvSpPr>
        <p:spPr>
          <a:xfrm>
            <a:off x="2119313" y="4100513"/>
            <a:ext cx="3762375" cy="2009775"/>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6234050" y="2652713"/>
            <a:ext cx="3990975" cy="3457575"/>
          </a:xfrm>
          <a:prstGeom prst="rect">
            <a:avLst/>
          </a:prstGeom>
        </p:spPr>
        <p:txBody>
          <a:bodyPr wrap="square" lIns="0" tIns="0" rIns="0" bIns="0" rtlCol="0">
            <a:noAutofit/>
          </a:bodyPr>
          <a:lstStyle/>
          <a:p>
            <a:pPr>
              <a:lnSpc>
                <a:spcPts val="1000"/>
              </a:lnSpc>
            </a:pPr>
            <a:endParaRPr sz="1000"/>
          </a:p>
          <a:p>
            <a:pPr marL="3047110" marR="230281">
              <a:lnSpc>
                <a:spcPct val="100041"/>
              </a:lnSpc>
              <a:spcBef>
                <a:spcPts val="2264"/>
              </a:spcBef>
            </a:pPr>
            <a:r>
              <a:rPr sz="1000" spc="14" dirty="0">
                <a:latin typeface="Arial"/>
                <a:cs typeface="Arial"/>
              </a:rPr>
              <a:t>T</a:t>
            </a:r>
            <a:r>
              <a:rPr sz="1000" spc="-4" dirty="0">
                <a:latin typeface="Arial"/>
                <a:cs typeface="Arial"/>
              </a:rPr>
              <a:t>h</a:t>
            </a:r>
            <a:r>
              <a:rPr sz="1000" dirty="0">
                <a:latin typeface="Arial"/>
                <a:cs typeface="Arial"/>
              </a:rPr>
              <a:t>e</a:t>
            </a:r>
            <a:r>
              <a:rPr sz="1000" spc="-41" dirty="0">
                <a:latin typeface="Arial"/>
                <a:cs typeface="Arial"/>
              </a:rPr>
              <a:t> </a:t>
            </a:r>
            <a:r>
              <a:rPr sz="1000" spc="-4" dirty="0">
                <a:latin typeface="Arial"/>
                <a:cs typeface="Arial"/>
              </a:rPr>
              <a:t>e</a:t>
            </a:r>
            <a:r>
              <a:rPr sz="1000" spc="9" dirty="0">
                <a:latin typeface="Arial"/>
                <a:cs typeface="Arial"/>
              </a:rPr>
              <a:t>ff</a:t>
            </a:r>
            <a:r>
              <a:rPr sz="1000" spc="-4" dirty="0">
                <a:latin typeface="Arial"/>
                <a:cs typeface="Arial"/>
              </a:rPr>
              <a:t>e</a:t>
            </a:r>
            <a:r>
              <a:rPr sz="1000" spc="4" dirty="0">
                <a:latin typeface="Arial"/>
                <a:cs typeface="Arial"/>
              </a:rPr>
              <a:t>c</a:t>
            </a:r>
            <a:r>
              <a:rPr sz="1000" dirty="0">
                <a:latin typeface="Arial"/>
                <a:cs typeface="Arial"/>
              </a:rPr>
              <a:t>t</a:t>
            </a:r>
            <a:r>
              <a:rPr sz="1000" spc="-56" dirty="0">
                <a:latin typeface="Arial"/>
                <a:cs typeface="Arial"/>
              </a:rPr>
              <a:t> </a:t>
            </a:r>
            <a:r>
              <a:rPr sz="1000" spc="-4" dirty="0">
                <a:latin typeface="Arial"/>
                <a:cs typeface="Arial"/>
              </a:rPr>
              <a:t>i</a:t>
            </a:r>
            <a:r>
              <a:rPr sz="1000" dirty="0">
                <a:latin typeface="Arial"/>
                <a:cs typeface="Arial"/>
              </a:rPr>
              <a:t>n a</a:t>
            </a:r>
            <a:r>
              <a:rPr sz="1000" spc="4" dirty="0">
                <a:latin typeface="Arial"/>
                <a:cs typeface="Arial"/>
              </a:rPr>
              <a:t>cc</a:t>
            </a:r>
            <a:r>
              <a:rPr sz="1000" dirty="0">
                <a:latin typeface="Arial"/>
                <a:cs typeface="Arial"/>
              </a:rPr>
              <a:t>o</a:t>
            </a:r>
            <a:r>
              <a:rPr sz="1000" spc="-4" dirty="0">
                <a:latin typeface="Arial"/>
                <a:cs typeface="Arial"/>
              </a:rPr>
              <a:t>u</a:t>
            </a:r>
            <a:r>
              <a:rPr sz="1000" dirty="0">
                <a:latin typeface="Arial"/>
                <a:cs typeface="Arial"/>
              </a:rPr>
              <a:t>nt</a:t>
            </a:r>
            <a:r>
              <a:rPr sz="1000" spc="-9" dirty="0">
                <a:latin typeface="Arial"/>
                <a:cs typeface="Arial"/>
              </a:rPr>
              <a:t>i</a:t>
            </a:r>
            <a:r>
              <a:rPr sz="1000" dirty="0">
                <a:latin typeface="Arial"/>
                <a:cs typeface="Arial"/>
              </a:rPr>
              <a:t>ng d</a:t>
            </a:r>
            <a:r>
              <a:rPr sz="1000" spc="-4" dirty="0">
                <a:latin typeface="Arial"/>
                <a:cs typeface="Arial"/>
              </a:rPr>
              <a:t>o</a:t>
            </a:r>
            <a:r>
              <a:rPr sz="1000" spc="4" dirty="0">
                <a:latin typeface="Arial"/>
                <a:cs typeface="Arial"/>
              </a:rPr>
              <a:t>c</a:t>
            </a:r>
            <a:r>
              <a:rPr sz="1000" dirty="0">
                <a:latin typeface="Arial"/>
                <a:cs typeface="Arial"/>
              </a:rPr>
              <a:t>u</a:t>
            </a:r>
            <a:r>
              <a:rPr sz="1000" spc="19" dirty="0">
                <a:latin typeface="Arial"/>
                <a:cs typeface="Arial"/>
              </a:rPr>
              <a:t>m</a:t>
            </a:r>
            <a:r>
              <a:rPr sz="1000" dirty="0">
                <a:latin typeface="Arial"/>
                <a:cs typeface="Arial"/>
              </a:rPr>
              <a:t>e</a:t>
            </a:r>
            <a:r>
              <a:rPr sz="1000" spc="-4" dirty="0">
                <a:latin typeface="Arial"/>
                <a:cs typeface="Arial"/>
              </a:rPr>
              <a:t>n</a:t>
            </a:r>
            <a:r>
              <a:rPr sz="1000" dirty="0">
                <a:latin typeface="Arial"/>
                <a:cs typeface="Arial"/>
              </a:rPr>
              <a:t>t a</a:t>
            </a:r>
            <a:r>
              <a:rPr sz="1000" spc="9" dirty="0">
                <a:latin typeface="Arial"/>
                <a:cs typeface="Arial"/>
              </a:rPr>
              <a:t>f</a:t>
            </a:r>
            <a:r>
              <a:rPr sz="1000" dirty="0">
                <a:latin typeface="Arial"/>
                <a:cs typeface="Arial"/>
              </a:rPr>
              <a:t>ter </a:t>
            </a:r>
            <a:r>
              <a:rPr sz="1000" spc="4" dirty="0">
                <a:latin typeface="Arial"/>
                <a:cs typeface="Arial"/>
              </a:rPr>
              <a:t>c</a:t>
            </a:r>
            <a:r>
              <a:rPr sz="1000" dirty="0">
                <a:latin typeface="Arial"/>
                <a:cs typeface="Arial"/>
              </a:rPr>
              <a:t>a</a:t>
            </a:r>
            <a:r>
              <a:rPr sz="1000" spc="-4" dirty="0">
                <a:latin typeface="Arial"/>
                <a:cs typeface="Arial"/>
              </a:rPr>
              <a:t>n</a:t>
            </a:r>
            <a:r>
              <a:rPr sz="1000" spc="4" dirty="0">
                <a:latin typeface="Arial"/>
                <a:cs typeface="Arial"/>
              </a:rPr>
              <a:t>c</a:t>
            </a:r>
            <a:r>
              <a:rPr sz="1000" dirty="0">
                <a:latin typeface="Arial"/>
                <a:cs typeface="Arial"/>
              </a:rPr>
              <a:t>e</a:t>
            </a:r>
            <a:r>
              <a:rPr sz="1000" spc="-4" dirty="0">
                <a:latin typeface="Arial"/>
                <a:cs typeface="Arial"/>
              </a:rPr>
              <a:t>ll</a:t>
            </a:r>
            <a:r>
              <a:rPr sz="1000" dirty="0">
                <a:latin typeface="Arial"/>
                <a:cs typeface="Arial"/>
              </a:rPr>
              <a:t>at</a:t>
            </a:r>
            <a:r>
              <a:rPr sz="1000" spc="-9" dirty="0">
                <a:latin typeface="Arial"/>
                <a:cs typeface="Arial"/>
              </a:rPr>
              <a:t>i</a:t>
            </a:r>
            <a:r>
              <a:rPr sz="1000" dirty="0">
                <a:latin typeface="Arial"/>
                <a:cs typeface="Arial"/>
              </a:rPr>
              <a:t>on</a:t>
            </a:r>
            <a:endParaRPr sz="1000">
              <a:latin typeface="Arial"/>
              <a:cs typeface="Arial"/>
            </a:endParaRPr>
          </a:p>
        </p:txBody>
      </p:sp>
      <p:sp>
        <p:nvSpPr>
          <p:cNvPr id="4" name="Title 3"/>
          <p:cNvSpPr>
            <a:spLocks noGrp="1"/>
          </p:cNvSpPr>
          <p:nvPr>
            <p:ph type="title"/>
          </p:nvPr>
        </p:nvSpPr>
        <p:spPr/>
        <p:txBody>
          <a:bodyPr/>
          <a:lstStyle/>
          <a:p>
            <a:r>
              <a:rPr lang="en-US" sz="2400" dirty="0">
                <a:latin typeface="+mn-lt"/>
                <a:cs typeface="Arial"/>
              </a:rPr>
              <a:t>Special Billing Process</a:t>
            </a:r>
            <a:br>
              <a:rPr lang="en-US" sz="2800" dirty="0">
                <a:latin typeface="Arial"/>
                <a:cs typeface="Arial"/>
              </a:rPr>
            </a:br>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bject 54"/>
          <p:cNvSpPr/>
          <p:nvPr/>
        </p:nvSpPr>
        <p:spPr>
          <a:xfrm>
            <a:off x="8607155" y="148728"/>
            <a:ext cx="1522367" cy="1670896"/>
          </a:xfrm>
          <a:custGeom>
            <a:avLst/>
            <a:gdLst/>
            <a:ahLst/>
            <a:cxnLst/>
            <a:rect l="l" t="t" r="r" b="b"/>
            <a:pathLst>
              <a:path w="1522367" h="1670896">
                <a:moveTo>
                  <a:pt x="1522367" y="1556826"/>
                </a:moveTo>
                <a:lnTo>
                  <a:pt x="1522367" y="113186"/>
                </a:lnTo>
                <a:lnTo>
                  <a:pt x="1521627" y="101533"/>
                </a:lnTo>
                <a:lnTo>
                  <a:pt x="1507883" y="59630"/>
                </a:lnTo>
                <a:lnTo>
                  <a:pt x="1477435" y="25786"/>
                </a:lnTo>
                <a:lnTo>
                  <a:pt x="1436309" y="5330"/>
                </a:lnTo>
                <a:lnTo>
                  <a:pt x="1399623" y="0"/>
                </a:lnTo>
                <a:lnTo>
                  <a:pt x="123504" y="0"/>
                </a:lnTo>
                <a:lnTo>
                  <a:pt x="75472" y="8802"/>
                </a:lnTo>
                <a:lnTo>
                  <a:pt x="35830" y="32976"/>
                </a:lnTo>
                <a:lnTo>
                  <a:pt x="9910" y="69424"/>
                </a:lnTo>
                <a:lnTo>
                  <a:pt x="0" y="113186"/>
                </a:lnTo>
                <a:lnTo>
                  <a:pt x="0" y="1556826"/>
                </a:lnTo>
                <a:lnTo>
                  <a:pt x="9910" y="1601384"/>
                </a:lnTo>
                <a:lnTo>
                  <a:pt x="35830" y="1637922"/>
                </a:lnTo>
                <a:lnTo>
                  <a:pt x="75472" y="1661984"/>
                </a:lnTo>
                <a:lnTo>
                  <a:pt x="123504" y="1670896"/>
                </a:lnTo>
                <a:lnTo>
                  <a:pt x="1399623" y="1670896"/>
                </a:lnTo>
                <a:lnTo>
                  <a:pt x="1447727" y="1661984"/>
                </a:lnTo>
                <a:lnTo>
                  <a:pt x="1486633" y="1637922"/>
                </a:lnTo>
                <a:lnTo>
                  <a:pt x="1512535" y="1601384"/>
                </a:lnTo>
                <a:lnTo>
                  <a:pt x="1522367" y="1556826"/>
                </a:lnTo>
                <a:close/>
              </a:path>
            </a:pathLst>
          </a:custGeom>
          <a:solidFill>
            <a:srgbClr val="FF9900"/>
          </a:solidFill>
        </p:spPr>
        <p:txBody>
          <a:bodyPr wrap="square" lIns="0" tIns="0" rIns="0" bIns="0" rtlCol="0">
            <a:noAutofit/>
          </a:bodyPr>
          <a:lstStyle/>
          <a:p>
            <a:endParaRPr/>
          </a:p>
        </p:txBody>
      </p:sp>
      <p:sp>
        <p:nvSpPr>
          <p:cNvPr id="55" name="object 55"/>
          <p:cNvSpPr/>
          <p:nvPr/>
        </p:nvSpPr>
        <p:spPr>
          <a:xfrm>
            <a:off x="9460223" y="1472963"/>
            <a:ext cx="336907" cy="345771"/>
          </a:xfrm>
          <a:custGeom>
            <a:avLst/>
            <a:gdLst/>
            <a:ahLst/>
            <a:cxnLst/>
            <a:rect l="l" t="t" r="r" b="b"/>
            <a:pathLst>
              <a:path w="336907" h="345771">
                <a:moveTo>
                  <a:pt x="336907" y="265565"/>
                </a:moveTo>
                <a:lnTo>
                  <a:pt x="334687" y="217447"/>
                </a:lnTo>
                <a:lnTo>
                  <a:pt x="328555" y="167536"/>
                </a:lnTo>
                <a:lnTo>
                  <a:pt x="317877" y="122087"/>
                </a:lnTo>
                <a:lnTo>
                  <a:pt x="301173" y="85553"/>
                </a:lnTo>
                <a:lnTo>
                  <a:pt x="277491" y="63275"/>
                </a:lnTo>
                <a:lnTo>
                  <a:pt x="270619" y="59705"/>
                </a:lnTo>
                <a:lnTo>
                  <a:pt x="263007" y="55254"/>
                </a:lnTo>
                <a:lnTo>
                  <a:pt x="253915" y="49006"/>
                </a:lnTo>
                <a:lnTo>
                  <a:pt x="244717" y="42770"/>
                </a:lnTo>
                <a:lnTo>
                  <a:pt x="234039" y="36534"/>
                </a:lnTo>
                <a:lnTo>
                  <a:pt x="223361" y="29406"/>
                </a:lnTo>
                <a:lnTo>
                  <a:pt x="211202" y="22277"/>
                </a:lnTo>
                <a:lnTo>
                  <a:pt x="198970" y="16042"/>
                </a:lnTo>
                <a:lnTo>
                  <a:pt x="186019" y="10686"/>
                </a:lnTo>
                <a:lnTo>
                  <a:pt x="172296" y="5343"/>
                </a:lnTo>
                <a:lnTo>
                  <a:pt x="157812" y="2665"/>
                </a:lnTo>
                <a:lnTo>
                  <a:pt x="143318" y="0"/>
                </a:lnTo>
                <a:lnTo>
                  <a:pt x="128072" y="0"/>
                </a:lnTo>
                <a:lnTo>
                  <a:pt x="112066" y="1772"/>
                </a:lnTo>
                <a:lnTo>
                  <a:pt x="96059" y="6235"/>
                </a:lnTo>
                <a:lnTo>
                  <a:pt x="80053" y="12471"/>
                </a:lnTo>
                <a:lnTo>
                  <a:pt x="78520" y="14256"/>
                </a:lnTo>
                <a:lnTo>
                  <a:pt x="73192" y="18707"/>
                </a:lnTo>
                <a:lnTo>
                  <a:pt x="66330" y="26728"/>
                </a:lnTo>
                <a:lnTo>
                  <a:pt x="58697" y="36534"/>
                </a:lnTo>
                <a:lnTo>
                  <a:pt x="50313" y="49898"/>
                </a:lnTo>
                <a:lnTo>
                  <a:pt x="43452" y="65940"/>
                </a:lnTo>
                <a:lnTo>
                  <a:pt x="38123" y="84660"/>
                </a:lnTo>
                <a:lnTo>
                  <a:pt x="36590" y="106045"/>
                </a:lnTo>
                <a:lnTo>
                  <a:pt x="35068" y="133666"/>
                </a:lnTo>
                <a:lnTo>
                  <a:pt x="31262" y="168428"/>
                </a:lnTo>
                <a:lnTo>
                  <a:pt x="25162" y="208533"/>
                </a:lnTo>
                <a:lnTo>
                  <a:pt x="18300" y="248633"/>
                </a:lnTo>
                <a:lnTo>
                  <a:pt x="11439" y="286063"/>
                </a:lnTo>
                <a:lnTo>
                  <a:pt x="6100" y="316363"/>
                </a:lnTo>
                <a:lnTo>
                  <a:pt x="1522" y="337751"/>
                </a:lnTo>
                <a:lnTo>
                  <a:pt x="0" y="345771"/>
                </a:lnTo>
                <a:lnTo>
                  <a:pt x="336167" y="345771"/>
                </a:lnTo>
                <a:lnTo>
                  <a:pt x="336907" y="335078"/>
                </a:lnTo>
                <a:lnTo>
                  <a:pt x="336907" y="265565"/>
                </a:lnTo>
                <a:close/>
              </a:path>
            </a:pathLst>
          </a:custGeom>
          <a:solidFill>
            <a:srgbClr val="FBEAD5"/>
          </a:solidFill>
        </p:spPr>
        <p:txBody>
          <a:bodyPr wrap="square" lIns="0" tIns="0" rIns="0" bIns="0" rtlCol="0">
            <a:noAutofit/>
          </a:bodyPr>
          <a:lstStyle/>
          <a:p>
            <a:endParaRPr/>
          </a:p>
        </p:txBody>
      </p:sp>
      <p:sp>
        <p:nvSpPr>
          <p:cNvPr id="56" name="object 56"/>
          <p:cNvSpPr/>
          <p:nvPr/>
        </p:nvSpPr>
        <p:spPr>
          <a:xfrm>
            <a:off x="9447261" y="1457813"/>
            <a:ext cx="363613" cy="364486"/>
          </a:xfrm>
          <a:custGeom>
            <a:avLst/>
            <a:gdLst/>
            <a:ahLst/>
            <a:cxnLst/>
            <a:rect l="l" t="t" r="r" b="b"/>
            <a:pathLst>
              <a:path w="363613" h="364486">
                <a:moveTo>
                  <a:pt x="362873" y="265565"/>
                </a:moveTo>
                <a:lnTo>
                  <a:pt x="359067" y="216554"/>
                </a:lnTo>
                <a:lnTo>
                  <a:pt x="352195" y="167536"/>
                </a:lnTo>
                <a:lnTo>
                  <a:pt x="339296" y="122980"/>
                </a:lnTo>
                <a:lnTo>
                  <a:pt x="320901" y="86445"/>
                </a:lnTo>
                <a:lnTo>
                  <a:pt x="294998" y="64155"/>
                </a:lnTo>
                <a:lnTo>
                  <a:pt x="270682" y="49006"/>
                </a:lnTo>
                <a:lnTo>
                  <a:pt x="262964" y="43663"/>
                </a:lnTo>
                <a:lnTo>
                  <a:pt x="254612" y="38319"/>
                </a:lnTo>
                <a:lnTo>
                  <a:pt x="245520" y="32964"/>
                </a:lnTo>
                <a:lnTo>
                  <a:pt x="235582" y="26728"/>
                </a:lnTo>
                <a:lnTo>
                  <a:pt x="225644" y="21385"/>
                </a:lnTo>
                <a:lnTo>
                  <a:pt x="214987" y="16042"/>
                </a:lnTo>
                <a:lnTo>
                  <a:pt x="203548" y="11579"/>
                </a:lnTo>
                <a:lnTo>
                  <a:pt x="192119" y="7128"/>
                </a:lnTo>
                <a:lnTo>
                  <a:pt x="180680" y="4450"/>
                </a:lnTo>
                <a:lnTo>
                  <a:pt x="167719" y="1772"/>
                </a:lnTo>
                <a:lnTo>
                  <a:pt x="155518" y="0"/>
                </a:lnTo>
                <a:lnTo>
                  <a:pt x="142567" y="0"/>
                </a:lnTo>
                <a:lnTo>
                  <a:pt x="128844" y="892"/>
                </a:lnTo>
                <a:lnTo>
                  <a:pt x="115883" y="3558"/>
                </a:lnTo>
                <a:lnTo>
                  <a:pt x="101398" y="7128"/>
                </a:lnTo>
                <a:lnTo>
                  <a:pt x="87676" y="13364"/>
                </a:lnTo>
                <a:lnTo>
                  <a:pt x="86153" y="15149"/>
                </a:lnTo>
                <a:lnTo>
                  <a:pt x="83098" y="16922"/>
                </a:lnTo>
                <a:lnTo>
                  <a:pt x="76998" y="22277"/>
                </a:lnTo>
                <a:lnTo>
                  <a:pt x="69375" y="31191"/>
                </a:lnTo>
                <a:lnTo>
                  <a:pt x="60230" y="43663"/>
                </a:lnTo>
                <a:lnTo>
                  <a:pt x="51085" y="58812"/>
                </a:lnTo>
                <a:lnTo>
                  <a:pt x="43452" y="76639"/>
                </a:lnTo>
                <a:lnTo>
                  <a:pt x="38123" y="97132"/>
                </a:lnTo>
                <a:lnTo>
                  <a:pt x="35829" y="121195"/>
                </a:lnTo>
                <a:lnTo>
                  <a:pt x="34307" y="147936"/>
                </a:lnTo>
                <a:lnTo>
                  <a:pt x="30501" y="182685"/>
                </a:lnTo>
                <a:lnTo>
                  <a:pt x="24400" y="221005"/>
                </a:lnTo>
                <a:lnTo>
                  <a:pt x="18300" y="260218"/>
                </a:lnTo>
                <a:lnTo>
                  <a:pt x="11439" y="296757"/>
                </a:lnTo>
                <a:lnTo>
                  <a:pt x="6100" y="327947"/>
                </a:lnTo>
                <a:lnTo>
                  <a:pt x="1532" y="349336"/>
                </a:lnTo>
                <a:lnTo>
                  <a:pt x="0" y="357356"/>
                </a:lnTo>
                <a:lnTo>
                  <a:pt x="25923" y="364486"/>
                </a:lnTo>
                <a:lnTo>
                  <a:pt x="28206" y="354683"/>
                </a:lnTo>
                <a:lnTo>
                  <a:pt x="32023" y="331512"/>
                </a:lnTo>
                <a:lnTo>
                  <a:pt x="38123" y="300321"/>
                </a:lnTo>
                <a:lnTo>
                  <a:pt x="44985" y="262891"/>
                </a:lnTo>
                <a:lnTo>
                  <a:pt x="51085" y="222790"/>
                </a:lnTo>
                <a:lnTo>
                  <a:pt x="57175" y="183578"/>
                </a:lnTo>
                <a:lnTo>
                  <a:pt x="60991" y="148816"/>
                </a:lnTo>
                <a:lnTo>
                  <a:pt x="62514" y="121195"/>
                </a:lnTo>
                <a:lnTo>
                  <a:pt x="64036" y="105153"/>
                </a:lnTo>
                <a:lnTo>
                  <a:pt x="67853" y="90003"/>
                </a:lnTo>
                <a:lnTo>
                  <a:pt x="72430" y="77532"/>
                </a:lnTo>
                <a:lnTo>
                  <a:pt x="78520" y="65940"/>
                </a:lnTo>
                <a:lnTo>
                  <a:pt x="85381" y="57027"/>
                </a:lnTo>
                <a:lnTo>
                  <a:pt x="91482" y="49006"/>
                </a:lnTo>
                <a:lnTo>
                  <a:pt x="96059" y="43663"/>
                </a:lnTo>
                <a:lnTo>
                  <a:pt x="110544" y="36534"/>
                </a:lnTo>
                <a:lnTo>
                  <a:pt x="122744" y="32964"/>
                </a:lnTo>
                <a:lnTo>
                  <a:pt x="134173" y="31191"/>
                </a:lnTo>
                <a:lnTo>
                  <a:pt x="144851" y="30298"/>
                </a:lnTo>
                <a:lnTo>
                  <a:pt x="156279" y="31191"/>
                </a:lnTo>
                <a:lnTo>
                  <a:pt x="166957" y="32084"/>
                </a:lnTo>
                <a:lnTo>
                  <a:pt x="177635" y="34749"/>
                </a:lnTo>
                <a:lnTo>
                  <a:pt x="187542" y="37427"/>
                </a:lnTo>
                <a:lnTo>
                  <a:pt x="197448" y="40985"/>
                </a:lnTo>
                <a:lnTo>
                  <a:pt x="207365" y="45448"/>
                </a:lnTo>
                <a:lnTo>
                  <a:pt x="216510" y="49898"/>
                </a:lnTo>
                <a:lnTo>
                  <a:pt x="225644" y="55254"/>
                </a:lnTo>
                <a:lnTo>
                  <a:pt x="233996" y="60597"/>
                </a:lnTo>
                <a:lnTo>
                  <a:pt x="242454" y="65940"/>
                </a:lnTo>
                <a:lnTo>
                  <a:pt x="250066" y="70403"/>
                </a:lnTo>
                <a:lnTo>
                  <a:pt x="257678" y="75747"/>
                </a:lnTo>
                <a:lnTo>
                  <a:pt x="285166" y="92681"/>
                </a:lnTo>
                <a:lnTo>
                  <a:pt x="301130" y="106938"/>
                </a:lnTo>
                <a:lnTo>
                  <a:pt x="313289" y="131001"/>
                </a:lnTo>
                <a:lnTo>
                  <a:pt x="323227" y="163085"/>
                </a:lnTo>
                <a:lnTo>
                  <a:pt x="330099" y="200512"/>
                </a:lnTo>
                <a:lnTo>
                  <a:pt x="334645" y="240617"/>
                </a:lnTo>
                <a:lnTo>
                  <a:pt x="336230" y="282497"/>
                </a:lnTo>
                <a:lnTo>
                  <a:pt x="336971" y="322600"/>
                </a:lnTo>
                <a:lnTo>
                  <a:pt x="335385" y="359138"/>
                </a:lnTo>
                <a:lnTo>
                  <a:pt x="362133" y="361812"/>
                </a:lnTo>
                <a:lnTo>
                  <a:pt x="362873" y="343097"/>
                </a:lnTo>
                <a:lnTo>
                  <a:pt x="363613" y="309233"/>
                </a:lnTo>
                <a:lnTo>
                  <a:pt x="362873" y="265565"/>
                </a:lnTo>
                <a:close/>
              </a:path>
            </a:pathLst>
          </a:custGeom>
          <a:solidFill>
            <a:srgbClr val="000000"/>
          </a:solidFill>
        </p:spPr>
        <p:txBody>
          <a:bodyPr wrap="square" lIns="0" tIns="0" rIns="0" bIns="0" rtlCol="0">
            <a:noAutofit/>
          </a:bodyPr>
          <a:lstStyle/>
          <a:p>
            <a:endParaRPr/>
          </a:p>
        </p:txBody>
      </p:sp>
      <p:sp>
        <p:nvSpPr>
          <p:cNvPr id="57" name="object 57"/>
          <p:cNvSpPr/>
          <p:nvPr/>
        </p:nvSpPr>
        <p:spPr>
          <a:xfrm>
            <a:off x="9447261" y="1457813"/>
            <a:ext cx="363613" cy="364486"/>
          </a:xfrm>
          <a:custGeom>
            <a:avLst/>
            <a:gdLst/>
            <a:ahLst/>
            <a:cxnLst/>
            <a:rect l="l" t="t" r="r" b="b"/>
            <a:pathLst>
              <a:path w="363613" h="364486">
                <a:moveTo>
                  <a:pt x="362873" y="265565"/>
                </a:moveTo>
                <a:lnTo>
                  <a:pt x="359067" y="216554"/>
                </a:lnTo>
                <a:lnTo>
                  <a:pt x="352195" y="167536"/>
                </a:lnTo>
                <a:lnTo>
                  <a:pt x="339296" y="122980"/>
                </a:lnTo>
                <a:lnTo>
                  <a:pt x="320901" y="86445"/>
                </a:lnTo>
                <a:lnTo>
                  <a:pt x="294998" y="64155"/>
                </a:lnTo>
                <a:lnTo>
                  <a:pt x="270682" y="49006"/>
                </a:lnTo>
                <a:lnTo>
                  <a:pt x="262964" y="43663"/>
                </a:lnTo>
                <a:lnTo>
                  <a:pt x="254612" y="38319"/>
                </a:lnTo>
                <a:lnTo>
                  <a:pt x="245520" y="32964"/>
                </a:lnTo>
                <a:lnTo>
                  <a:pt x="235582" y="26728"/>
                </a:lnTo>
                <a:lnTo>
                  <a:pt x="225644" y="21385"/>
                </a:lnTo>
                <a:lnTo>
                  <a:pt x="214987" y="16042"/>
                </a:lnTo>
                <a:lnTo>
                  <a:pt x="203548" y="11579"/>
                </a:lnTo>
                <a:lnTo>
                  <a:pt x="192119" y="7128"/>
                </a:lnTo>
                <a:lnTo>
                  <a:pt x="180680" y="4450"/>
                </a:lnTo>
                <a:lnTo>
                  <a:pt x="167719" y="1772"/>
                </a:lnTo>
                <a:lnTo>
                  <a:pt x="155518" y="0"/>
                </a:lnTo>
                <a:lnTo>
                  <a:pt x="142567" y="0"/>
                </a:lnTo>
                <a:lnTo>
                  <a:pt x="128844" y="892"/>
                </a:lnTo>
                <a:lnTo>
                  <a:pt x="115883" y="3558"/>
                </a:lnTo>
                <a:lnTo>
                  <a:pt x="101398" y="7128"/>
                </a:lnTo>
                <a:lnTo>
                  <a:pt x="87676" y="13364"/>
                </a:lnTo>
                <a:lnTo>
                  <a:pt x="86153" y="15149"/>
                </a:lnTo>
                <a:lnTo>
                  <a:pt x="83098" y="16922"/>
                </a:lnTo>
                <a:lnTo>
                  <a:pt x="76998" y="22277"/>
                </a:lnTo>
                <a:lnTo>
                  <a:pt x="69375" y="31191"/>
                </a:lnTo>
                <a:lnTo>
                  <a:pt x="60230" y="43663"/>
                </a:lnTo>
                <a:lnTo>
                  <a:pt x="51085" y="58812"/>
                </a:lnTo>
                <a:lnTo>
                  <a:pt x="43452" y="76639"/>
                </a:lnTo>
                <a:lnTo>
                  <a:pt x="38123" y="97132"/>
                </a:lnTo>
                <a:lnTo>
                  <a:pt x="35829" y="121195"/>
                </a:lnTo>
                <a:lnTo>
                  <a:pt x="34307" y="147936"/>
                </a:lnTo>
                <a:lnTo>
                  <a:pt x="30501" y="182685"/>
                </a:lnTo>
                <a:lnTo>
                  <a:pt x="24400" y="221005"/>
                </a:lnTo>
                <a:lnTo>
                  <a:pt x="18300" y="260218"/>
                </a:lnTo>
                <a:lnTo>
                  <a:pt x="11439" y="296757"/>
                </a:lnTo>
                <a:lnTo>
                  <a:pt x="6100" y="327947"/>
                </a:lnTo>
                <a:lnTo>
                  <a:pt x="1532" y="349336"/>
                </a:lnTo>
                <a:lnTo>
                  <a:pt x="0" y="357356"/>
                </a:lnTo>
                <a:lnTo>
                  <a:pt x="25923" y="364486"/>
                </a:lnTo>
                <a:lnTo>
                  <a:pt x="28206" y="354683"/>
                </a:lnTo>
                <a:lnTo>
                  <a:pt x="32023" y="331512"/>
                </a:lnTo>
                <a:lnTo>
                  <a:pt x="38123" y="300321"/>
                </a:lnTo>
                <a:lnTo>
                  <a:pt x="44985" y="262891"/>
                </a:lnTo>
                <a:lnTo>
                  <a:pt x="51085" y="222790"/>
                </a:lnTo>
                <a:lnTo>
                  <a:pt x="57175" y="183578"/>
                </a:lnTo>
                <a:lnTo>
                  <a:pt x="60991" y="148816"/>
                </a:lnTo>
                <a:lnTo>
                  <a:pt x="62514" y="121195"/>
                </a:lnTo>
                <a:lnTo>
                  <a:pt x="64036" y="105153"/>
                </a:lnTo>
                <a:lnTo>
                  <a:pt x="67853" y="90003"/>
                </a:lnTo>
                <a:lnTo>
                  <a:pt x="72430" y="77532"/>
                </a:lnTo>
                <a:lnTo>
                  <a:pt x="78520" y="65940"/>
                </a:lnTo>
                <a:lnTo>
                  <a:pt x="85381" y="57027"/>
                </a:lnTo>
                <a:lnTo>
                  <a:pt x="91482" y="49006"/>
                </a:lnTo>
                <a:lnTo>
                  <a:pt x="96059" y="43663"/>
                </a:lnTo>
                <a:lnTo>
                  <a:pt x="110544" y="36534"/>
                </a:lnTo>
                <a:lnTo>
                  <a:pt x="122744" y="32964"/>
                </a:lnTo>
                <a:lnTo>
                  <a:pt x="134173" y="31191"/>
                </a:lnTo>
                <a:lnTo>
                  <a:pt x="144851" y="30298"/>
                </a:lnTo>
                <a:lnTo>
                  <a:pt x="156279" y="31191"/>
                </a:lnTo>
                <a:lnTo>
                  <a:pt x="166957" y="32084"/>
                </a:lnTo>
                <a:lnTo>
                  <a:pt x="177635" y="34749"/>
                </a:lnTo>
                <a:lnTo>
                  <a:pt x="187542" y="37427"/>
                </a:lnTo>
                <a:lnTo>
                  <a:pt x="197448" y="40985"/>
                </a:lnTo>
                <a:lnTo>
                  <a:pt x="207365" y="45448"/>
                </a:lnTo>
                <a:lnTo>
                  <a:pt x="216510" y="49898"/>
                </a:lnTo>
                <a:lnTo>
                  <a:pt x="225644" y="55254"/>
                </a:lnTo>
                <a:lnTo>
                  <a:pt x="233996" y="60597"/>
                </a:lnTo>
                <a:lnTo>
                  <a:pt x="242454" y="65940"/>
                </a:lnTo>
                <a:lnTo>
                  <a:pt x="250066" y="70403"/>
                </a:lnTo>
                <a:lnTo>
                  <a:pt x="257678" y="75747"/>
                </a:lnTo>
                <a:lnTo>
                  <a:pt x="285166" y="92681"/>
                </a:lnTo>
                <a:lnTo>
                  <a:pt x="301130" y="106938"/>
                </a:lnTo>
                <a:lnTo>
                  <a:pt x="313289" y="131001"/>
                </a:lnTo>
                <a:lnTo>
                  <a:pt x="323227" y="163085"/>
                </a:lnTo>
                <a:lnTo>
                  <a:pt x="330099" y="200512"/>
                </a:lnTo>
                <a:lnTo>
                  <a:pt x="334645" y="240617"/>
                </a:lnTo>
                <a:lnTo>
                  <a:pt x="336230" y="282497"/>
                </a:lnTo>
                <a:lnTo>
                  <a:pt x="336971" y="322600"/>
                </a:lnTo>
                <a:lnTo>
                  <a:pt x="335385" y="359138"/>
                </a:lnTo>
                <a:lnTo>
                  <a:pt x="362133" y="361812"/>
                </a:lnTo>
                <a:lnTo>
                  <a:pt x="362873" y="343097"/>
                </a:lnTo>
                <a:lnTo>
                  <a:pt x="363613" y="309233"/>
                </a:lnTo>
                <a:lnTo>
                  <a:pt x="362873" y="265565"/>
                </a:lnTo>
                <a:close/>
              </a:path>
            </a:pathLst>
          </a:custGeom>
          <a:solidFill>
            <a:srgbClr val="000000"/>
          </a:solidFill>
        </p:spPr>
        <p:txBody>
          <a:bodyPr wrap="square" lIns="0" tIns="0" rIns="0" bIns="0" rtlCol="0">
            <a:noAutofit/>
          </a:bodyPr>
          <a:lstStyle/>
          <a:p>
            <a:endParaRPr/>
          </a:p>
        </p:txBody>
      </p:sp>
      <p:sp>
        <p:nvSpPr>
          <p:cNvPr id="58" name="object 58"/>
          <p:cNvSpPr/>
          <p:nvPr/>
        </p:nvSpPr>
        <p:spPr>
          <a:xfrm>
            <a:off x="9185014" y="658428"/>
            <a:ext cx="885832" cy="332406"/>
          </a:xfrm>
          <a:custGeom>
            <a:avLst/>
            <a:gdLst/>
            <a:ahLst/>
            <a:cxnLst/>
            <a:rect l="l" t="t" r="r" b="b"/>
            <a:pathLst>
              <a:path w="885832" h="332406">
                <a:moveTo>
                  <a:pt x="37351" y="157729"/>
                </a:moveTo>
                <a:lnTo>
                  <a:pt x="0" y="159515"/>
                </a:lnTo>
                <a:lnTo>
                  <a:pt x="30490" y="185363"/>
                </a:lnTo>
                <a:lnTo>
                  <a:pt x="32023" y="186255"/>
                </a:lnTo>
                <a:lnTo>
                  <a:pt x="35068" y="188921"/>
                </a:lnTo>
                <a:lnTo>
                  <a:pt x="40407" y="193384"/>
                </a:lnTo>
                <a:lnTo>
                  <a:pt x="47268" y="198727"/>
                </a:lnTo>
                <a:lnTo>
                  <a:pt x="56413" y="204963"/>
                </a:lnTo>
                <a:lnTo>
                  <a:pt x="67091" y="212091"/>
                </a:lnTo>
                <a:lnTo>
                  <a:pt x="80042" y="220112"/>
                </a:lnTo>
                <a:lnTo>
                  <a:pt x="93765" y="229026"/>
                </a:lnTo>
                <a:lnTo>
                  <a:pt x="128072" y="247746"/>
                </a:lnTo>
                <a:lnTo>
                  <a:pt x="167719" y="266453"/>
                </a:lnTo>
                <a:lnTo>
                  <a:pt x="214226" y="286065"/>
                </a:lnTo>
                <a:lnTo>
                  <a:pt x="239378" y="294979"/>
                </a:lnTo>
                <a:lnTo>
                  <a:pt x="266062" y="303000"/>
                </a:lnTo>
                <a:lnTo>
                  <a:pt x="294269" y="311021"/>
                </a:lnTo>
                <a:lnTo>
                  <a:pt x="323998" y="317257"/>
                </a:lnTo>
                <a:lnTo>
                  <a:pt x="354489" y="322600"/>
                </a:lnTo>
                <a:lnTo>
                  <a:pt x="386512" y="327063"/>
                </a:lnTo>
                <a:lnTo>
                  <a:pt x="420058" y="330621"/>
                </a:lnTo>
                <a:lnTo>
                  <a:pt x="454365" y="332406"/>
                </a:lnTo>
                <a:lnTo>
                  <a:pt x="490216" y="332406"/>
                </a:lnTo>
                <a:lnTo>
                  <a:pt x="526796" y="330621"/>
                </a:lnTo>
                <a:lnTo>
                  <a:pt x="564116" y="327063"/>
                </a:lnTo>
                <a:lnTo>
                  <a:pt x="603023" y="320815"/>
                </a:lnTo>
                <a:lnTo>
                  <a:pt x="642669" y="312794"/>
                </a:lnTo>
                <a:lnTo>
                  <a:pt x="683055" y="302107"/>
                </a:lnTo>
                <a:lnTo>
                  <a:pt x="724181" y="289623"/>
                </a:lnTo>
                <a:lnTo>
                  <a:pt x="766893" y="273594"/>
                </a:lnTo>
                <a:lnTo>
                  <a:pt x="809605" y="254874"/>
                </a:lnTo>
                <a:lnTo>
                  <a:pt x="853798" y="233489"/>
                </a:lnTo>
                <a:lnTo>
                  <a:pt x="885832" y="216554"/>
                </a:lnTo>
                <a:lnTo>
                  <a:pt x="852317" y="204963"/>
                </a:lnTo>
                <a:lnTo>
                  <a:pt x="849252" y="204070"/>
                </a:lnTo>
                <a:lnTo>
                  <a:pt x="842380" y="200512"/>
                </a:lnTo>
                <a:lnTo>
                  <a:pt x="833287" y="194276"/>
                </a:lnTo>
                <a:lnTo>
                  <a:pt x="823349" y="186255"/>
                </a:lnTo>
                <a:lnTo>
                  <a:pt x="813411" y="174664"/>
                </a:lnTo>
                <a:lnTo>
                  <a:pt x="805799" y="160407"/>
                </a:lnTo>
                <a:lnTo>
                  <a:pt x="801993" y="142580"/>
                </a:lnTo>
                <a:lnTo>
                  <a:pt x="802733" y="122087"/>
                </a:lnTo>
                <a:lnTo>
                  <a:pt x="803473" y="104260"/>
                </a:lnTo>
                <a:lnTo>
                  <a:pt x="801253" y="90003"/>
                </a:lnTo>
                <a:lnTo>
                  <a:pt x="796707" y="78424"/>
                </a:lnTo>
                <a:lnTo>
                  <a:pt x="791315" y="70403"/>
                </a:lnTo>
                <a:lnTo>
                  <a:pt x="779897" y="58812"/>
                </a:lnTo>
                <a:lnTo>
                  <a:pt x="765413" y="51684"/>
                </a:lnTo>
                <a:lnTo>
                  <a:pt x="750189" y="46340"/>
                </a:lnTo>
                <a:lnTo>
                  <a:pt x="734859" y="43663"/>
                </a:lnTo>
                <a:lnTo>
                  <a:pt x="720375" y="42770"/>
                </a:lnTo>
                <a:lnTo>
                  <a:pt x="697539" y="42770"/>
                </a:lnTo>
                <a:lnTo>
                  <a:pt x="691407" y="43663"/>
                </a:lnTo>
                <a:lnTo>
                  <a:pt x="689187" y="43663"/>
                </a:lnTo>
                <a:lnTo>
                  <a:pt x="683795" y="42770"/>
                </a:lnTo>
                <a:lnTo>
                  <a:pt x="674703" y="42770"/>
                </a:lnTo>
                <a:lnTo>
                  <a:pt x="662439" y="41877"/>
                </a:lnTo>
                <a:lnTo>
                  <a:pt x="647215" y="40997"/>
                </a:lnTo>
                <a:lnTo>
                  <a:pt x="628925" y="39212"/>
                </a:lnTo>
                <a:lnTo>
                  <a:pt x="609154" y="38319"/>
                </a:lnTo>
                <a:lnTo>
                  <a:pt x="586213" y="36534"/>
                </a:lnTo>
                <a:lnTo>
                  <a:pt x="561896" y="35642"/>
                </a:lnTo>
                <a:lnTo>
                  <a:pt x="535888" y="33856"/>
                </a:lnTo>
                <a:lnTo>
                  <a:pt x="508506" y="32084"/>
                </a:lnTo>
                <a:lnTo>
                  <a:pt x="479517" y="29406"/>
                </a:lnTo>
                <a:lnTo>
                  <a:pt x="449788" y="27621"/>
                </a:lnTo>
                <a:lnTo>
                  <a:pt x="419297" y="25835"/>
                </a:lnTo>
                <a:lnTo>
                  <a:pt x="388796" y="24063"/>
                </a:lnTo>
                <a:lnTo>
                  <a:pt x="357544" y="21385"/>
                </a:lnTo>
                <a:lnTo>
                  <a:pt x="326282" y="19600"/>
                </a:lnTo>
                <a:lnTo>
                  <a:pt x="295791" y="17827"/>
                </a:lnTo>
                <a:lnTo>
                  <a:pt x="265301" y="16042"/>
                </a:lnTo>
                <a:lnTo>
                  <a:pt x="235572" y="14256"/>
                </a:lnTo>
                <a:lnTo>
                  <a:pt x="206593" y="11579"/>
                </a:lnTo>
                <a:lnTo>
                  <a:pt x="179158" y="9806"/>
                </a:lnTo>
                <a:lnTo>
                  <a:pt x="153234" y="8021"/>
                </a:lnTo>
                <a:lnTo>
                  <a:pt x="128834" y="7128"/>
                </a:lnTo>
                <a:lnTo>
                  <a:pt x="106727" y="5343"/>
                </a:lnTo>
                <a:lnTo>
                  <a:pt x="86143" y="4450"/>
                </a:lnTo>
                <a:lnTo>
                  <a:pt x="68614" y="2665"/>
                </a:lnTo>
                <a:lnTo>
                  <a:pt x="53368" y="1785"/>
                </a:lnTo>
                <a:lnTo>
                  <a:pt x="41929" y="892"/>
                </a:lnTo>
                <a:lnTo>
                  <a:pt x="32784" y="892"/>
                </a:lnTo>
                <a:lnTo>
                  <a:pt x="26684" y="0"/>
                </a:lnTo>
                <a:lnTo>
                  <a:pt x="25162" y="0"/>
                </a:lnTo>
                <a:lnTo>
                  <a:pt x="41168" y="26728"/>
                </a:lnTo>
                <a:lnTo>
                  <a:pt x="48029" y="39212"/>
                </a:lnTo>
                <a:lnTo>
                  <a:pt x="55652" y="53469"/>
                </a:lnTo>
                <a:lnTo>
                  <a:pt x="62514" y="68618"/>
                </a:lnTo>
                <a:lnTo>
                  <a:pt x="67853" y="83768"/>
                </a:lnTo>
                <a:lnTo>
                  <a:pt x="72420" y="99810"/>
                </a:lnTo>
                <a:lnTo>
                  <a:pt x="75475" y="114959"/>
                </a:lnTo>
                <a:lnTo>
                  <a:pt x="75475" y="128323"/>
                </a:lnTo>
                <a:lnTo>
                  <a:pt x="73192" y="139022"/>
                </a:lnTo>
                <a:lnTo>
                  <a:pt x="70897" y="143473"/>
                </a:lnTo>
                <a:lnTo>
                  <a:pt x="64797" y="149721"/>
                </a:lnTo>
                <a:lnTo>
                  <a:pt x="60991" y="152386"/>
                </a:lnTo>
                <a:lnTo>
                  <a:pt x="55652" y="154171"/>
                </a:lnTo>
                <a:lnTo>
                  <a:pt x="50313" y="155957"/>
                </a:lnTo>
                <a:lnTo>
                  <a:pt x="44213" y="156849"/>
                </a:lnTo>
                <a:lnTo>
                  <a:pt x="37351" y="157729"/>
                </a:lnTo>
                <a:close/>
              </a:path>
            </a:pathLst>
          </a:custGeom>
          <a:solidFill>
            <a:srgbClr val="000000"/>
          </a:solidFill>
        </p:spPr>
        <p:txBody>
          <a:bodyPr wrap="square" lIns="0" tIns="0" rIns="0" bIns="0" rtlCol="0">
            <a:noAutofit/>
          </a:bodyPr>
          <a:lstStyle/>
          <a:p>
            <a:endParaRPr/>
          </a:p>
        </p:txBody>
      </p:sp>
      <p:sp>
        <p:nvSpPr>
          <p:cNvPr id="59" name="object 59"/>
          <p:cNvSpPr/>
          <p:nvPr/>
        </p:nvSpPr>
        <p:spPr>
          <a:xfrm>
            <a:off x="9256673" y="693178"/>
            <a:ext cx="744818" cy="266465"/>
          </a:xfrm>
          <a:custGeom>
            <a:avLst/>
            <a:gdLst/>
            <a:ahLst/>
            <a:cxnLst/>
            <a:rect l="l" t="t" r="r" b="b"/>
            <a:pathLst>
              <a:path w="744818" h="266465">
                <a:moveTo>
                  <a:pt x="3816" y="142592"/>
                </a:moveTo>
                <a:lnTo>
                  <a:pt x="0" y="145270"/>
                </a:lnTo>
                <a:lnTo>
                  <a:pt x="8383" y="150613"/>
                </a:lnTo>
                <a:lnTo>
                  <a:pt x="18300" y="156849"/>
                </a:lnTo>
                <a:lnTo>
                  <a:pt x="28968" y="163978"/>
                </a:lnTo>
                <a:lnTo>
                  <a:pt x="41168" y="171106"/>
                </a:lnTo>
                <a:lnTo>
                  <a:pt x="54130" y="178234"/>
                </a:lnTo>
                <a:lnTo>
                  <a:pt x="68614" y="185363"/>
                </a:lnTo>
                <a:lnTo>
                  <a:pt x="83859" y="193384"/>
                </a:lnTo>
                <a:lnTo>
                  <a:pt x="99865" y="201405"/>
                </a:lnTo>
                <a:lnTo>
                  <a:pt x="117405" y="208533"/>
                </a:lnTo>
                <a:lnTo>
                  <a:pt x="135706" y="215674"/>
                </a:lnTo>
                <a:lnTo>
                  <a:pt x="154757" y="223683"/>
                </a:lnTo>
                <a:lnTo>
                  <a:pt x="175341" y="229931"/>
                </a:lnTo>
                <a:lnTo>
                  <a:pt x="195925" y="237059"/>
                </a:lnTo>
                <a:lnTo>
                  <a:pt x="218032" y="243295"/>
                </a:lnTo>
                <a:lnTo>
                  <a:pt x="240900" y="248638"/>
                </a:lnTo>
                <a:lnTo>
                  <a:pt x="265301" y="253994"/>
                </a:lnTo>
                <a:lnTo>
                  <a:pt x="289691" y="257552"/>
                </a:lnTo>
                <a:lnTo>
                  <a:pt x="314853" y="261122"/>
                </a:lnTo>
                <a:lnTo>
                  <a:pt x="341538" y="263788"/>
                </a:lnTo>
                <a:lnTo>
                  <a:pt x="368222" y="265573"/>
                </a:lnTo>
                <a:lnTo>
                  <a:pt x="395657" y="266465"/>
                </a:lnTo>
                <a:lnTo>
                  <a:pt x="424583" y="266465"/>
                </a:lnTo>
                <a:lnTo>
                  <a:pt x="453551" y="264680"/>
                </a:lnTo>
                <a:lnTo>
                  <a:pt x="483365" y="262015"/>
                </a:lnTo>
                <a:lnTo>
                  <a:pt x="513813" y="257552"/>
                </a:lnTo>
                <a:lnTo>
                  <a:pt x="545107" y="252209"/>
                </a:lnTo>
                <a:lnTo>
                  <a:pt x="577142" y="245080"/>
                </a:lnTo>
                <a:lnTo>
                  <a:pt x="609916" y="236167"/>
                </a:lnTo>
                <a:lnTo>
                  <a:pt x="642690" y="225468"/>
                </a:lnTo>
                <a:lnTo>
                  <a:pt x="676204" y="213889"/>
                </a:lnTo>
                <a:lnTo>
                  <a:pt x="710564" y="199632"/>
                </a:lnTo>
                <a:lnTo>
                  <a:pt x="744818" y="183590"/>
                </a:lnTo>
                <a:lnTo>
                  <a:pt x="737206" y="177342"/>
                </a:lnTo>
                <a:lnTo>
                  <a:pt x="729594" y="169321"/>
                </a:lnTo>
                <a:lnTo>
                  <a:pt x="722722" y="161312"/>
                </a:lnTo>
                <a:lnTo>
                  <a:pt x="716590" y="151506"/>
                </a:lnTo>
                <a:lnTo>
                  <a:pt x="711304" y="139915"/>
                </a:lnTo>
                <a:lnTo>
                  <a:pt x="707498" y="128336"/>
                </a:lnTo>
                <a:lnTo>
                  <a:pt x="704432" y="114971"/>
                </a:lnTo>
                <a:lnTo>
                  <a:pt x="703692" y="100702"/>
                </a:lnTo>
                <a:lnTo>
                  <a:pt x="703692" y="96252"/>
                </a:lnTo>
                <a:lnTo>
                  <a:pt x="704432" y="90908"/>
                </a:lnTo>
                <a:lnTo>
                  <a:pt x="704432" y="86445"/>
                </a:lnTo>
                <a:lnTo>
                  <a:pt x="705172" y="81995"/>
                </a:lnTo>
                <a:lnTo>
                  <a:pt x="705912" y="79317"/>
                </a:lnTo>
                <a:lnTo>
                  <a:pt x="705912" y="73974"/>
                </a:lnTo>
                <a:lnTo>
                  <a:pt x="705172" y="67738"/>
                </a:lnTo>
                <a:lnTo>
                  <a:pt x="704432" y="62382"/>
                </a:lnTo>
                <a:lnTo>
                  <a:pt x="702106" y="58824"/>
                </a:lnTo>
                <a:lnTo>
                  <a:pt x="700626" y="56147"/>
                </a:lnTo>
                <a:lnTo>
                  <a:pt x="693014" y="49911"/>
                </a:lnTo>
                <a:lnTo>
                  <a:pt x="683816" y="44567"/>
                </a:lnTo>
                <a:lnTo>
                  <a:pt x="672398" y="41890"/>
                </a:lnTo>
                <a:lnTo>
                  <a:pt x="660980" y="39212"/>
                </a:lnTo>
                <a:lnTo>
                  <a:pt x="648716" y="38319"/>
                </a:lnTo>
                <a:lnTo>
                  <a:pt x="628206" y="38319"/>
                </a:lnTo>
                <a:lnTo>
                  <a:pt x="621334" y="39212"/>
                </a:lnTo>
                <a:lnTo>
                  <a:pt x="618268" y="40105"/>
                </a:lnTo>
                <a:lnTo>
                  <a:pt x="613722" y="40105"/>
                </a:lnTo>
                <a:lnTo>
                  <a:pt x="606110" y="39212"/>
                </a:lnTo>
                <a:lnTo>
                  <a:pt x="595432" y="38319"/>
                </a:lnTo>
                <a:lnTo>
                  <a:pt x="582428" y="37439"/>
                </a:lnTo>
                <a:lnTo>
                  <a:pt x="567204" y="36546"/>
                </a:lnTo>
                <a:lnTo>
                  <a:pt x="549654" y="35654"/>
                </a:lnTo>
                <a:lnTo>
                  <a:pt x="530623" y="33869"/>
                </a:lnTo>
                <a:lnTo>
                  <a:pt x="509267" y="32976"/>
                </a:lnTo>
                <a:lnTo>
                  <a:pt x="486431" y="31191"/>
                </a:lnTo>
                <a:lnTo>
                  <a:pt x="462749" y="29418"/>
                </a:lnTo>
                <a:lnTo>
                  <a:pt x="437587" y="28525"/>
                </a:lnTo>
                <a:lnTo>
                  <a:pt x="411685" y="26740"/>
                </a:lnTo>
                <a:lnTo>
                  <a:pt x="384990" y="24955"/>
                </a:lnTo>
                <a:lnTo>
                  <a:pt x="357544" y="23170"/>
                </a:lnTo>
                <a:lnTo>
                  <a:pt x="330099" y="21397"/>
                </a:lnTo>
                <a:lnTo>
                  <a:pt x="301892" y="19612"/>
                </a:lnTo>
                <a:lnTo>
                  <a:pt x="274446" y="17827"/>
                </a:lnTo>
                <a:lnTo>
                  <a:pt x="247000" y="16042"/>
                </a:lnTo>
                <a:lnTo>
                  <a:pt x="220326" y="14256"/>
                </a:lnTo>
                <a:lnTo>
                  <a:pt x="193642" y="12483"/>
                </a:lnTo>
                <a:lnTo>
                  <a:pt x="168480" y="10698"/>
                </a:lnTo>
                <a:lnTo>
                  <a:pt x="144089" y="8913"/>
                </a:lnTo>
                <a:lnTo>
                  <a:pt x="120450" y="7128"/>
                </a:lnTo>
                <a:lnTo>
                  <a:pt x="99104" y="6248"/>
                </a:lnTo>
                <a:lnTo>
                  <a:pt x="78520" y="4462"/>
                </a:lnTo>
                <a:lnTo>
                  <a:pt x="60991" y="3570"/>
                </a:lnTo>
                <a:lnTo>
                  <a:pt x="44223" y="2677"/>
                </a:lnTo>
                <a:lnTo>
                  <a:pt x="30501" y="1785"/>
                </a:lnTo>
                <a:lnTo>
                  <a:pt x="19061" y="892"/>
                </a:lnTo>
                <a:lnTo>
                  <a:pt x="10678" y="0"/>
                </a:lnTo>
                <a:lnTo>
                  <a:pt x="4577" y="0"/>
                </a:lnTo>
                <a:lnTo>
                  <a:pt x="9155" y="8913"/>
                </a:lnTo>
                <a:lnTo>
                  <a:pt x="13722" y="19612"/>
                </a:lnTo>
                <a:lnTo>
                  <a:pt x="18300" y="30298"/>
                </a:lnTo>
                <a:lnTo>
                  <a:pt x="22106" y="41890"/>
                </a:lnTo>
                <a:lnTo>
                  <a:pt x="25162" y="53469"/>
                </a:lnTo>
                <a:lnTo>
                  <a:pt x="28206" y="65060"/>
                </a:lnTo>
                <a:lnTo>
                  <a:pt x="29739" y="77532"/>
                </a:lnTo>
                <a:lnTo>
                  <a:pt x="30501" y="89123"/>
                </a:lnTo>
                <a:lnTo>
                  <a:pt x="30501" y="96252"/>
                </a:lnTo>
                <a:lnTo>
                  <a:pt x="28968" y="104273"/>
                </a:lnTo>
                <a:lnTo>
                  <a:pt x="27445" y="111401"/>
                </a:lnTo>
                <a:lnTo>
                  <a:pt x="25162" y="118529"/>
                </a:lnTo>
                <a:lnTo>
                  <a:pt x="22878" y="122980"/>
                </a:lnTo>
                <a:lnTo>
                  <a:pt x="20584" y="126550"/>
                </a:lnTo>
                <a:lnTo>
                  <a:pt x="18300" y="130121"/>
                </a:lnTo>
                <a:lnTo>
                  <a:pt x="15245" y="133679"/>
                </a:lnTo>
                <a:lnTo>
                  <a:pt x="11439" y="137249"/>
                </a:lnTo>
                <a:lnTo>
                  <a:pt x="8383" y="139915"/>
                </a:lnTo>
                <a:lnTo>
                  <a:pt x="3816" y="142592"/>
                </a:lnTo>
                <a:close/>
              </a:path>
            </a:pathLst>
          </a:custGeom>
          <a:solidFill>
            <a:srgbClr val="F1BE48"/>
          </a:solidFill>
        </p:spPr>
        <p:txBody>
          <a:bodyPr wrap="square" lIns="0" tIns="0" rIns="0" bIns="0" rtlCol="0">
            <a:noAutofit/>
          </a:bodyPr>
          <a:lstStyle/>
          <a:p>
            <a:endParaRPr/>
          </a:p>
        </p:txBody>
      </p:sp>
      <p:sp>
        <p:nvSpPr>
          <p:cNvPr id="60" name="object 60"/>
          <p:cNvSpPr/>
          <p:nvPr/>
        </p:nvSpPr>
        <p:spPr>
          <a:xfrm>
            <a:off x="9215505" y="374110"/>
            <a:ext cx="859887" cy="514236"/>
          </a:xfrm>
          <a:custGeom>
            <a:avLst/>
            <a:gdLst/>
            <a:ahLst/>
            <a:cxnLst/>
            <a:rect l="l" t="t" r="r" b="b"/>
            <a:pathLst>
              <a:path w="859887" h="514236">
                <a:moveTo>
                  <a:pt x="771" y="244212"/>
                </a:moveTo>
                <a:lnTo>
                  <a:pt x="0" y="262040"/>
                </a:lnTo>
                <a:lnTo>
                  <a:pt x="1532" y="279854"/>
                </a:lnTo>
                <a:lnTo>
                  <a:pt x="4577" y="297682"/>
                </a:lnTo>
                <a:lnTo>
                  <a:pt x="9155" y="314616"/>
                </a:lnTo>
                <a:lnTo>
                  <a:pt x="15255" y="331551"/>
                </a:lnTo>
                <a:lnTo>
                  <a:pt x="22878" y="348485"/>
                </a:lnTo>
                <a:lnTo>
                  <a:pt x="30501" y="361850"/>
                </a:lnTo>
                <a:lnTo>
                  <a:pt x="39646" y="375214"/>
                </a:lnTo>
                <a:lnTo>
                  <a:pt x="49552" y="388578"/>
                </a:lnTo>
                <a:lnTo>
                  <a:pt x="60230" y="400169"/>
                </a:lnTo>
                <a:lnTo>
                  <a:pt x="71669" y="412641"/>
                </a:lnTo>
                <a:lnTo>
                  <a:pt x="83859" y="423340"/>
                </a:lnTo>
                <a:lnTo>
                  <a:pt x="97582" y="434039"/>
                </a:lnTo>
                <a:lnTo>
                  <a:pt x="111305" y="444725"/>
                </a:lnTo>
                <a:lnTo>
                  <a:pt x="125789" y="453639"/>
                </a:lnTo>
                <a:lnTo>
                  <a:pt x="141806" y="462552"/>
                </a:lnTo>
                <a:lnTo>
                  <a:pt x="157812" y="471466"/>
                </a:lnTo>
                <a:lnTo>
                  <a:pt x="174580" y="478594"/>
                </a:lnTo>
                <a:lnTo>
                  <a:pt x="191358" y="485723"/>
                </a:lnTo>
                <a:lnTo>
                  <a:pt x="209648" y="491958"/>
                </a:lnTo>
                <a:lnTo>
                  <a:pt x="227949" y="497302"/>
                </a:lnTo>
                <a:lnTo>
                  <a:pt x="246239" y="501765"/>
                </a:lnTo>
                <a:lnTo>
                  <a:pt x="273685" y="507108"/>
                </a:lnTo>
                <a:lnTo>
                  <a:pt x="301892" y="510678"/>
                </a:lnTo>
                <a:lnTo>
                  <a:pt x="329337" y="513344"/>
                </a:lnTo>
                <a:lnTo>
                  <a:pt x="356022" y="514236"/>
                </a:lnTo>
                <a:lnTo>
                  <a:pt x="383468" y="513344"/>
                </a:lnTo>
                <a:lnTo>
                  <a:pt x="410152" y="510678"/>
                </a:lnTo>
                <a:lnTo>
                  <a:pt x="436826" y="507108"/>
                </a:lnTo>
                <a:lnTo>
                  <a:pt x="464272" y="501765"/>
                </a:lnTo>
                <a:lnTo>
                  <a:pt x="490174" y="494636"/>
                </a:lnTo>
                <a:lnTo>
                  <a:pt x="516922" y="486615"/>
                </a:lnTo>
                <a:lnTo>
                  <a:pt x="543564" y="476809"/>
                </a:lnTo>
                <a:lnTo>
                  <a:pt x="569466" y="465218"/>
                </a:lnTo>
                <a:lnTo>
                  <a:pt x="596214" y="451853"/>
                </a:lnTo>
                <a:lnTo>
                  <a:pt x="622116" y="437597"/>
                </a:lnTo>
                <a:lnTo>
                  <a:pt x="648758" y="421555"/>
                </a:lnTo>
                <a:lnTo>
                  <a:pt x="674660" y="403727"/>
                </a:lnTo>
                <a:lnTo>
                  <a:pt x="680792" y="405513"/>
                </a:lnTo>
                <a:lnTo>
                  <a:pt x="693691" y="407298"/>
                </a:lnTo>
                <a:lnTo>
                  <a:pt x="709761" y="410856"/>
                </a:lnTo>
                <a:lnTo>
                  <a:pt x="727311" y="414426"/>
                </a:lnTo>
                <a:lnTo>
                  <a:pt x="744861" y="417997"/>
                </a:lnTo>
                <a:lnTo>
                  <a:pt x="759345" y="420662"/>
                </a:lnTo>
                <a:lnTo>
                  <a:pt x="770023" y="422447"/>
                </a:lnTo>
                <a:lnTo>
                  <a:pt x="773829" y="423340"/>
                </a:lnTo>
                <a:lnTo>
                  <a:pt x="788313" y="424232"/>
                </a:lnTo>
                <a:lnTo>
                  <a:pt x="801951" y="423340"/>
                </a:lnTo>
                <a:lnTo>
                  <a:pt x="814955" y="418877"/>
                </a:lnTo>
                <a:lnTo>
                  <a:pt x="827113" y="412641"/>
                </a:lnTo>
                <a:lnTo>
                  <a:pt x="837791" y="404620"/>
                </a:lnTo>
                <a:lnTo>
                  <a:pt x="846989" y="393934"/>
                </a:lnTo>
                <a:lnTo>
                  <a:pt x="853861" y="382342"/>
                </a:lnTo>
                <a:lnTo>
                  <a:pt x="858407" y="368978"/>
                </a:lnTo>
                <a:lnTo>
                  <a:pt x="859147" y="364515"/>
                </a:lnTo>
                <a:lnTo>
                  <a:pt x="859147" y="360957"/>
                </a:lnTo>
                <a:lnTo>
                  <a:pt x="859887" y="356506"/>
                </a:lnTo>
                <a:lnTo>
                  <a:pt x="859887" y="352936"/>
                </a:lnTo>
                <a:lnTo>
                  <a:pt x="859147" y="344915"/>
                </a:lnTo>
                <a:lnTo>
                  <a:pt x="858407" y="336894"/>
                </a:lnTo>
                <a:lnTo>
                  <a:pt x="856081" y="328873"/>
                </a:lnTo>
                <a:lnTo>
                  <a:pt x="852275" y="321745"/>
                </a:lnTo>
                <a:lnTo>
                  <a:pt x="848469" y="315509"/>
                </a:lnTo>
                <a:lnTo>
                  <a:pt x="844663" y="310153"/>
                </a:lnTo>
                <a:lnTo>
                  <a:pt x="840117" y="304810"/>
                </a:lnTo>
                <a:lnTo>
                  <a:pt x="834725" y="300359"/>
                </a:lnTo>
                <a:lnTo>
                  <a:pt x="828699" y="295896"/>
                </a:lnTo>
                <a:lnTo>
                  <a:pt x="822567" y="292338"/>
                </a:lnTo>
                <a:lnTo>
                  <a:pt x="815695" y="289661"/>
                </a:lnTo>
                <a:lnTo>
                  <a:pt x="808823" y="287875"/>
                </a:lnTo>
                <a:lnTo>
                  <a:pt x="808083" y="286103"/>
                </a:lnTo>
                <a:lnTo>
                  <a:pt x="804277" y="285210"/>
                </a:lnTo>
                <a:lnTo>
                  <a:pt x="795185" y="283425"/>
                </a:lnTo>
                <a:lnTo>
                  <a:pt x="781441" y="281640"/>
                </a:lnTo>
                <a:lnTo>
                  <a:pt x="765371" y="278974"/>
                </a:lnTo>
                <a:lnTo>
                  <a:pt x="747821" y="275404"/>
                </a:lnTo>
                <a:lnTo>
                  <a:pt x="731857" y="272726"/>
                </a:lnTo>
                <a:lnTo>
                  <a:pt x="718853" y="270953"/>
                </a:lnTo>
                <a:lnTo>
                  <a:pt x="710501" y="269168"/>
                </a:lnTo>
                <a:lnTo>
                  <a:pt x="706695" y="245105"/>
                </a:lnTo>
                <a:lnTo>
                  <a:pt x="700563" y="221935"/>
                </a:lnTo>
                <a:lnTo>
                  <a:pt x="692211" y="198727"/>
                </a:lnTo>
                <a:lnTo>
                  <a:pt x="681532" y="177404"/>
                </a:lnTo>
                <a:lnTo>
                  <a:pt x="668634" y="155957"/>
                </a:lnTo>
                <a:lnTo>
                  <a:pt x="653304" y="135501"/>
                </a:lnTo>
                <a:lnTo>
                  <a:pt x="635754" y="115913"/>
                </a:lnTo>
                <a:lnTo>
                  <a:pt x="616724" y="98061"/>
                </a:lnTo>
                <a:lnTo>
                  <a:pt x="595368" y="81077"/>
                </a:lnTo>
                <a:lnTo>
                  <a:pt x="573272" y="65953"/>
                </a:lnTo>
                <a:lnTo>
                  <a:pt x="548850" y="51696"/>
                </a:lnTo>
                <a:lnTo>
                  <a:pt x="522948" y="39299"/>
                </a:lnTo>
                <a:lnTo>
                  <a:pt x="495566" y="27645"/>
                </a:lnTo>
                <a:lnTo>
                  <a:pt x="467338" y="18719"/>
                </a:lnTo>
                <a:lnTo>
                  <a:pt x="437598" y="10785"/>
                </a:lnTo>
                <a:lnTo>
                  <a:pt x="406335" y="5330"/>
                </a:lnTo>
                <a:lnTo>
                  <a:pt x="371267" y="1859"/>
                </a:lnTo>
                <a:lnTo>
                  <a:pt x="336199" y="0"/>
                </a:lnTo>
                <a:lnTo>
                  <a:pt x="302653" y="867"/>
                </a:lnTo>
                <a:lnTo>
                  <a:pt x="269879" y="5330"/>
                </a:lnTo>
                <a:lnTo>
                  <a:pt x="237094" y="10785"/>
                </a:lnTo>
                <a:lnTo>
                  <a:pt x="206603" y="19587"/>
                </a:lnTo>
                <a:lnTo>
                  <a:pt x="176874" y="30373"/>
                </a:lnTo>
                <a:lnTo>
                  <a:pt x="149428" y="42770"/>
                </a:lnTo>
                <a:lnTo>
                  <a:pt x="123505" y="57027"/>
                </a:lnTo>
                <a:lnTo>
                  <a:pt x="99115" y="74011"/>
                </a:lnTo>
                <a:lnTo>
                  <a:pt x="77759" y="91863"/>
                </a:lnTo>
                <a:lnTo>
                  <a:pt x="57946" y="112318"/>
                </a:lnTo>
                <a:lnTo>
                  <a:pt x="41168" y="133765"/>
                </a:lnTo>
                <a:lnTo>
                  <a:pt x="26684" y="156824"/>
                </a:lnTo>
                <a:lnTo>
                  <a:pt x="15255" y="181867"/>
                </a:lnTo>
                <a:lnTo>
                  <a:pt x="6861" y="207653"/>
                </a:lnTo>
                <a:lnTo>
                  <a:pt x="3055" y="225493"/>
                </a:lnTo>
                <a:lnTo>
                  <a:pt x="771" y="244212"/>
                </a:lnTo>
                <a:close/>
              </a:path>
            </a:pathLst>
          </a:custGeom>
          <a:solidFill>
            <a:srgbClr val="000000"/>
          </a:solidFill>
        </p:spPr>
        <p:txBody>
          <a:bodyPr wrap="square" lIns="0" tIns="0" rIns="0" bIns="0" rtlCol="0">
            <a:noAutofit/>
          </a:bodyPr>
          <a:lstStyle/>
          <a:p>
            <a:endParaRPr/>
          </a:p>
        </p:txBody>
      </p:sp>
      <p:sp>
        <p:nvSpPr>
          <p:cNvPr id="61" name="object 61"/>
          <p:cNvSpPr/>
          <p:nvPr/>
        </p:nvSpPr>
        <p:spPr>
          <a:xfrm>
            <a:off x="9242190" y="405351"/>
            <a:ext cx="807301" cy="451804"/>
          </a:xfrm>
          <a:custGeom>
            <a:avLst/>
            <a:gdLst/>
            <a:ahLst/>
            <a:cxnLst/>
            <a:rect l="l" t="t" r="r" b="b"/>
            <a:pathLst>
              <a:path w="807301" h="451804">
                <a:moveTo>
                  <a:pt x="761" y="244163"/>
                </a:moveTo>
                <a:lnTo>
                  <a:pt x="3055" y="259312"/>
                </a:lnTo>
                <a:lnTo>
                  <a:pt x="6861" y="273569"/>
                </a:lnTo>
                <a:lnTo>
                  <a:pt x="12200" y="286933"/>
                </a:lnTo>
                <a:lnTo>
                  <a:pt x="19061" y="301202"/>
                </a:lnTo>
                <a:lnTo>
                  <a:pt x="25923" y="313674"/>
                </a:lnTo>
                <a:lnTo>
                  <a:pt x="33545" y="325265"/>
                </a:lnTo>
                <a:lnTo>
                  <a:pt x="42690" y="336844"/>
                </a:lnTo>
                <a:lnTo>
                  <a:pt x="52607" y="347543"/>
                </a:lnTo>
                <a:lnTo>
                  <a:pt x="63275" y="358230"/>
                </a:lnTo>
                <a:lnTo>
                  <a:pt x="74714" y="368036"/>
                </a:lnTo>
                <a:lnTo>
                  <a:pt x="86914" y="377842"/>
                </a:lnTo>
                <a:lnTo>
                  <a:pt x="99865" y="387636"/>
                </a:lnTo>
                <a:lnTo>
                  <a:pt x="113588" y="396549"/>
                </a:lnTo>
                <a:lnTo>
                  <a:pt x="127311" y="404570"/>
                </a:lnTo>
                <a:lnTo>
                  <a:pt x="142556" y="411699"/>
                </a:lnTo>
                <a:lnTo>
                  <a:pt x="157812" y="418827"/>
                </a:lnTo>
                <a:lnTo>
                  <a:pt x="173819" y="425075"/>
                </a:lnTo>
                <a:lnTo>
                  <a:pt x="190586" y="431311"/>
                </a:lnTo>
                <a:lnTo>
                  <a:pt x="207365" y="435762"/>
                </a:lnTo>
                <a:lnTo>
                  <a:pt x="224132" y="440225"/>
                </a:lnTo>
                <a:lnTo>
                  <a:pt x="250817" y="445568"/>
                </a:lnTo>
                <a:lnTo>
                  <a:pt x="277501" y="449138"/>
                </a:lnTo>
                <a:lnTo>
                  <a:pt x="304175" y="450911"/>
                </a:lnTo>
                <a:lnTo>
                  <a:pt x="330860" y="451804"/>
                </a:lnTo>
                <a:lnTo>
                  <a:pt x="356783" y="450911"/>
                </a:lnTo>
                <a:lnTo>
                  <a:pt x="382706" y="449138"/>
                </a:lnTo>
                <a:lnTo>
                  <a:pt x="408619" y="444675"/>
                </a:lnTo>
                <a:lnTo>
                  <a:pt x="434521" y="440225"/>
                </a:lnTo>
                <a:lnTo>
                  <a:pt x="460423" y="433096"/>
                </a:lnTo>
                <a:lnTo>
                  <a:pt x="485585" y="425075"/>
                </a:lnTo>
                <a:lnTo>
                  <a:pt x="511488" y="415269"/>
                </a:lnTo>
                <a:lnTo>
                  <a:pt x="536650" y="403678"/>
                </a:lnTo>
                <a:lnTo>
                  <a:pt x="562658" y="391206"/>
                </a:lnTo>
                <a:lnTo>
                  <a:pt x="587820" y="376949"/>
                </a:lnTo>
                <a:lnTo>
                  <a:pt x="613722" y="360907"/>
                </a:lnTo>
                <a:lnTo>
                  <a:pt x="638884" y="343973"/>
                </a:lnTo>
                <a:lnTo>
                  <a:pt x="642690" y="340415"/>
                </a:lnTo>
                <a:lnTo>
                  <a:pt x="717330" y="355564"/>
                </a:lnTo>
                <a:lnTo>
                  <a:pt x="718916" y="355564"/>
                </a:lnTo>
                <a:lnTo>
                  <a:pt x="722722" y="356444"/>
                </a:lnTo>
                <a:lnTo>
                  <a:pt x="728008" y="357337"/>
                </a:lnTo>
                <a:lnTo>
                  <a:pt x="734140" y="358230"/>
                </a:lnTo>
                <a:lnTo>
                  <a:pt x="740272" y="360015"/>
                </a:lnTo>
                <a:lnTo>
                  <a:pt x="745558" y="360907"/>
                </a:lnTo>
                <a:lnTo>
                  <a:pt x="749364" y="361800"/>
                </a:lnTo>
                <a:lnTo>
                  <a:pt x="750950" y="361800"/>
                </a:lnTo>
                <a:lnTo>
                  <a:pt x="760042" y="362693"/>
                </a:lnTo>
                <a:lnTo>
                  <a:pt x="769240" y="361800"/>
                </a:lnTo>
                <a:lnTo>
                  <a:pt x="777592" y="359122"/>
                </a:lnTo>
                <a:lnTo>
                  <a:pt x="785205" y="355564"/>
                </a:lnTo>
                <a:lnTo>
                  <a:pt x="792817" y="351101"/>
                </a:lnTo>
                <a:lnTo>
                  <a:pt x="798208" y="344865"/>
                </a:lnTo>
                <a:lnTo>
                  <a:pt x="802755" y="337737"/>
                </a:lnTo>
                <a:lnTo>
                  <a:pt x="805820" y="329716"/>
                </a:lnTo>
                <a:lnTo>
                  <a:pt x="807301" y="323480"/>
                </a:lnTo>
                <a:lnTo>
                  <a:pt x="807301" y="318125"/>
                </a:lnTo>
                <a:lnTo>
                  <a:pt x="805820" y="311889"/>
                </a:lnTo>
                <a:lnTo>
                  <a:pt x="803495" y="306546"/>
                </a:lnTo>
                <a:lnTo>
                  <a:pt x="801274" y="302975"/>
                </a:lnTo>
                <a:lnTo>
                  <a:pt x="798948" y="299417"/>
                </a:lnTo>
                <a:lnTo>
                  <a:pt x="795883" y="296739"/>
                </a:lnTo>
                <a:lnTo>
                  <a:pt x="792076" y="294074"/>
                </a:lnTo>
                <a:lnTo>
                  <a:pt x="789011" y="291396"/>
                </a:lnTo>
                <a:lnTo>
                  <a:pt x="784464" y="289611"/>
                </a:lnTo>
                <a:lnTo>
                  <a:pt x="780658" y="287826"/>
                </a:lnTo>
                <a:lnTo>
                  <a:pt x="776112" y="286053"/>
                </a:lnTo>
                <a:lnTo>
                  <a:pt x="777592" y="285160"/>
                </a:lnTo>
                <a:lnTo>
                  <a:pt x="659394" y="264655"/>
                </a:lnTo>
                <a:lnTo>
                  <a:pt x="659394" y="252184"/>
                </a:lnTo>
                <a:lnTo>
                  <a:pt x="657174" y="229906"/>
                </a:lnTo>
                <a:lnTo>
                  <a:pt x="645756" y="187123"/>
                </a:lnTo>
                <a:lnTo>
                  <a:pt x="635818" y="166618"/>
                </a:lnTo>
                <a:lnTo>
                  <a:pt x="624400" y="147031"/>
                </a:lnTo>
                <a:lnTo>
                  <a:pt x="610656" y="127443"/>
                </a:lnTo>
                <a:lnTo>
                  <a:pt x="594586" y="109591"/>
                </a:lnTo>
                <a:lnTo>
                  <a:pt x="576296" y="92607"/>
                </a:lnTo>
                <a:lnTo>
                  <a:pt x="556526" y="76614"/>
                </a:lnTo>
                <a:lnTo>
                  <a:pt x="535170" y="61490"/>
                </a:lnTo>
                <a:lnTo>
                  <a:pt x="512333" y="48101"/>
                </a:lnTo>
                <a:lnTo>
                  <a:pt x="487171" y="36571"/>
                </a:lnTo>
                <a:lnTo>
                  <a:pt x="461269" y="25786"/>
                </a:lnTo>
                <a:lnTo>
                  <a:pt x="433781" y="16860"/>
                </a:lnTo>
                <a:lnTo>
                  <a:pt x="405574" y="9793"/>
                </a:lnTo>
                <a:lnTo>
                  <a:pt x="375845" y="4462"/>
                </a:lnTo>
                <a:lnTo>
                  <a:pt x="343821" y="867"/>
                </a:lnTo>
                <a:lnTo>
                  <a:pt x="311798" y="0"/>
                </a:lnTo>
                <a:lnTo>
                  <a:pt x="279785" y="867"/>
                </a:lnTo>
                <a:lnTo>
                  <a:pt x="249294" y="4462"/>
                </a:lnTo>
                <a:lnTo>
                  <a:pt x="219555" y="9793"/>
                </a:lnTo>
                <a:lnTo>
                  <a:pt x="191348" y="16860"/>
                </a:lnTo>
                <a:lnTo>
                  <a:pt x="163902" y="26777"/>
                </a:lnTo>
                <a:lnTo>
                  <a:pt x="137989" y="38307"/>
                </a:lnTo>
                <a:lnTo>
                  <a:pt x="113588" y="51696"/>
                </a:lnTo>
                <a:lnTo>
                  <a:pt x="90720" y="65953"/>
                </a:lnTo>
                <a:lnTo>
                  <a:pt x="70897" y="82813"/>
                </a:lnTo>
                <a:lnTo>
                  <a:pt x="52607" y="100665"/>
                </a:lnTo>
                <a:lnTo>
                  <a:pt x="36590" y="119385"/>
                </a:lnTo>
                <a:lnTo>
                  <a:pt x="23639" y="140832"/>
                </a:lnTo>
                <a:lnTo>
                  <a:pt x="12961" y="162155"/>
                </a:lnTo>
                <a:lnTo>
                  <a:pt x="5339" y="185350"/>
                </a:lnTo>
                <a:lnTo>
                  <a:pt x="0" y="215649"/>
                </a:lnTo>
                <a:lnTo>
                  <a:pt x="0" y="229906"/>
                </a:lnTo>
                <a:lnTo>
                  <a:pt x="761" y="244163"/>
                </a:lnTo>
                <a:close/>
              </a:path>
            </a:pathLst>
          </a:custGeom>
          <a:solidFill>
            <a:srgbClr val="F1BEB1"/>
          </a:solidFill>
        </p:spPr>
        <p:txBody>
          <a:bodyPr wrap="square" lIns="0" tIns="0" rIns="0" bIns="0" rtlCol="0">
            <a:noAutofit/>
          </a:bodyPr>
          <a:lstStyle/>
          <a:p>
            <a:endParaRPr/>
          </a:p>
        </p:txBody>
      </p:sp>
      <p:sp>
        <p:nvSpPr>
          <p:cNvPr id="62" name="object 62"/>
          <p:cNvSpPr/>
          <p:nvPr/>
        </p:nvSpPr>
        <p:spPr>
          <a:xfrm>
            <a:off x="9913107" y="713683"/>
            <a:ext cx="96736" cy="41877"/>
          </a:xfrm>
          <a:custGeom>
            <a:avLst/>
            <a:gdLst/>
            <a:ahLst/>
            <a:cxnLst/>
            <a:rect l="l" t="t" r="r" b="b"/>
            <a:pathLst>
              <a:path w="96736" h="41877">
                <a:moveTo>
                  <a:pt x="47258" y="34749"/>
                </a:moveTo>
                <a:lnTo>
                  <a:pt x="47258" y="32084"/>
                </a:lnTo>
                <a:lnTo>
                  <a:pt x="44932" y="29406"/>
                </a:lnTo>
                <a:lnTo>
                  <a:pt x="43452" y="26728"/>
                </a:lnTo>
                <a:lnTo>
                  <a:pt x="41126" y="25835"/>
                </a:lnTo>
                <a:lnTo>
                  <a:pt x="38800" y="23170"/>
                </a:lnTo>
                <a:lnTo>
                  <a:pt x="36580" y="21385"/>
                </a:lnTo>
                <a:lnTo>
                  <a:pt x="45672" y="23170"/>
                </a:lnTo>
                <a:lnTo>
                  <a:pt x="54870" y="25835"/>
                </a:lnTo>
                <a:lnTo>
                  <a:pt x="63962" y="27621"/>
                </a:lnTo>
                <a:lnTo>
                  <a:pt x="72420" y="29406"/>
                </a:lnTo>
                <a:lnTo>
                  <a:pt x="79186" y="30298"/>
                </a:lnTo>
                <a:lnTo>
                  <a:pt x="84578" y="32084"/>
                </a:lnTo>
                <a:lnTo>
                  <a:pt x="92190" y="32964"/>
                </a:lnTo>
                <a:lnTo>
                  <a:pt x="95996" y="29406"/>
                </a:lnTo>
                <a:lnTo>
                  <a:pt x="96736" y="26728"/>
                </a:lnTo>
                <a:lnTo>
                  <a:pt x="96736" y="23170"/>
                </a:lnTo>
                <a:lnTo>
                  <a:pt x="95996" y="20492"/>
                </a:lnTo>
                <a:lnTo>
                  <a:pt x="93670" y="18707"/>
                </a:lnTo>
                <a:lnTo>
                  <a:pt x="91450" y="17814"/>
                </a:lnTo>
                <a:lnTo>
                  <a:pt x="7612" y="0"/>
                </a:lnTo>
                <a:lnTo>
                  <a:pt x="5286" y="0"/>
                </a:lnTo>
                <a:lnTo>
                  <a:pt x="2960" y="892"/>
                </a:lnTo>
                <a:lnTo>
                  <a:pt x="1480" y="1772"/>
                </a:lnTo>
                <a:lnTo>
                  <a:pt x="740" y="4450"/>
                </a:lnTo>
                <a:lnTo>
                  <a:pt x="0" y="7128"/>
                </a:lnTo>
                <a:lnTo>
                  <a:pt x="0" y="9793"/>
                </a:lnTo>
                <a:lnTo>
                  <a:pt x="1480" y="12471"/>
                </a:lnTo>
                <a:lnTo>
                  <a:pt x="2960" y="14256"/>
                </a:lnTo>
                <a:lnTo>
                  <a:pt x="36580" y="40985"/>
                </a:lnTo>
                <a:lnTo>
                  <a:pt x="38800" y="41877"/>
                </a:lnTo>
                <a:lnTo>
                  <a:pt x="41866" y="41877"/>
                </a:lnTo>
                <a:lnTo>
                  <a:pt x="44192" y="40105"/>
                </a:lnTo>
                <a:lnTo>
                  <a:pt x="46412" y="37427"/>
                </a:lnTo>
                <a:lnTo>
                  <a:pt x="47258" y="34749"/>
                </a:lnTo>
                <a:close/>
              </a:path>
            </a:pathLst>
          </a:custGeom>
          <a:solidFill>
            <a:srgbClr val="000000"/>
          </a:solidFill>
        </p:spPr>
        <p:txBody>
          <a:bodyPr wrap="square" lIns="0" tIns="0" rIns="0" bIns="0" rtlCol="0">
            <a:noAutofit/>
          </a:bodyPr>
          <a:lstStyle/>
          <a:p>
            <a:endParaRPr/>
          </a:p>
        </p:txBody>
      </p:sp>
      <p:sp>
        <p:nvSpPr>
          <p:cNvPr id="63" name="object 63"/>
          <p:cNvSpPr/>
          <p:nvPr/>
        </p:nvSpPr>
        <p:spPr>
          <a:xfrm>
            <a:off x="9166724" y="226211"/>
            <a:ext cx="867542" cy="466966"/>
          </a:xfrm>
          <a:custGeom>
            <a:avLst/>
            <a:gdLst/>
            <a:ahLst/>
            <a:cxnLst/>
            <a:rect l="l" t="t" r="r" b="b"/>
            <a:pathLst>
              <a:path w="867542" h="466966">
                <a:moveTo>
                  <a:pt x="3806" y="245093"/>
                </a:moveTo>
                <a:lnTo>
                  <a:pt x="761" y="265548"/>
                </a:lnTo>
                <a:lnTo>
                  <a:pt x="0" y="303855"/>
                </a:lnTo>
                <a:lnTo>
                  <a:pt x="5328" y="341295"/>
                </a:lnTo>
                <a:lnTo>
                  <a:pt x="13712" y="374284"/>
                </a:lnTo>
                <a:lnTo>
                  <a:pt x="25151" y="404583"/>
                </a:lnTo>
                <a:lnTo>
                  <a:pt x="36590" y="429538"/>
                </a:lnTo>
                <a:lnTo>
                  <a:pt x="47258" y="449151"/>
                </a:lnTo>
                <a:lnTo>
                  <a:pt x="55642" y="461622"/>
                </a:lnTo>
                <a:lnTo>
                  <a:pt x="59458" y="466966"/>
                </a:lnTo>
                <a:lnTo>
                  <a:pt x="80804" y="449151"/>
                </a:lnTo>
                <a:lnTo>
                  <a:pt x="75465" y="437559"/>
                </a:lnTo>
                <a:lnTo>
                  <a:pt x="72420" y="426873"/>
                </a:lnTo>
                <a:lnTo>
                  <a:pt x="70126" y="416174"/>
                </a:lnTo>
                <a:lnTo>
                  <a:pt x="69364" y="406368"/>
                </a:lnTo>
                <a:lnTo>
                  <a:pt x="70126" y="399240"/>
                </a:lnTo>
                <a:lnTo>
                  <a:pt x="70897" y="392111"/>
                </a:lnTo>
                <a:lnTo>
                  <a:pt x="73181" y="385875"/>
                </a:lnTo>
                <a:lnTo>
                  <a:pt x="75465" y="379640"/>
                </a:lnTo>
                <a:lnTo>
                  <a:pt x="81565" y="368048"/>
                </a:lnTo>
                <a:lnTo>
                  <a:pt x="89949" y="357411"/>
                </a:lnTo>
                <a:lnTo>
                  <a:pt x="100627" y="347494"/>
                </a:lnTo>
                <a:lnTo>
                  <a:pt x="112055" y="338692"/>
                </a:lnTo>
                <a:lnTo>
                  <a:pt x="125778" y="329766"/>
                </a:lnTo>
                <a:lnTo>
                  <a:pt x="139501" y="322575"/>
                </a:lnTo>
                <a:lnTo>
                  <a:pt x="154746" y="315509"/>
                </a:lnTo>
                <a:lnTo>
                  <a:pt x="170002" y="309186"/>
                </a:lnTo>
                <a:lnTo>
                  <a:pt x="185247" y="303855"/>
                </a:lnTo>
                <a:lnTo>
                  <a:pt x="201254" y="298525"/>
                </a:lnTo>
                <a:lnTo>
                  <a:pt x="216499" y="294062"/>
                </a:lnTo>
                <a:lnTo>
                  <a:pt x="231744" y="290466"/>
                </a:lnTo>
                <a:lnTo>
                  <a:pt x="246228" y="287863"/>
                </a:lnTo>
                <a:lnTo>
                  <a:pt x="259190" y="285136"/>
                </a:lnTo>
                <a:lnTo>
                  <a:pt x="271391" y="283400"/>
                </a:lnTo>
                <a:lnTo>
                  <a:pt x="282069" y="281664"/>
                </a:lnTo>
                <a:lnTo>
                  <a:pt x="309504" y="301252"/>
                </a:lnTo>
                <a:lnTo>
                  <a:pt x="340766" y="319972"/>
                </a:lnTo>
                <a:lnTo>
                  <a:pt x="374312" y="336832"/>
                </a:lnTo>
                <a:lnTo>
                  <a:pt x="410141" y="352948"/>
                </a:lnTo>
                <a:lnTo>
                  <a:pt x="447493" y="368048"/>
                </a:lnTo>
                <a:lnTo>
                  <a:pt x="485607" y="381412"/>
                </a:lnTo>
                <a:lnTo>
                  <a:pt x="522990" y="393004"/>
                </a:lnTo>
                <a:lnTo>
                  <a:pt x="560310" y="403703"/>
                </a:lnTo>
                <a:lnTo>
                  <a:pt x="596151" y="413496"/>
                </a:lnTo>
                <a:lnTo>
                  <a:pt x="629665" y="421517"/>
                </a:lnTo>
                <a:lnTo>
                  <a:pt x="660219" y="428646"/>
                </a:lnTo>
                <a:lnTo>
                  <a:pt x="686861" y="434882"/>
                </a:lnTo>
                <a:lnTo>
                  <a:pt x="709697" y="439345"/>
                </a:lnTo>
                <a:lnTo>
                  <a:pt x="727987" y="442903"/>
                </a:lnTo>
                <a:lnTo>
                  <a:pt x="740251" y="444688"/>
                </a:lnTo>
                <a:lnTo>
                  <a:pt x="746383" y="445580"/>
                </a:lnTo>
                <a:lnTo>
                  <a:pt x="750929" y="446473"/>
                </a:lnTo>
                <a:lnTo>
                  <a:pt x="760867" y="447366"/>
                </a:lnTo>
                <a:lnTo>
                  <a:pt x="776091" y="448258"/>
                </a:lnTo>
                <a:lnTo>
                  <a:pt x="792795" y="449151"/>
                </a:lnTo>
                <a:lnTo>
                  <a:pt x="810345" y="450043"/>
                </a:lnTo>
                <a:lnTo>
                  <a:pt x="824829" y="450924"/>
                </a:lnTo>
                <a:lnTo>
                  <a:pt x="835508" y="451816"/>
                </a:lnTo>
                <a:lnTo>
                  <a:pt x="849252" y="451816"/>
                </a:lnTo>
                <a:lnTo>
                  <a:pt x="852317" y="440237"/>
                </a:lnTo>
                <a:lnTo>
                  <a:pt x="859930" y="406368"/>
                </a:lnTo>
                <a:lnTo>
                  <a:pt x="865216" y="373391"/>
                </a:lnTo>
                <a:lnTo>
                  <a:pt x="867542" y="341295"/>
                </a:lnTo>
                <a:lnTo>
                  <a:pt x="866802" y="310178"/>
                </a:lnTo>
                <a:lnTo>
                  <a:pt x="863736" y="279805"/>
                </a:lnTo>
                <a:lnTo>
                  <a:pt x="857604" y="251291"/>
                </a:lnTo>
                <a:lnTo>
                  <a:pt x="848511" y="223645"/>
                </a:lnTo>
                <a:lnTo>
                  <a:pt x="837093" y="196991"/>
                </a:lnTo>
                <a:lnTo>
                  <a:pt x="825570" y="175544"/>
                </a:lnTo>
                <a:lnTo>
                  <a:pt x="811931" y="155957"/>
                </a:lnTo>
                <a:lnTo>
                  <a:pt x="798187" y="138105"/>
                </a:lnTo>
                <a:lnTo>
                  <a:pt x="782117" y="121244"/>
                </a:lnTo>
                <a:lnTo>
                  <a:pt x="766153" y="105996"/>
                </a:lnTo>
                <a:lnTo>
                  <a:pt x="750189" y="91739"/>
                </a:lnTo>
                <a:lnTo>
                  <a:pt x="732639" y="80210"/>
                </a:lnTo>
                <a:lnTo>
                  <a:pt x="715829" y="68556"/>
                </a:lnTo>
                <a:lnTo>
                  <a:pt x="699019" y="58762"/>
                </a:lnTo>
                <a:lnTo>
                  <a:pt x="682315" y="49960"/>
                </a:lnTo>
                <a:lnTo>
                  <a:pt x="666245" y="42770"/>
                </a:lnTo>
                <a:lnTo>
                  <a:pt x="650281" y="35703"/>
                </a:lnTo>
                <a:lnTo>
                  <a:pt x="635797" y="30249"/>
                </a:lnTo>
                <a:lnTo>
                  <a:pt x="622793" y="25786"/>
                </a:lnTo>
                <a:lnTo>
                  <a:pt x="610635" y="21323"/>
                </a:lnTo>
                <a:lnTo>
                  <a:pt x="599957" y="18719"/>
                </a:lnTo>
                <a:lnTo>
                  <a:pt x="588539" y="15992"/>
                </a:lnTo>
                <a:lnTo>
                  <a:pt x="575535" y="13388"/>
                </a:lnTo>
                <a:lnTo>
                  <a:pt x="562636" y="10661"/>
                </a:lnTo>
                <a:lnTo>
                  <a:pt x="548892" y="8058"/>
                </a:lnTo>
                <a:lnTo>
                  <a:pt x="535148" y="6198"/>
                </a:lnTo>
                <a:lnTo>
                  <a:pt x="520664" y="4462"/>
                </a:lnTo>
                <a:lnTo>
                  <a:pt x="505440" y="2727"/>
                </a:lnTo>
                <a:lnTo>
                  <a:pt x="489423" y="1735"/>
                </a:lnTo>
                <a:lnTo>
                  <a:pt x="473417" y="867"/>
                </a:lnTo>
                <a:lnTo>
                  <a:pt x="457400" y="0"/>
                </a:lnTo>
                <a:lnTo>
                  <a:pt x="440632" y="0"/>
                </a:lnTo>
                <a:lnTo>
                  <a:pt x="423864" y="867"/>
                </a:lnTo>
                <a:lnTo>
                  <a:pt x="407086" y="1735"/>
                </a:lnTo>
                <a:lnTo>
                  <a:pt x="389557" y="2727"/>
                </a:lnTo>
                <a:lnTo>
                  <a:pt x="372018" y="4462"/>
                </a:lnTo>
                <a:lnTo>
                  <a:pt x="354489" y="6198"/>
                </a:lnTo>
                <a:lnTo>
                  <a:pt x="336188" y="8925"/>
                </a:lnTo>
                <a:lnTo>
                  <a:pt x="318659" y="11529"/>
                </a:lnTo>
                <a:lnTo>
                  <a:pt x="300359" y="15124"/>
                </a:lnTo>
                <a:lnTo>
                  <a:pt x="282830" y="19587"/>
                </a:lnTo>
                <a:lnTo>
                  <a:pt x="264529" y="24050"/>
                </a:lnTo>
                <a:lnTo>
                  <a:pt x="247000" y="29381"/>
                </a:lnTo>
                <a:lnTo>
                  <a:pt x="229461" y="35703"/>
                </a:lnTo>
                <a:lnTo>
                  <a:pt x="211932" y="41902"/>
                </a:lnTo>
                <a:lnTo>
                  <a:pt x="194392" y="49960"/>
                </a:lnTo>
                <a:lnTo>
                  <a:pt x="176864" y="57027"/>
                </a:lnTo>
                <a:lnTo>
                  <a:pt x="160085" y="65953"/>
                </a:lnTo>
                <a:lnTo>
                  <a:pt x="143318" y="74879"/>
                </a:lnTo>
                <a:lnTo>
                  <a:pt x="127311" y="84673"/>
                </a:lnTo>
                <a:lnTo>
                  <a:pt x="111294" y="95334"/>
                </a:lnTo>
                <a:lnTo>
                  <a:pt x="96049" y="106987"/>
                </a:lnTo>
                <a:lnTo>
                  <a:pt x="80804" y="119385"/>
                </a:lnTo>
                <a:lnTo>
                  <a:pt x="64036" y="135501"/>
                </a:lnTo>
                <a:lnTo>
                  <a:pt x="49552" y="151494"/>
                </a:lnTo>
                <a:lnTo>
                  <a:pt x="36590" y="168478"/>
                </a:lnTo>
                <a:lnTo>
                  <a:pt x="25151" y="187197"/>
                </a:lnTo>
                <a:lnTo>
                  <a:pt x="16006" y="205917"/>
                </a:lnTo>
                <a:lnTo>
                  <a:pt x="9145" y="224513"/>
                </a:lnTo>
                <a:lnTo>
                  <a:pt x="3806" y="245093"/>
                </a:lnTo>
                <a:close/>
              </a:path>
            </a:pathLst>
          </a:custGeom>
          <a:solidFill>
            <a:srgbClr val="000000"/>
          </a:solidFill>
        </p:spPr>
        <p:txBody>
          <a:bodyPr wrap="square" lIns="0" tIns="0" rIns="0" bIns="0" rtlCol="0">
            <a:noAutofit/>
          </a:bodyPr>
          <a:lstStyle/>
          <a:p>
            <a:endParaRPr/>
          </a:p>
        </p:txBody>
      </p:sp>
      <p:sp>
        <p:nvSpPr>
          <p:cNvPr id="64" name="object 64"/>
          <p:cNvSpPr/>
          <p:nvPr/>
        </p:nvSpPr>
        <p:spPr>
          <a:xfrm>
            <a:off x="9192638" y="257453"/>
            <a:ext cx="814987" cy="388491"/>
          </a:xfrm>
          <a:custGeom>
            <a:avLst/>
            <a:gdLst/>
            <a:ahLst/>
            <a:cxnLst/>
            <a:rect l="l" t="t" r="r" b="b"/>
            <a:pathLst>
              <a:path w="814987" h="388491">
                <a:moveTo>
                  <a:pt x="1522" y="283400"/>
                </a:moveTo>
                <a:lnTo>
                  <a:pt x="6100" y="307451"/>
                </a:lnTo>
                <a:lnTo>
                  <a:pt x="12200" y="330509"/>
                </a:lnTo>
                <a:lnTo>
                  <a:pt x="19823" y="351957"/>
                </a:lnTo>
                <a:lnTo>
                  <a:pt x="21345" y="347506"/>
                </a:lnTo>
                <a:lnTo>
                  <a:pt x="22867" y="343043"/>
                </a:lnTo>
                <a:lnTo>
                  <a:pt x="24400" y="338592"/>
                </a:lnTo>
                <a:lnTo>
                  <a:pt x="35068" y="317244"/>
                </a:lnTo>
                <a:lnTo>
                  <a:pt x="47268" y="301996"/>
                </a:lnTo>
                <a:lnTo>
                  <a:pt x="62514" y="288731"/>
                </a:lnTo>
                <a:lnTo>
                  <a:pt x="78520" y="277077"/>
                </a:lnTo>
                <a:lnTo>
                  <a:pt x="96821" y="266416"/>
                </a:lnTo>
                <a:lnTo>
                  <a:pt x="115121" y="256622"/>
                </a:lnTo>
                <a:lnTo>
                  <a:pt x="134934" y="248564"/>
                </a:lnTo>
                <a:lnTo>
                  <a:pt x="154757" y="241497"/>
                </a:lnTo>
                <a:lnTo>
                  <a:pt x="173819" y="235175"/>
                </a:lnTo>
                <a:lnTo>
                  <a:pt x="191348" y="230712"/>
                </a:lnTo>
                <a:lnTo>
                  <a:pt x="208887" y="226249"/>
                </a:lnTo>
                <a:lnTo>
                  <a:pt x="224132" y="223645"/>
                </a:lnTo>
                <a:lnTo>
                  <a:pt x="237094" y="220918"/>
                </a:lnTo>
                <a:lnTo>
                  <a:pt x="247000" y="220050"/>
                </a:lnTo>
                <a:lnTo>
                  <a:pt x="253862" y="218315"/>
                </a:lnTo>
                <a:lnTo>
                  <a:pt x="262245" y="218315"/>
                </a:lnTo>
                <a:lnTo>
                  <a:pt x="293508" y="241497"/>
                </a:lnTo>
                <a:lnTo>
                  <a:pt x="323237" y="260217"/>
                </a:lnTo>
                <a:lnTo>
                  <a:pt x="356783" y="277077"/>
                </a:lnTo>
                <a:lnTo>
                  <a:pt x="391851" y="292202"/>
                </a:lnTo>
                <a:lnTo>
                  <a:pt x="429203" y="307451"/>
                </a:lnTo>
                <a:lnTo>
                  <a:pt x="467327" y="320716"/>
                </a:lnTo>
                <a:lnTo>
                  <a:pt x="504690" y="332357"/>
                </a:lnTo>
                <a:lnTo>
                  <a:pt x="542010" y="343043"/>
                </a:lnTo>
                <a:lnTo>
                  <a:pt x="577850" y="352849"/>
                </a:lnTo>
                <a:lnTo>
                  <a:pt x="611364" y="360870"/>
                </a:lnTo>
                <a:lnTo>
                  <a:pt x="641918" y="367999"/>
                </a:lnTo>
                <a:lnTo>
                  <a:pt x="668560" y="374234"/>
                </a:lnTo>
                <a:lnTo>
                  <a:pt x="690656" y="378697"/>
                </a:lnTo>
                <a:lnTo>
                  <a:pt x="707466" y="381363"/>
                </a:lnTo>
                <a:lnTo>
                  <a:pt x="718884" y="383148"/>
                </a:lnTo>
                <a:lnTo>
                  <a:pt x="722690" y="384041"/>
                </a:lnTo>
                <a:lnTo>
                  <a:pt x="725756" y="384041"/>
                </a:lnTo>
                <a:lnTo>
                  <a:pt x="732628" y="384933"/>
                </a:lnTo>
                <a:lnTo>
                  <a:pt x="744047" y="384933"/>
                </a:lnTo>
                <a:lnTo>
                  <a:pt x="757050" y="385826"/>
                </a:lnTo>
                <a:lnTo>
                  <a:pt x="770689" y="386718"/>
                </a:lnTo>
                <a:lnTo>
                  <a:pt x="783693" y="387611"/>
                </a:lnTo>
                <a:lnTo>
                  <a:pt x="795111" y="387611"/>
                </a:lnTo>
                <a:lnTo>
                  <a:pt x="803569" y="388491"/>
                </a:lnTo>
                <a:lnTo>
                  <a:pt x="808855" y="366213"/>
                </a:lnTo>
                <a:lnTo>
                  <a:pt x="811921" y="343936"/>
                </a:lnTo>
                <a:lnTo>
                  <a:pt x="814141" y="322575"/>
                </a:lnTo>
                <a:lnTo>
                  <a:pt x="814987" y="301128"/>
                </a:lnTo>
                <a:lnTo>
                  <a:pt x="814141" y="285136"/>
                </a:lnTo>
                <a:lnTo>
                  <a:pt x="813401" y="269019"/>
                </a:lnTo>
                <a:lnTo>
                  <a:pt x="811181" y="253027"/>
                </a:lnTo>
                <a:lnTo>
                  <a:pt x="808115" y="237902"/>
                </a:lnTo>
                <a:lnTo>
                  <a:pt x="804309" y="223645"/>
                </a:lnTo>
                <a:lnTo>
                  <a:pt x="799657" y="208521"/>
                </a:lnTo>
                <a:lnTo>
                  <a:pt x="794371" y="195132"/>
                </a:lnTo>
                <a:lnTo>
                  <a:pt x="788239" y="180875"/>
                </a:lnTo>
                <a:lnTo>
                  <a:pt x="777561" y="161287"/>
                </a:lnTo>
                <a:lnTo>
                  <a:pt x="765403" y="143435"/>
                </a:lnTo>
                <a:lnTo>
                  <a:pt x="752399" y="126451"/>
                </a:lnTo>
                <a:lnTo>
                  <a:pt x="737915" y="111327"/>
                </a:lnTo>
                <a:lnTo>
                  <a:pt x="723431" y="97938"/>
                </a:lnTo>
                <a:lnTo>
                  <a:pt x="708206" y="85540"/>
                </a:lnTo>
                <a:lnTo>
                  <a:pt x="692242" y="73887"/>
                </a:lnTo>
                <a:lnTo>
                  <a:pt x="676172" y="63225"/>
                </a:lnTo>
                <a:lnTo>
                  <a:pt x="660948" y="54299"/>
                </a:lnTo>
                <a:lnTo>
                  <a:pt x="644984" y="46241"/>
                </a:lnTo>
                <a:lnTo>
                  <a:pt x="629654" y="39175"/>
                </a:lnTo>
                <a:lnTo>
                  <a:pt x="615170" y="32976"/>
                </a:lnTo>
                <a:lnTo>
                  <a:pt x="601532" y="28513"/>
                </a:lnTo>
                <a:lnTo>
                  <a:pt x="589268" y="24050"/>
                </a:lnTo>
                <a:lnTo>
                  <a:pt x="577850" y="20455"/>
                </a:lnTo>
                <a:lnTo>
                  <a:pt x="567912" y="17728"/>
                </a:lnTo>
                <a:lnTo>
                  <a:pt x="556494" y="15124"/>
                </a:lnTo>
                <a:lnTo>
                  <a:pt x="545076" y="12397"/>
                </a:lnTo>
                <a:lnTo>
                  <a:pt x="532072" y="9793"/>
                </a:lnTo>
                <a:lnTo>
                  <a:pt x="519174" y="7066"/>
                </a:lnTo>
                <a:lnTo>
                  <a:pt x="505430" y="5330"/>
                </a:lnTo>
                <a:lnTo>
                  <a:pt x="491686" y="3471"/>
                </a:lnTo>
                <a:lnTo>
                  <a:pt x="477202" y="2603"/>
                </a:lnTo>
                <a:lnTo>
                  <a:pt x="461988" y="867"/>
                </a:lnTo>
                <a:lnTo>
                  <a:pt x="446743" y="0"/>
                </a:lnTo>
                <a:lnTo>
                  <a:pt x="399474" y="0"/>
                </a:lnTo>
                <a:lnTo>
                  <a:pt x="382696" y="867"/>
                </a:lnTo>
                <a:lnTo>
                  <a:pt x="365928" y="1735"/>
                </a:lnTo>
                <a:lnTo>
                  <a:pt x="349160" y="3471"/>
                </a:lnTo>
                <a:lnTo>
                  <a:pt x="332382" y="5330"/>
                </a:lnTo>
                <a:lnTo>
                  <a:pt x="314853" y="7934"/>
                </a:lnTo>
                <a:lnTo>
                  <a:pt x="298075" y="10661"/>
                </a:lnTo>
                <a:lnTo>
                  <a:pt x="280546" y="14256"/>
                </a:lnTo>
                <a:lnTo>
                  <a:pt x="263778" y="17728"/>
                </a:lnTo>
                <a:lnTo>
                  <a:pt x="247000" y="22191"/>
                </a:lnTo>
                <a:lnTo>
                  <a:pt x="229471" y="27521"/>
                </a:lnTo>
                <a:lnTo>
                  <a:pt x="212693" y="32976"/>
                </a:lnTo>
                <a:lnTo>
                  <a:pt x="195925" y="39175"/>
                </a:lnTo>
                <a:lnTo>
                  <a:pt x="179158" y="46241"/>
                </a:lnTo>
                <a:lnTo>
                  <a:pt x="163141" y="54299"/>
                </a:lnTo>
                <a:lnTo>
                  <a:pt x="146373" y="62358"/>
                </a:lnTo>
                <a:lnTo>
                  <a:pt x="131128" y="71284"/>
                </a:lnTo>
                <a:lnTo>
                  <a:pt x="115121" y="80210"/>
                </a:lnTo>
                <a:lnTo>
                  <a:pt x="99865" y="90871"/>
                </a:lnTo>
                <a:lnTo>
                  <a:pt x="85381" y="101533"/>
                </a:lnTo>
                <a:lnTo>
                  <a:pt x="70897" y="113062"/>
                </a:lnTo>
                <a:lnTo>
                  <a:pt x="56413" y="126451"/>
                </a:lnTo>
                <a:lnTo>
                  <a:pt x="42690" y="140708"/>
                </a:lnTo>
                <a:lnTo>
                  <a:pt x="32023" y="155957"/>
                </a:lnTo>
                <a:lnTo>
                  <a:pt x="22106" y="171081"/>
                </a:lnTo>
                <a:lnTo>
                  <a:pt x="14484" y="187074"/>
                </a:lnTo>
                <a:lnTo>
                  <a:pt x="8383" y="203190"/>
                </a:lnTo>
                <a:lnTo>
                  <a:pt x="3816" y="220050"/>
                </a:lnTo>
                <a:lnTo>
                  <a:pt x="761" y="237902"/>
                </a:lnTo>
                <a:lnTo>
                  <a:pt x="761" y="247696"/>
                </a:lnTo>
                <a:lnTo>
                  <a:pt x="0" y="253027"/>
                </a:lnTo>
                <a:lnTo>
                  <a:pt x="0" y="257490"/>
                </a:lnTo>
                <a:lnTo>
                  <a:pt x="1522" y="283400"/>
                </a:lnTo>
                <a:close/>
              </a:path>
            </a:pathLst>
          </a:custGeom>
          <a:solidFill>
            <a:srgbClr val="F1BE48"/>
          </a:solidFill>
        </p:spPr>
        <p:txBody>
          <a:bodyPr wrap="square" lIns="0" tIns="0" rIns="0" bIns="0" rtlCol="0">
            <a:noAutofit/>
          </a:bodyPr>
          <a:lstStyle/>
          <a:p>
            <a:endParaRPr/>
          </a:p>
        </p:txBody>
      </p:sp>
      <p:sp>
        <p:nvSpPr>
          <p:cNvPr id="65" name="object 65"/>
          <p:cNvSpPr/>
          <p:nvPr/>
        </p:nvSpPr>
        <p:spPr>
          <a:xfrm>
            <a:off x="9660726" y="845577"/>
            <a:ext cx="54891" cy="173771"/>
          </a:xfrm>
          <a:custGeom>
            <a:avLst/>
            <a:gdLst/>
            <a:ahLst/>
            <a:cxnLst/>
            <a:rect l="l" t="t" r="r" b="b"/>
            <a:pathLst>
              <a:path w="54891" h="173771">
                <a:moveTo>
                  <a:pt x="761" y="31191"/>
                </a:moveTo>
                <a:lnTo>
                  <a:pt x="7633" y="57027"/>
                </a:lnTo>
                <a:lnTo>
                  <a:pt x="13765" y="87326"/>
                </a:lnTo>
                <a:lnTo>
                  <a:pt x="15245" y="117624"/>
                </a:lnTo>
                <a:lnTo>
                  <a:pt x="12179" y="141687"/>
                </a:lnTo>
                <a:lnTo>
                  <a:pt x="10699" y="150601"/>
                </a:lnTo>
                <a:lnTo>
                  <a:pt x="12179" y="159515"/>
                </a:lnTo>
                <a:lnTo>
                  <a:pt x="15985" y="166643"/>
                </a:lnTo>
                <a:lnTo>
                  <a:pt x="22857" y="171986"/>
                </a:lnTo>
                <a:lnTo>
                  <a:pt x="26663" y="173771"/>
                </a:lnTo>
                <a:lnTo>
                  <a:pt x="34275" y="173771"/>
                </a:lnTo>
                <a:lnTo>
                  <a:pt x="41147" y="170213"/>
                </a:lnTo>
                <a:lnTo>
                  <a:pt x="46539" y="163978"/>
                </a:lnTo>
                <a:lnTo>
                  <a:pt x="53411" y="139915"/>
                </a:lnTo>
                <a:lnTo>
                  <a:pt x="54891" y="117624"/>
                </a:lnTo>
                <a:lnTo>
                  <a:pt x="54151" y="94454"/>
                </a:lnTo>
                <a:lnTo>
                  <a:pt x="51085" y="72176"/>
                </a:lnTo>
                <a:lnTo>
                  <a:pt x="47279" y="51684"/>
                </a:lnTo>
                <a:lnTo>
                  <a:pt x="43473" y="34749"/>
                </a:lnTo>
                <a:lnTo>
                  <a:pt x="40407" y="22277"/>
                </a:lnTo>
                <a:lnTo>
                  <a:pt x="38081" y="15149"/>
                </a:lnTo>
                <a:lnTo>
                  <a:pt x="34275" y="7128"/>
                </a:lnTo>
                <a:lnTo>
                  <a:pt x="28249" y="2665"/>
                </a:lnTo>
                <a:lnTo>
                  <a:pt x="20531" y="0"/>
                </a:lnTo>
                <a:lnTo>
                  <a:pt x="16725" y="892"/>
                </a:lnTo>
                <a:lnTo>
                  <a:pt x="12919" y="1772"/>
                </a:lnTo>
                <a:lnTo>
                  <a:pt x="6089" y="6235"/>
                </a:lnTo>
                <a:lnTo>
                  <a:pt x="1522" y="13364"/>
                </a:lnTo>
                <a:lnTo>
                  <a:pt x="0" y="22277"/>
                </a:lnTo>
                <a:lnTo>
                  <a:pt x="761" y="31191"/>
                </a:lnTo>
                <a:close/>
              </a:path>
            </a:pathLst>
          </a:custGeom>
          <a:solidFill>
            <a:srgbClr val="000000"/>
          </a:solidFill>
        </p:spPr>
        <p:txBody>
          <a:bodyPr wrap="square" lIns="0" tIns="0" rIns="0" bIns="0" rtlCol="0">
            <a:noAutofit/>
          </a:bodyPr>
          <a:lstStyle/>
          <a:p>
            <a:endParaRPr/>
          </a:p>
        </p:txBody>
      </p:sp>
      <p:sp>
        <p:nvSpPr>
          <p:cNvPr id="66" name="object 66"/>
          <p:cNvSpPr/>
          <p:nvPr/>
        </p:nvSpPr>
        <p:spPr>
          <a:xfrm>
            <a:off x="9525780" y="922216"/>
            <a:ext cx="281286" cy="663028"/>
          </a:xfrm>
          <a:custGeom>
            <a:avLst/>
            <a:gdLst/>
            <a:ahLst/>
            <a:cxnLst/>
            <a:rect l="l" t="t" r="r" b="b"/>
            <a:pathLst>
              <a:path w="281286" h="663028">
                <a:moveTo>
                  <a:pt x="0" y="563218"/>
                </a:moveTo>
                <a:lnTo>
                  <a:pt x="3055" y="570346"/>
                </a:lnTo>
                <a:lnTo>
                  <a:pt x="11439" y="586388"/>
                </a:lnTo>
                <a:lnTo>
                  <a:pt x="20584" y="599752"/>
                </a:lnTo>
                <a:lnTo>
                  <a:pt x="29739" y="612236"/>
                </a:lnTo>
                <a:lnTo>
                  <a:pt x="39646" y="622042"/>
                </a:lnTo>
                <a:lnTo>
                  <a:pt x="50324" y="630944"/>
                </a:lnTo>
                <a:lnTo>
                  <a:pt x="60991" y="638072"/>
                </a:lnTo>
                <a:lnTo>
                  <a:pt x="71669" y="644320"/>
                </a:lnTo>
                <a:lnTo>
                  <a:pt x="83098" y="648771"/>
                </a:lnTo>
                <a:lnTo>
                  <a:pt x="93776" y="652341"/>
                </a:lnTo>
                <a:lnTo>
                  <a:pt x="105204" y="655007"/>
                </a:lnTo>
                <a:lnTo>
                  <a:pt x="115883" y="656792"/>
                </a:lnTo>
                <a:lnTo>
                  <a:pt x="126550" y="658577"/>
                </a:lnTo>
                <a:lnTo>
                  <a:pt x="136467" y="658577"/>
                </a:lnTo>
                <a:lnTo>
                  <a:pt x="146384" y="659470"/>
                </a:lnTo>
                <a:lnTo>
                  <a:pt x="187510" y="659470"/>
                </a:lnTo>
                <a:lnTo>
                  <a:pt x="189836" y="660362"/>
                </a:lnTo>
                <a:lnTo>
                  <a:pt x="198188" y="663028"/>
                </a:lnTo>
                <a:lnTo>
                  <a:pt x="203580" y="655007"/>
                </a:lnTo>
                <a:lnTo>
                  <a:pt x="211932" y="641642"/>
                </a:lnTo>
                <a:lnTo>
                  <a:pt x="218804" y="628278"/>
                </a:lnTo>
                <a:lnTo>
                  <a:pt x="224090" y="615794"/>
                </a:lnTo>
                <a:lnTo>
                  <a:pt x="228742" y="602430"/>
                </a:lnTo>
                <a:lnTo>
                  <a:pt x="231808" y="589066"/>
                </a:lnTo>
                <a:lnTo>
                  <a:pt x="234768" y="573916"/>
                </a:lnTo>
                <a:lnTo>
                  <a:pt x="237834" y="557874"/>
                </a:lnTo>
                <a:lnTo>
                  <a:pt x="240900" y="539155"/>
                </a:lnTo>
                <a:lnTo>
                  <a:pt x="254644" y="456279"/>
                </a:lnTo>
                <a:lnTo>
                  <a:pt x="266062" y="381425"/>
                </a:lnTo>
                <a:lnTo>
                  <a:pt x="274414" y="308343"/>
                </a:lnTo>
                <a:lnTo>
                  <a:pt x="279066" y="238832"/>
                </a:lnTo>
                <a:lnTo>
                  <a:pt x="280546" y="176449"/>
                </a:lnTo>
                <a:lnTo>
                  <a:pt x="281286" y="122980"/>
                </a:lnTo>
                <a:lnTo>
                  <a:pt x="280546" y="81982"/>
                </a:lnTo>
                <a:lnTo>
                  <a:pt x="279806" y="54361"/>
                </a:lnTo>
                <a:lnTo>
                  <a:pt x="279066" y="44555"/>
                </a:lnTo>
                <a:lnTo>
                  <a:pt x="278220" y="32084"/>
                </a:lnTo>
                <a:lnTo>
                  <a:pt x="13722" y="0"/>
                </a:lnTo>
                <a:lnTo>
                  <a:pt x="20584" y="23170"/>
                </a:lnTo>
                <a:lnTo>
                  <a:pt x="41168" y="109616"/>
                </a:lnTo>
                <a:lnTo>
                  <a:pt x="51085" y="196049"/>
                </a:lnTo>
                <a:lnTo>
                  <a:pt x="51085" y="280722"/>
                </a:lnTo>
                <a:lnTo>
                  <a:pt x="44985" y="360027"/>
                </a:lnTo>
                <a:lnTo>
                  <a:pt x="35068" y="429538"/>
                </a:lnTo>
                <a:lnTo>
                  <a:pt x="22878" y="488363"/>
                </a:lnTo>
                <a:lnTo>
                  <a:pt x="11439" y="531134"/>
                </a:lnTo>
                <a:lnTo>
                  <a:pt x="3055" y="556089"/>
                </a:lnTo>
                <a:lnTo>
                  <a:pt x="0" y="563218"/>
                </a:lnTo>
                <a:close/>
              </a:path>
            </a:pathLst>
          </a:custGeom>
          <a:solidFill>
            <a:srgbClr val="000000"/>
          </a:solidFill>
        </p:spPr>
        <p:txBody>
          <a:bodyPr wrap="square" lIns="0" tIns="0" rIns="0" bIns="0" rtlCol="0">
            <a:noAutofit/>
          </a:bodyPr>
          <a:lstStyle/>
          <a:p>
            <a:endParaRPr/>
          </a:p>
        </p:txBody>
      </p:sp>
      <p:sp>
        <p:nvSpPr>
          <p:cNvPr id="67" name="object 67"/>
          <p:cNvSpPr/>
          <p:nvPr/>
        </p:nvSpPr>
        <p:spPr>
          <a:xfrm>
            <a:off x="9555520" y="956965"/>
            <a:ext cx="225644" cy="595302"/>
          </a:xfrm>
          <a:custGeom>
            <a:avLst/>
            <a:gdLst/>
            <a:ahLst/>
            <a:cxnLst/>
            <a:rect l="l" t="t" r="r" b="b"/>
            <a:pathLst>
              <a:path w="225644" h="595302">
                <a:moveTo>
                  <a:pt x="28968" y="892"/>
                </a:moveTo>
                <a:lnTo>
                  <a:pt x="22106" y="0"/>
                </a:lnTo>
                <a:lnTo>
                  <a:pt x="28968" y="25848"/>
                </a:lnTo>
                <a:lnTo>
                  <a:pt x="34307" y="51696"/>
                </a:lnTo>
                <a:lnTo>
                  <a:pt x="38874" y="77532"/>
                </a:lnTo>
                <a:lnTo>
                  <a:pt x="42690" y="103380"/>
                </a:lnTo>
                <a:lnTo>
                  <a:pt x="45735" y="129228"/>
                </a:lnTo>
                <a:lnTo>
                  <a:pt x="47258" y="155064"/>
                </a:lnTo>
                <a:lnTo>
                  <a:pt x="48791" y="180912"/>
                </a:lnTo>
                <a:lnTo>
                  <a:pt x="48791" y="206760"/>
                </a:lnTo>
                <a:lnTo>
                  <a:pt x="47258" y="262002"/>
                </a:lnTo>
                <a:lnTo>
                  <a:pt x="43452" y="314591"/>
                </a:lnTo>
                <a:lnTo>
                  <a:pt x="36590" y="363598"/>
                </a:lnTo>
                <a:lnTo>
                  <a:pt x="29729" y="408166"/>
                </a:lnTo>
                <a:lnTo>
                  <a:pt x="21345" y="447378"/>
                </a:lnTo>
                <a:lnTo>
                  <a:pt x="13722" y="481235"/>
                </a:lnTo>
                <a:lnTo>
                  <a:pt x="6100" y="507976"/>
                </a:lnTo>
                <a:lnTo>
                  <a:pt x="0" y="526683"/>
                </a:lnTo>
                <a:lnTo>
                  <a:pt x="6861" y="538274"/>
                </a:lnTo>
                <a:lnTo>
                  <a:pt x="14484" y="548961"/>
                </a:lnTo>
                <a:lnTo>
                  <a:pt x="22106" y="557874"/>
                </a:lnTo>
                <a:lnTo>
                  <a:pt x="30490" y="565895"/>
                </a:lnTo>
                <a:lnTo>
                  <a:pt x="38874" y="572131"/>
                </a:lnTo>
                <a:lnTo>
                  <a:pt x="47258" y="577487"/>
                </a:lnTo>
                <a:lnTo>
                  <a:pt x="56413" y="581937"/>
                </a:lnTo>
                <a:lnTo>
                  <a:pt x="65558" y="585508"/>
                </a:lnTo>
                <a:lnTo>
                  <a:pt x="74703" y="588173"/>
                </a:lnTo>
                <a:lnTo>
                  <a:pt x="83859" y="590851"/>
                </a:lnTo>
                <a:lnTo>
                  <a:pt x="92243" y="591744"/>
                </a:lnTo>
                <a:lnTo>
                  <a:pt x="101388" y="592636"/>
                </a:lnTo>
                <a:lnTo>
                  <a:pt x="109772" y="593529"/>
                </a:lnTo>
                <a:lnTo>
                  <a:pt x="140220" y="593529"/>
                </a:lnTo>
                <a:lnTo>
                  <a:pt x="146352" y="594421"/>
                </a:lnTo>
                <a:lnTo>
                  <a:pt x="151744" y="594421"/>
                </a:lnTo>
                <a:lnTo>
                  <a:pt x="156290" y="595302"/>
                </a:lnTo>
                <a:lnTo>
                  <a:pt x="162422" y="584615"/>
                </a:lnTo>
                <a:lnTo>
                  <a:pt x="166968" y="574809"/>
                </a:lnTo>
                <a:lnTo>
                  <a:pt x="170774" y="565003"/>
                </a:lnTo>
                <a:lnTo>
                  <a:pt x="174580" y="554316"/>
                </a:lnTo>
                <a:lnTo>
                  <a:pt x="177646" y="542725"/>
                </a:lnTo>
                <a:lnTo>
                  <a:pt x="179866" y="530253"/>
                </a:lnTo>
                <a:lnTo>
                  <a:pt x="182192" y="515997"/>
                </a:lnTo>
                <a:lnTo>
                  <a:pt x="185258" y="499062"/>
                </a:lnTo>
                <a:lnTo>
                  <a:pt x="199002" y="415294"/>
                </a:lnTo>
                <a:lnTo>
                  <a:pt x="206614" y="372511"/>
                </a:lnTo>
                <a:lnTo>
                  <a:pt x="211900" y="329741"/>
                </a:lnTo>
                <a:lnTo>
                  <a:pt x="216552" y="286958"/>
                </a:lnTo>
                <a:lnTo>
                  <a:pt x="220358" y="244188"/>
                </a:lnTo>
                <a:lnTo>
                  <a:pt x="222578" y="204083"/>
                </a:lnTo>
                <a:lnTo>
                  <a:pt x="224164" y="164870"/>
                </a:lnTo>
                <a:lnTo>
                  <a:pt x="225644" y="128336"/>
                </a:lnTo>
                <a:lnTo>
                  <a:pt x="225644" y="73974"/>
                </a:lnTo>
                <a:lnTo>
                  <a:pt x="224904" y="55254"/>
                </a:lnTo>
                <a:lnTo>
                  <a:pt x="224904" y="38319"/>
                </a:lnTo>
                <a:lnTo>
                  <a:pt x="224164" y="24955"/>
                </a:lnTo>
                <a:lnTo>
                  <a:pt x="219512" y="24063"/>
                </a:lnTo>
                <a:lnTo>
                  <a:pt x="211160" y="23170"/>
                </a:lnTo>
                <a:lnTo>
                  <a:pt x="201222" y="22277"/>
                </a:lnTo>
                <a:lnTo>
                  <a:pt x="189064" y="20504"/>
                </a:lnTo>
                <a:lnTo>
                  <a:pt x="175320" y="18719"/>
                </a:lnTo>
                <a:lnTo>
                  <a:pt x="160096" y="16934"/>
                </a:lnTo>
                <a:lnTo>
                  <a:pt x="144132" y="15149"/>
                </a:lnTo>
                <a:lnTo>
                  <a:pt x="128062" y="12483"/>
                </a:lnTo>
                <a:lnTo>
                  <a:pt x="111294" y="10698"/>
                </a:lnTo>
                <a:lnTo>
                  <a:pt x="95288" y="8913"/>
                </a:lnTo>
                <a:lnTo>
                  <a:pt x="79281" y="6235"/>
                </a:lnTo>
                <a:lnTo>
                  <a:pt x="64036" y="4462"/>
                </a:lnTo>
                <a:lnTo>
                  <a:pt x="51074" y="3570"/>
                </a:lnTo>
                <a:lnTo>
                  <a:pt x="38874" y="1785"/>
                </a:lnTo>
                <a:lnTo>
                  <a:pt x="28968" y="892"/>
                </a:lnTo>
                <a:close/>
              </a:path>
            </a:pathLst>
          </a:custGeom>
          <a:solidFill>
            <a:srgbClr val="F1BEB1"/>
          </a:solidFill>
        </p:spPr>
        <p:txBody>
          <a:bodyPr wrap="square" lIns="0" tIns="0" rIns="0" bIns="0" rtlCol="0">
            <a:noAutofit/>
          </a:bodyPr>
          <a:lstStyle/>
          <a:p>
            <a:endParaRPr/>
          </a:p>
        </p:txBody>
      </p:sp>
      <p:sp>
        <p:nvSpPr>
          <p:cNvPr id="68" name="object 68"/>
          <p:cNvSpPr/>
          <p:nvPr/>
        </p:nvSpPr>
        <p:spPr>
          <a:xfrm>
            <a:off x="9543321" y="924882"/>
            <a:ext cx="276751" cy="513319"/>
          </a:xfrm>
          <a:custGeom>
            <a:avLst/>
            <a:gdLst/>
            <a:ahLst/>
            <a:cxnLst/>
            <a:rect l="l" t="t" r="r" b="b"/>
            <a:pathLst>
              <a:path w="276751" h="513319">
                <a:moveTo>
                  <a:pt x="276751" y="103380"/>
                </a:moveTo>
                <a:lnTo>
                  <a:pt x="276011" y="77532"/>
                </a:lnTo>
                <a:lnTo>
                  <a:pt x="275165" y="66845"/>
                </a:lnTo>
                <a:lnTo>
                  <a:pt x="271359" y="57039"/>
                </a:lnTo>
                <a:lnTo>
                  <a:pt x="18300" y="0"/>
                </a:lnTo>
                <a:lnTo>
                  <a:pt x="15245" y="0"/>
                </a:lnTo>
                <a:lnTo>
                  <a:pt x="6100" y="4462"/>
                </a:lnTo>
                <a:lnTo>
                  <a:pt x="2283" y="16042"/>
                </a:lnTo>
                <a:lnTo>
                  <a:pt x="3044" y="19612"/>
                </a:lnTo>
                <a:lnTo>
                  <a:pt x="9145" y="44567"/>
                </a:lnTo>
                <a:lnTo>
                  <a:pt x="15245" y="71296"/>
                </a:lnTo>
                <a:lnTo>
                  <a:pt x="19061" y="95359"/>
                </a:lnTo>
                <a:lnTo>
                  <a:pt x="20584" y="111401"/>
                </a:lnTo>
                <a:lnTo>
                  <a:pt x="18300" y="133679"/>
                </a:lnTo>
                <a:lnTo>
                  <a:pt x="15245" y="158634"/>
                </a:lnTo>
                <a:lnTo>
                  <a:pt x="10667" y="181805"/>
                </a:lnTo>
                <a:lnTo>
                  <a:pt x="5339" y="198739"/>
                </a:lnTo>
                <a:lnTo>
                  <a:pt x="1522" y="209426"/>
                </a:lnTo>
                <a:lnTo>
                  <a:pt x="0" y="221910"/>
                </a:lnTo>
                <a:lnTo>
                  <a:pt x="761" y="235274"/>
                </a:lnTo>
                <a:lnTo>
                  <a:pt x="2283" y="247746"/>
                </a:lnTo>
                <a:lnTo>
                  <a:pt x="5339" y="260230"/>
                </a:lnTo>
                <a:lnTo>
                  <a:pt x="8383" y="270916"/>
                </a:lnTo>
                <a:lnTo>
                  <a:pt x="11439" y="279830"/>
                </a:lnTo>
                <a:lnTo>
                  <a:pt x="14484" y="286078"/>
                </a:lnTo>
                <a:lnTo>
                  <a:pt x="19061" y="305678"/>
                </a:lnTo>
                <a:lnTo>
                  <a:pt x="18300" y="335084"/>
                </a:lnTo>
                <a:lnTo>
                  <a:pt x="15245" y="368061"/>
                </a:lnTo>
                <a:lnTo>
                  <a:pt x="9906" y="398359"/>
                </a:lnTo>
                <a:lnTo>
                  <a:pt x="9906" y="405488"/>
                </a:lnTo>
                <a:lnTo>
                  <a:pt x="11439" y="409058"/>
                </a:lnTo>
                <a:lnTo>
                  <a:pt x="12961" y="412616"/>
                </a:lnTo>
                <a:lnTo>
                  <a:pt x="25923" y="427766"/>
                </a:lnTo>
                <a:lnTo>
                  <a:pt x="38113" y="442022"/>
                </a:lnTo>
                <a:lnTo>
                  <a:pt x="50313" y="454506"/>
                </a:lnTo>
                <a:lnTo>
                  <a:pt x="62514" y="465193"/>
                </a:lnTo>
                <a:lnTo>
                  <a:pt x="74714" y="474106"/>
                </a:lnTo>
                <a:lnTo>
                  <a:pt x="86904" y="483020"/>
                </a:lnTo>
                <a:lnTo>
                  <a:pt x="99104" y="490148"/>
                </a:lnTo>
                <a:lnTo>
                  <a:pt x="111305" y="495492"/>
                </a:lnTo>
                <a:lnTo>
                  <a:pt x="123495" y="500847"/>
                </a:lnTo>
                <a:lnTo>
                  <a:pt x="135716" y="504405"/>
                </a:lnTo>
                <a:lnTo>
                  <a:pt x="148614" y="507976"/>
                </a:lnTo>
                <a:lnTo>
                  <a:pt x="162358" y="509761"/>
                </a:lnTo>
                <a:lnTo>
                  <a:pt x="176102" y="511534"/>
                </a:lnTo>
                <a:lnTo>
                  <a:pt x="190586" y="512426"/>
                </a:lnTo>
                <a:lnTo>
                  <a:pt x="205070" y="513319"/>
                </a:lnTo>
                <a:lnTo>
                  <a:pt x="221035" y="513319"/>
                </a:lnTo>
                <a:lnTo>
                  <a:pt x="225686" y="512426"/>
                </a:lnTo>
                <a:lnTo>
                  <a:pt x="234039" y="502632"/>
                </a:lnTo>
                <a:lnTo>
                  <a:pt x="251589" y="415294"/>
                </a:lnTo>
                <a:lnTo>
                  <a:pt x="263747" y="334191"/>
                </a:lnTo>
                <a:lnTo>
                  <a:pt x="271359" y="260230"/>
                </a:lnTo>
                <a:lnTo>
                  <a:pt x="275165" y="196954"/>
                </a:lnTo>
                <a:lnTo>
                  <a:pt x="276751" y="144378"/>
                </a:lnTo>
                <a:lnTo>
                  <a:pt x="276751" y="103380"/>
                </a:lnTo>
                <a:close/>
              </a:path>
            </a:pathLst>
          </a:custGeom>
          <a:solidFill>
            <a:srgbClr val="000000"/>
          </a:solidFill>
        </p:spPr>
        <p:txBody>
          <a:bodyPr wrap="square" lIns="0" tIns="0" rIns="0" bIns="0" rtlCol="0">
            <a:noAutofit/>
          </a:bodyPr>
          <a:lstStyle/>
          <a:p>
            <a:endParaRPr/>
          </a:p>
        </p:txBody>
      </p:sp>
      <p:sp>
        <p:nvSpPr>
          <p:cNvPr id="69" name="object 69"/>
          <p:cNvSpPr/>
          <p:nvPr/>
        </p:nvSpPr>
        <p:spPr>
          <a:xfrm>
            <a:off x="9569244" y="957859"/>
            <a:ext cx="224079" cy="450043"/>
          </a:xfrm>
          <a:custGeom>
            <a:avLst/>
            <a:gdLst/>
            <a:ahLst/>
            <a:cxnLst/>
            <a:rect l="l" t="t" r="r" b="b"/>
            <a:pathLst>
              <a:path w="224079" h="450043">
                <a:moveTo>
                  <a:pt x="9906" y="155957"/>
                </a:moveTo>
                <a:lnTo>
                  <a:pt x="2283" y="180020"/>
                </a:lnTo>
                <a:lnTo>
                  <a:pt x="1522" y="182697"/>
                </a:lnTo>
                <a:lnTo>
                  <a:pt x="761" y="185363"/>
                </a:lnTo>
                <a:lnTo>
                  <a:pt x="0" y="188933"/>
                </a:lnTo>
                <a:lnTo>
                  <a:pt x="0" y="192491"/>
                </a:lnTo>
                <a:lnTo>
                  <a:pt x="761" y="204083"/>
                </a:lnTo>
                <a:lnTo>
                  <a:pt x="3806" y="215662"/>
                </a:lnTo>
                <a:lnTo>
                  <a:pt x="6861" y="227253"/>
                </a:lnTo>
                <a:lnTo>
                  <a:pt x="11428" y="237059"/>
                </a:lnTo>
                <a:lnTo>
                  <a:pt x="15245" y="246853"/>
                </a:lnTo>
                <a:lnTo>
                  <a:pt x="18290" y="258444"/>
                </a:lnTo>
                <a:lnTo>
                  <a:pt x="19051" y="271809"/>
                </a:lnTo>
                <a:lnTo>
                  <a:pt x="19812" y="286065"/>
                </a:lnTo>
                <a:lnTo>
                  <a:pt x="19051" y="308343"/>
                </a:lnTo>
                <a:lnTo>
                  <a:pt x="16767" y="329741"/>
                </a:lnTo>
                <a:lnTo>
                  <a:pt x="13722" y="348448"/>
                </a:lnTo>
                <a:lnTo>
                  <a:pt x="11428" y="363598"/>
                </a:lnTo>
                <a:lnTo>
                  <a:pt x="22106" y="376082"/>
                </a:lnTo>
                <a:lnTo>
                  <a:pt x="32774" y="387661"/>
                </a:lnTo>
                <a:lnTo>
                  <a:pt x="42690" y="398359"/>
                </a:lnTo>
                <a:lnTo>
                  <a:pt x="52597" y="407273"/>
                </a:lnTo>
                <a:lnTo>
                  <a:pt x="62514" y="415294"/>
                </a:lnTo>
                <a:lnTo>
                  <a:pt x="72420" y="422422"/>
                </a:lnTo>
                <a:lnTo>
                  <a:pt x="83087" y="427766"/>
                </a:lnTo>
                <a:lnTo>
                  <a:pt x="93004" y="433109"/>
                </a:lnTo>
                <a:lnTo>
                  <a:pt x="113599" y="441130"/>
                </a:lnTo>
                <a:lnTo>
                  <a:pt x="135695" y="446485"/>
                </a:lnTo>
                <a:lnTo>
                  <a:pt x="159377" y="449151"/>
                </a:lnTo>
                <a:lnTo>
                  <a:pt x="172275" y="450043"/>
                </a:lnTo>
                <a:lnTo>
                  <a:pt x="185279" y="450043"/>
                </a:lnTo>
                <a:lnTo>
                  <a:pt x="196697" y="393896"/>
                </a:lnTo>
                <a:lnTo>
                  <a:pt x="205049" y="340427"/>
                </a:lnTo>
                <a:lnTo>
                  <a:pt x="211921" y="289636"/>
                </a:lnTo>
                <a:lnTo>
                  <a:pt x="217313" y="241510"/>
                </a:lnTo>
                <a:lnTo>
                  <a:pt x="220273" y="197847"/>
                </a:lnTo>
                <a:lnTo>
                  <a:pt x="222599" y="158634"/>
                </a:lnTo>
                <a:lnTo>
                  <a:pt x="224079" y="123873"/>
                </a:lnTo>
                <a:lnTo>
                  <a:pt x="224079" y="55254"/>
                </a:lnTo>
                <a:lnTo>
                  <a:pt x="223339" y="48126"/>
                </a:lnTo>
                <a:lnTo>
                  <a:pt x="218793" y="47233"/>
                </a:lnTo>
                <a:lnTo>
                  <a:pt x="210441" y="44555"/>
                </a:lnTo>
                <a:lnTo>
                  <a:pt x="199763" y="42782"/>
                </a:lnTo>
                <a:lnTo>
                  <a:pt x="187499" y="39212"/>
                </a:lnTo>
                <a:lnTo>
                  <a:pt x="173015" y="36534"/>
                </a:lnTo>
                <a:lnTo>
                  <a:pt x="156311" y="32976"/>
                </a:lnTo>
                <a:lnTo>
                  <a:pt x="139501" y="29406"/>
                </a:lnTo>
                <a:lnTo>
                  <a:pt x="121951" y="24955"/>
                </a:lnTo>
                <a:lnTo>
                  <a:pt x="103661" y="21385"/>
                </a:lnTo>
                <a:lnTo>
                  <a:pt x="86143" y="17827"/>
                </a:lnTo>
                <a:lnTo>
                  <a:pt x="69364" y="14256"/>
                </a:lnTo>
                <a:lnTo>
                  <a:pt x="53358" y="10698"/>
                </a:lnTo>
                <a:lnTo>
                  <a:pt x="38874" y="7128"/>
                </a:lnTo>
                <a:lnTo>
                  <a:pt x="26673" y="4462"/>
                </a:lnTo>
                <a:lnTo>
                  <a:pt x="16006" y="1785"/>
                </a:lnTo>
                <a:lnTo>
                  <a:pt x="8383" y="0"/>
                </a:lnTo>
                <a:lnTo>
                  <a:pt x="12189" y="20504"/>
                </a:lnTo>
                <a:lnTo>
                  <a:pt x="16767" y="40997"/>
                </a:lnTo>
                <a:lnTo>
                  <a:pt x="19051" y="61490"/>
                </a:lnTo>
                <a:lnTo>
                  <a:pt x="20584" y="77532"/>
                </a:lnTo>
                <a:lnTo>
                  <a:pt x="20584" y="80210"/>
                </a:lnTo>
                <a:lnTo>
                  <a:pt x="19051" y="98917"/>
                </a:lnTo>
                <a:lnTo>
                  <a:pt x="15245" y="126550"/>
                </a:lnTo>
                <a:lnTo>
                  <a:pt x="9906" y="155957"/>
                </a:lnTo>
                <a:close/>
              </a:path>
            </a:pathLst>
          </a:custGeom>
          <a:solidFill>
            <a:srgbClr val="B90000"/>
          </a:solidFill>
        </p:spPr>
        <p:txBody>
          <a:bodyPr wrap="square" lIns="0" tIns="0" rIns="0" bIns="0" rtlCol="0">
            <a:noAutofit/>
          </a:bodyPr>
          <a:lstStyle/>
          <a:p>
            <a:endParaRPr/>
          </a:p>
        </p:txBody>
      </p:sp>
      <p:sp>
        <p:nvSpPr>
          <p:cNvPr id="70" name="object 70"/>
          <p:cNvSpPr/>
          <p:nvPr/>
        </p:nvSpPr>
        <p:spPr>
          <a:xfrm>
            <a:off x="9393140" y="658429"/>
            <a:ext cx="61742" cy="96239"/>
          </a:xfrm>
          <a:custGeom>
            <a:avLst/>
            <a:gdLst/>
            <a:ahLst/>
            <a:cxnLst/>
            <a:rect l="l" t="t" r="r" b="b"/>
            <a:pathLst>
              <a:path w="61742" h="96239">
                <a:moveTo>
                  <a:pt x="55652" y="91789"/>
                </a:moveTo>
                <a:lnTo>
                  <a:pt x="59458" y="86445"/>
                </a:lnTo>
                <a:lnTo>
                  <a:pt x="60219" y="84660"/>
                </a:lnTo>
                <a:lnTo>
                  <a:pt x="60981" y="81982"/>
                </a:lnTo>
                <a:lnTo>
                  <a:pt x="61742" y="80197"/>
                </a:lnTo>
                <a:lnTo>
                  <a:pt x="61742" y="77532"/>
                </a:lnTo>
                <a:lnTo>
                  <a:pt x="60981" y="73069"/>
                </a:lnTo>
                <a:lnTo>
                  <a:pt x="59458" y="68618"/>
                </a:lnTo>
                <a:lnTo>
                  <a:pt x="57175" y="65048"/>
                </a:lnTo>
                <a:lnTo>
                  <a:pt x="53358" y="61490"/>
                </a:lnTo>
                <a:lnTo>
                  <a:pt x="51836" y="60597"/>
                </a:lnTo>
                <a:lnTo>
                  <a:pt x="48791" y="58812"/>
                </a:lnTo>
                <a:lnTo>
                  <a:pt x="43452" y="55254"/>
                </a:lnTo>
                <a:lnTo>
                  <a:pt x="38113" y="51684"/>
                </a:lnTo>
                <a:lnTo>
                  <a:pt x="43452" y="42770"/>
                </a:lnTo>
                <a:lnTo>
                  <a:pt x="47258" y="35642"/>
                </a:lnTo>
                <a:lnTo>
                  <a:pt x="50313" y="30298"/>
                </a:lnTo>
                <a:lnTo>
                  <a:pt x="51836" y="28513"/>
                </a:lnTo>
                <a:lnTo>
                  <a:pt x="53358" y="25835"/>
                </a:lnTo>
                <a:lnTo>
                  <a:pt x="54119" y="23170"/>
                </a:lnTo>
                <a:lnTo>
                  <a:pt x="54880" y="20492"/>
                </a:lnTo>
                <a:lnTo>
                  <a:pt x="54880" y="17827"/>
                </a:lnTo>
                <a:lnTo>
                  <a:pt x="54119" y="13364"/>
                </a:lnTo>
                <a:lnTo>
                  <a:pt x="52597" y="9806"/>
                </a:lnTo>
                <a:lnTo>
                  <a:pt x="50313" y="5343"/>
                </a:lnTo>
                <a:lnTo>
                  <a:pt x="47258" y="2665"/>
                </a:lnTo>
                <a:lnTo>
                  <a:pt x="41929" y="0"/>
                </a:lnTo>
                <a:lnTo>
                  <a:pt x="35829" y="0"/>
                </a:lnTo>
                <a:lnTo>
                  <a:pt x="30490" y="2665"/>
                </a:lnTo>
                <a:lnTo>
                  <a:pt x="25912" y="8021"/>
                </a:lnTo>
                <a:lnTo>
                  <a:pt x="3044" y="48126"/>
                </a:lnTo>
                <a:lnTo>
                  <a:pt x="1522" y="51684"/>
                </a:lnTo>
                <a:lnTo>
                  <a:pt x="0" y="55254"/>
                </a:lnTo>
                <a:lnTo>
                  <a:pt x="0" y="58812"/>
                </a:lnTo>
                <a:lnTo>
                  <a:pt x="761" y="62382"/>
                </a:lnTo>
                <a:lnTo>
                  <a:pt x="1522" y="65940"/>
                </a:lnTo>
                <a:lnTo>
                  <a:pt x="3806" y="69511"/>
                </a:lnTo>
                <a:lnTo>
                  <a:pt x="6100" y="72189"/>
                </a:lnTo>
                <a:lnTo>
                  <a:pt x="38113" y="93574"/>
                </a:lnTo>
                <a:lnTo>
                  <a:pt x="44213" y="96239"/>
                </a:lnTo>
                <a:lnTo>
                  <a:pt x="50313" y="95359"/>
                </a:lnTo>
                <a:lnTo>
                  <a:pt x="55652" y="91789"/>
                </a:lnTo>
                <a:close/>
              </a:path>
            </a:pathLst>
          </a:custGeom>
          <a:solidFill>
            <a:srgbClr val="000000"/>
          </a:solidFill>
        </p:spPr>
        <p:txBody>
          <a:bodyPr wrap="square" lIns="0" tIns="0" rIns="0" bIns="0" rtlCol="0">
            <a:noAutofit/>
          </a:bodyPr>
          <a:lstStyle/>
          <a:p>
            <a:endParaRPr/>
          </a:p>
        </p:txBody>
      </p:sp>
      <p:sp>
        <p:nvSpPr>
          <p:cNvPr id="71" name="object 71"/>
          <p:cNvSpPr/>
          <p:nvPr/>
        </p:nvSpPr>
        <p:spPr>
          <a:xfrm>
            <a:off x="9551705" y="650408"/>
            <a:ext cx="46507" cy="54361"/>
          </a:xfrm>
          <a:custGeom>
            <a:avLst/>
            <a:gdLst/>
            <a:ahLst/>
            <a:cxnLst/>
            <a:rect l="l" t="t" r="r" b="b"/>
            <a:pathLst>
              <a:path w="46507" h="54361">
                <a:moveTo>
                  <a:pt x="46507" y="32084"/>
                </a:moveTo>
                <a:lnTo>
                  <a:pt x="46507" y="21385"/>
                </a:lnTo>
                <a:lnTo>
                  <a:pt x="42690" y="11579"/>
                </a:lnTo>
                <a:lnTo>
                  <a:pt x="36590" y="4450"/>
                </a:lnTo>
                <a:lnTo>
                  <a:pt x="27445" y="0"/>
                </a:lnTo>
                <a:lnTo>
                  <a:pt x="18300" y="0"/>
                </a:lnTo>
                <a:lnTo>
                  <a:pt x="13722" y="1785"/>
                </a:lnTo>
                <a:lnTo>
                  <a:pt x="9916" y="4450"/>
                </a:lnTo>
                <a:lnTo>
                  <a:pt x="6100" y="8021"/>
                </a:lnTo>
                <a:lnTo>
                  <a:pt x="3816" y="11579"/>
                </a:lnTo>
                <a:lnTo>
                  <a:pt x="1522" y="16934"/>
                </a:lnTo>
                <a:lnTo>
                  <a:pt x="0" y="22277"/>
                </a:lnTo>
                <a:lnTo>
                  <a:pt x="0" y="32976"/>
                </a:lnTo>
                <a:lnTo>
                  <a:pt x="3816" y="42770"/>
                </a:lnTo>
                <a:lnTo>
                  <a:pt x="10678" y="49898"/>
                </a:lnTo>
                <a:lnTo>
                  <a:pt x="19061" y="54361"/>
                </a:lnTo>
                <a:lnTo>
                  <a:pt x="28206" y="54361"/>
                </a:lnTo>
                <a:lnTo>
                  <a:pt x="32784" y="52576"/>
                </a:lnTo>
                <a:lnTo>
                  <a:pt x="36590" y="49898"/>
                </a:lnTo>
                <a:lnTo>
                  <a:pt x="40407" y="46340"/>
                </a:lnTo>
                <a:lnTo>
                  <a:pt x="43452" y="41877"/>
                </a:lnTo>
                <a:lnTo>
                  <a:pt x="44985" y="37427"/>
                </a:lnTo>
                <a:lnTo>
                  <a:pt x="46507" y="32084"/>
                </a:lnTo>
                <a:close/>
              </a:path>
            </a:pathLst>
          </a:custGeom>
          <a:solidFill>
            <a:srgbClr val="000000"/>
          </a:solidFill>
        </p:spPr>
        <p:txBody>
          <a:bodyPr wrap="square" lIns="0" tIns="0" rIns="0" bIns="0" rtlCol="0">
            <a:noAutofit/>
          </a:bodyPr>
          <a:lstStyle/>
          <a:p>
            <a:endParaRPr/>
          </a:p>
        </p:txBody>
      </p:sp>
      <p:sp>
        <p:nvSpPr>
          <p:cNvPr id="72" name="object 72"/>
          <p:cNvSpPr/>
          <p:nvPr/>
        </p:nvSpPr>
        <p:spPr>
          <a:xfrm>
            <a:off x="9319949" y="605851"/>
            <a:ext cx="44223" cy="52576"/>
          </a:xfrm>
          <a:custGeom>
            <a:avLst/>
            <a:gdLst/>
            <a:ahLst/>
            <a:cxnLst/>
            <a:rect l="l" t="t" r="r" b="b"/>
            <a:pathLst>
              <a:path w="44223" h="52576">
                <a:moveTo>
                  <a:pt x="44223" y="31191"/>
                </a:moveTo>
                <a:lnTo>
                  <a:pt x="43452" y="20492"/>
                </a:lnTo>
                <a:lnTo>
                  <a:pt x="39646" y="11579"/>
                </a:lnTo>
                <a:lnTo>
                  <a:pt x="33545" y="3558"/>
                </a:lnTo>
                <a:lnTo>
                  <a:pt x="25923" y="0"/>
                </a:lnTo>
                <a:lnTo>
                  <a:pt x="16778" y="0"/>
                </a:lnTo>
                <a:lnTo>
                  <a:pt x="12961" y="1772"/>
                </a:lnTo>
                <a:lnTo>
                  <a:pt x="9155" y="4450"/>
                </a:lnTo>
                <a:lnTo>
                  <a:pt x="6100" y="8021"/>
                </a:lnTo>
                <a:lnTo>
                  <a:pt x="3055" y="11579"/>
                </a:lnTo>
                <a:lnTo>
                  <a:pt x="1522" y="16042"/>
                </a:lnTo>
                <a:lnTo>
                  <a:pt x="0" y="21385"/>
                </a:lnTo>
                <a:lnTo>
                  <a:pt x="761" y="32071"/>
                </a:lnTo>
                <a:lnTo>
                  <a:pt x="3816" y="40985"/>
                </a:lnTo>
                <a:lnTo>
                  <a:pt x="10678" y="48113"/>
                </a:lnTo>
                <a:lnTo>
                  <a:pt x="19061" y="51684"/>
                </a:lnTo>
                <a:lnTo>
                  <a:pt x="23639" y="52576"/>
                </a:lnTo>
                <a:lnTo>
                  <a:pt x="27445" y="51684"/>
                </a:lnTo>
                <a:lnTo>
                  <a:pt x="32023" y="49898"/>
                </a:lnTo>
                <a:lnTo>
                  <a:pt x="35068" y="48113"/>
                </a:lnTo>
                <a:lnTo>
                  <a:pt x="38123" y="44555"/>
                </a:lnTo>
                <a:lnTo>
                  <a:pt x="41168" y="40985"/>
                </a:lnTo>
                <a:lnTo>
                  <a:pt x="42690" y="36534"/>
                </a:lnTo>
                <a:lnTo>
                  <a:pt x="44223" y="31191"/>
                </a:lnTo>
                <a:close/>
              </a:path>
            </a:pathLst>
          </a:custGeom>
          <a:solidFill>
            <a:srgbClr val="000000"/>
          </a:solidFill>
        </p:spPr>
        <p:txBody>
          <a:bodyPr wrap="square" lIns="0" tIns="0" rIns="0" bIns="0" rtlCol="0">
            <a:noAutofit/>
          </a:bodyPr>
          <a:lstStyle/>
          <a:p>
            <a:endParaRPr/>
          </a:p>
        </p:txBody>
      </p:sp>
      <p:sp>
        <p:nvSpPr>
          <p:cNvPr id="73" name="object 73"/>
          <p:cNvSpPr/>
          <p:nvPr/>
        </p:nvSpPr>
        <p:spPr>
          <a:xfrm>
            <a:off x="9729362" y="977470"/>
            <a:ext cx="264519" cy="732540"/>
          </a:xfrm>
          <a:custGeom>
            <a:avLst/>
            <a:gdLst/>
            <a:ahLst/>
            <a:cxnLst/>
            <a:rect l="l" t="t" r="r" b="b"/>
            <a:pathLst>
              <a:path w="264519" h="732540">
                <a:moveTo>
                  <a:pt x="14484" y="732540"/>
                </a:moveTo>
                <a:lnTo>
                  <a:pt x="47998" y="712939"/>
                </a:lnTo>
                <a:lnTo>
                  <a:pt x="73900" y="694219"/>
                </a:lnTo>
                <a:lnTo>
                  <a:pt x="98322" y="674619"/>
                </a:lnTo>
                <a:lnTo>
                  <a:pt x="121158" y="655007"/>
                </a:lnTo>
                <a:lnTo>
                  <a:pt x="142514" y="635407"/>
                </a:lnTo>
                <a:lnTo>
                  <a:pt x="161544" y="614902"/>
                </a:lnTo>
                <a:lnTo>
                  <a:pt x="179834" y="594409"/>
                </a:lnTo>
                <a:lnTo>
                  <a:pt x="195904" y="573024"/>
                </a:lnTo>
                <a:lnTo>
                  <a:pt x="210388" y="551626"/>
                </a:lnTo>
                <a:lnTo>
                  <a:pt x="222546" y="530241"/>
                </a:lnTo>
                <a:lnTo>
                  <a:pt x="233965" y="507963"/>
                </a:lnTo>
                <a:lnTo>
                  <a:pt x="243162" y="485685"/>
                </a:lnTo>
                <a:lnTo>
                  <a:pt x="250775" y="462515"/>
                </a:lnTo>
                <a:lnTo>
                  <a:pt x="261453" y="416174"/>
                </a:lnTo>
                <a:lnTo>
                  <a:pt x="263778" y="392111"/>
                </a:lnTo>
                <a:lnTo>
                  <a:pt x="264519" y="352899"/>
                </a:lnTo>
                <a:lnTo>
                  <a:pt x="260713" y="314579"/>
                </a:lnTo>
                <a:lnTo>
                  <a:pt x="253100" y="278044"/>
                </a:lnTo>
                <a:lnTo>
                  <a:pt x="243162" y="242390"/>
                </a:lnTo>
                <a:lnTo>
                  <a:pt x="230159" y="209426"/>
                </a:lnTo>
                <a:lnTo>
                  <a:pt x="214934" y="177342"/>
                </a:lnTo>
                <a:lnTo>
                  <a:pt x="198970" y="147936"/>
                </a:lnTo>
                <a:lnTo>
                  <a:pt x="182160" y="120302"/>
                </a:lnTo>
                <a:lnTo>
                  <a:pt x="164610" y="95347"/>
                </a:lnTo>
                <a:lnTo>
                  <a:pt x="147906" y="73069"/>
                </a:lnTo>
                <a:lnTo>
                  <a:pt x="131836" y="53469"/>
                </a:lnTo>
                <a:lnTo>
                  <a:pt x="104454" y="23170"/>
                </a:lnTo>
                <a:lnTo>
                  <a:pt x="94516" y="13364"/>
                </a:lnTo>
                <a:lnTo>
                  <a:pt x="87644" y="6235"/>
                </a:lnTo>
                <a:lnTo>
                  <a:pt x="83838" y="3558"/>
                </a:lnTo>
                <a:lnTo>
                  <a:pt x="79292" y="0"/>
                </a:lnTo>
                <a:lnTo>
                  <a:pt x="73900" y="0"/>
                </a:lnTo>
                <a:lnTo>
                  <a:pt x="69354" y="1772"/>
                </a:lnTo>
                <a:lnTo>
                  <a:pt x="65548" y="5343"/>
                </a:lnTo>
                <a:lnTo>
                  <a:pt x="63222" y="9793"/>
                </a:lnTo>
                <a:lnTo>
                  <a:pt x="62482" y="16042"/>
                </a:lnTo>
                <a:lnTo>
                  <a:pt x="63962" y="22277"/>
                </a:lnTo>
                <a:lnTo>
                  <a:pt x="67768" y="26728"/>
                </a:lnTo>
                <a:lnTo>
                  <a:pt x="70094" y="29406"/>
                </a:lnTo>
                <a:lnTo>
                  <a:pt x="76226" y="34749"/>
                </a:lnTo>
                <a:lnTo>
                  <a:pt x="85318" y="44555"/>
                </a:lnTo>
                <a:lnTo>
                  <a:pt x="96842" y="57027"/>
                </a:lnTo>
                <a:lnTo>
                  <a:pt x="110480" y="73069"/>
                </a:lnTo>
                <a:lnTo>
                  <a:pt x="125810" y="90896"/>
                </a:lnTo>
                <a:lnTo>
                  <a:pt x="141774" y="112281"/>
                </a:lnTo>
                <a:lnTo>
                  <a:pt x="158584" y="135452"/>
                </a:lnTo>
                <a:lnTo>
                  <a:pt x="174548" y="161300"/>
                </a:lnTo>
                <a:lnTo>
                  <a:pt x="190512" y="189813"/>
                </a:lnTo>
                <a:lnTo>
                  <a:pt x="204996" y="219220"/>
                </a:lnTo>
                <a:lnTo>
                  <a:pt x="217260" y="250411"/>
                </a:lnTo>
                <a:lnTo>
                  <a:pt x="227198" y="283388"/>
                </a:lnTo>
                <a:lnTo>
                  <a:pt x="234810" y="318149"/>
                </a:lnTo>
                <a:lnTo>
                  <a:pt x="237876" y="352899"/>
                </a:lnTo>
                <a:lnTo>
                  <a:pt x="237876" y="389433"/>
                </a:lnTo>
                <a:lnTo>
                  <a:pt x="235550" y="411724"/>
                </a:lnTo>
                <a:lnTo>
                  <a:pt x="231744" y="433109"/>
                </a:lnTo>
                <a:lnTo>
                  <a:pt x="225612" y="454494"/>
                </a:lnTo>
                <a:lnTo>
                  <a:pt x="218740" y="474987"/>
                </a:lnTo>
                <a:lnTo>
                  <a:pt x="209648" y="496384"/>
                </a:lnTo>
                <a:lnTo>
                  <a:pt x="198970" y="516877"/>
                </a:lnTo>
                <a:lnTo>
                  <a:pt x="187552" y="536477"/>
                </a:lnTo>
                <a:lnTo>
                  <a:pt x="173808" y="556982"/>
                </a:lnTo>
                <a:lnTo>
                  <a:pt x="158584" y="576582"/>
                </a:lnTo>
                <a:lnTo>
                  <a:pt x="141034" y="595302"/>
                </a:lnTo>
                <a:lnTo>
                  <a:pt x="122744" y="614009"/>
                </a:lnTo>
                <a:lnTo>
                  <a:pt x="102868" y="632729"/>
                </a:lnTo>
                <a:lnTo>
                  <a:pt x="81512" y="650556"/>
                </a:lnTo>
                <a:lnTo>
                  <a:pt x="57936" y="668371"/>
                </a:lnTo>
                <a:lnTo>
                  <a:pt x="33514" y="686198"/>
                </a:lnTo>
                <a:lnTo>
                  <a:pt x="6871" y="703133"/>
                </a:lnTo>
                <a:lnTo>
                  <a:pt x="3065" y="707583"/>
                </a:lnTo>
                <a:lnTo>
                  <a:pt x="740" y="712046"/>
                </a:lnTo>
                <a:lnTo>
                  <a:pt x="0" y="718282"/>
                </a:lnTo>
                <a:lnTo>
                  <a:pt x="1480" y="724518"/>
                </a:lnTo>
                <a:lnTo>
                  <a:pt x="5286" y="728976"/>
                </a:lnTo>
                <a:lnTo>
                  <a:pt x="9832" y="731649"/>
                </a:lnTo>
                <a:lnTo>
                  <a:pt x="14484" y="732540"/>
                </a:lnTo>
                <a:close/>
              </a:path>
            </a:pathLst>
          </a:custGeom>
          <a:solidFill>
            <a:srgbClr val="000000"/>
          </a:solidFill>
        </p:spPr>
        <p:txBody>
          <a:bodyPr wrap="square" lIns="0" tIns="0" rIns="0" bIns="0" rtlCol="0">
            <a:noAutofit/>
          </a:bodyPr>
          <a:lstStyle/>
          <a:p>
            <a:endParaRPr/>
          </a:p>
        </p:txBody>
      </p:sp>
      <p:sp>
        <p:nvSpPr>
          <p:cNvPr id="74" name="object 74"/>
          <p:cNvSpPr/>
          <p:nvPr/>
        </p:nvSpPr>
        <p:spPr>
          <a:xfrm>
            <a:off x="9685168" y="1596835"/>
            <a:ext cx="160804" cy="158626"/>
          </a:xfrm>
          <a:custGeom>
            <a:avLst/>
            <a:gdLst/>
            <a:ahLst/>
            <a:cxnLst/>
            <a:rect l="l" t="t" r="r" b="b"/>
            <a:pathLst>
              <a:path w="160804" h="158626">
                <a:moveTo>
                  <a:pt x="46412" y="116740"/>
                </a:moveTo>
                <a:lnTo>
                  <a:pt x="45672" y="122087"/>
                </a:lnTo>
                <a:lnTo>
                  <a:pt x="47258" y="126543"/>
                </a:lnTo>
                <a:lnTo>
                  <a:pt x="47998" y="128326"/>
                </a:lnTo>
                <a:lnTo>
                  <a:pt x="50218" y="131890"/>
                </a:lnTo>
                <a:lnTo>
                  <a:pt x="53284" y="136345"/>
                </a:lnTo>
                <a:lnTo>
                  <a:pt x="57090" y="140802"/>
                </a:lnTo>
                <a:lnTo>
                  <a:pt x="61742" y="146149"/>
                </a:lnTo>
                <a:lnTo>
                  <a:pt x="67028" y="150605"/>
                </a:lnTo>
                <a:lnTo>
                  <a:pt x="73160" y="155060"/>
                </a:lnTo>
                <a:lnTo>
                  <a:pt x="80772" y="157734"/>
                </a:lnTo>
                <a:lnTo>
                  <a:pt x="84578" y="158626"/>
                </a:lnTo>
                <a:lnTo>
                  <a:pt x="88384" y="158626"/>
                </a:lnTo>
                <a:lnTo>
                  <a:pt x="92930" y="157734"/>
                </a:lnTo>
                <a:lnTo>
                  <a:pt x="97476" y="156843"/>
                </a:lnTo>
                <a:lnTo>
                  <a:pt x="102868" y="155060"/>
                </a:lnTo>
                <a:lnTo>
                  <a:pt x="108154" y="152387"/>
                </a:lnTo>
                <a:lnTo>
                  <a:pt x="113546" y="147931"/>
                </a:lnTo>
                <a:lnTo>
                  <a:pt x="119678" y="142584"/>
                </a:lnTo>
                <a:lnTo>
                  <a:pt x="134162" y="129217"/>
                </a:lnTo>
                <a:lnTo>
                  <a:pt x="138708" y="124760"/>
                </a:lnTo>
                <a:lnTo>
                  <a:pt x="143254" y="120305"/>
                </a:lnTo>
                <a:lnTo>
                  <a:pt x="147800" y="115849"/>
                </a:lnTo>
                <a:lnTo>
                  <a:pt x="151606" y="111392"/>
                </a:lnTo>
                <a:lnTo>
                  <a:pt x="154672" y="106938"/>
                </a:lnTo>
                <a:lnTo>
                  <a:pt x="157738" y="101595"/>
                </a:lnTo>
                <a:lnTo>
                  <a:pt x="159324" y="95347"/>
                </a:lnTo>
                <a:lnTo>
                  <a:pt x="160804" y="89111"/>
                </a:lnTo>
                <a:lnTo>
                  <a:pt x="160804" y="81982"/>
                </a:lnTo>
                <a:lnTo>
                  <a:pt x="160064" y="74854"/>
                </a:lnTo>
                <a:lnTo>
                  <a:pt x="157738" y="67726"/>
                </a:lnTo>
                <a:lnTo>
                  <a:pt x="154672" y="59705"/>
                </a:lnTo>
                <a:lnTo>
                  <a:pt x="150126" y="50791"/>
                </a:lnTo>
                <a:lnTo>
                  <a:pt x="144840" y="41877"/>
                </a:lnTo>
                <a:lnTo>
                  <a:pt x="137968" y="32084"/>
                </a:lnTo>
                <a:lnTo>
                  <a:pt x="129510" y="20492"/>
                </a:lnTo>
                <a:lnTo>
                  <a:pt x="124964" y="16934"/>
                </a:lnTo>
                <a:lnTo>
                  <a:pt x="119678" y="14256"/>
                </a:lnTo>
                <a:lnTo>
                  <a:pt x="110480" y="10686"/>
                </a:lnTo>
                <a:lnTo>
                  <a:pt x="99062" y="6235"/>
                </a:lnTo>
                <a:lnTo>
                  <a:pt x="86058" y="2665"/>
                </a:lnTo>
                <a:lnTo>
                  <a:pt x="71574" y="892"/>
                </a:lnTo>
                <a:lnTo>
                  <a:pt x="57936" y="0"/>
                </a:lnTo>
                <a:lnTo>
                  <a:pt x="44932" y="2665"/>
                </a:lnTo>
                <a:lnTo>
                  <a:pt x="33514" y="8913"/>
                </a:lnTo>
                <a:lnTo>
                  <a:pt x="25056" y="16042"/>
                </a:lnTo>
                <a:lnTo>
                  <a:pt x="18290" y="22277"/>
                </a:lnTo>
                <a:lnTo>
                  <a:pt x="12158" y="28513"/>
                </a:lnTo>
                <a:lnTo>
                  <a:pt x="6766" y="35642"/>
                </a:lnTo>
                <a:lnTo>
                  <a:pt x="2960" y="42770"/>
                </a:lnTo>
                <a:lnTo>
                  <a:pt x="740" y="51684"/>
                </a:lnTo>
                <a:lnTo>
                  <a:pt x="0" y="61490"/>
                </a:lnTo>
                <a:lnTo>
                  <a:pt x="740" y="73069"/>
                </a:lnTo>
                <a:lnTo>
                  <a:pt x="1480" y="76639"/>
                </a:lnTo>
                <a:lnTo>
                  <a:pt x="2960" y="80197"/>
                </a:lnTo>
                <a:lnTo>
                  <a:pt x="6766" y="87326"/>
                </a:lnTo>
                <a:lnTo>
                  <a:pt x="12898" y="94466"/>
                </a:lnTo>
                <a:lnTo>
                  <a:pt x="22096" y="100702"/>
                </a:lnTo>
                <a:lnTo>
                  <a:pt x="26642" y="102475"/>
                </a:lnTo>
                <a:lnTo>
                  <a:pt x="38800" y="102475"/>
                </a:lnTo>
                <a:lnTo>
                  <a:pt x="42606" y="101595"/>
                </a:lnTo>
                <a:lnTo>
                  <a:pt x="46412" y="99810"/>
                </a:lnTo>
                <a:lnTo>
                  <a:pt x="47258" y="103368"/>
                </a:lnTo>
                <a:lnTo>
                  <a:pt x="47258" y="114066"/>
                </a:lnTo>
                <a:lnTo>
                  <a:pt x="46412" y="116740"/>
                </a:lnTo>
                <a:close/>
              </a:path>
            </a:pathLst>
          </a:custGeom>
          <a:solidFill>
            <a:srgbClr val="000000"/>
          </a:solidFill>
        </p:spPr>
        <p:txBody>
          <a:bodyPr wrap="square" lIns="0" tIns="0" rIns="0" bIns="0" rtlCol="0">
            <a:noAutofit/>
          </a:bodyPr>
          <a:lstStyle/>
          <a:p>
            <a:endParaRPr/>
          </a:p>
        </p:txBody>
      </p:sp>
      <p:sp>
        <p:nvSpPr>
          <p:cNvPr id="75" name="object 75"/>
          <p:cNvSpPr/>
          <p:nvPr/>
        </p:nvSpPr>
        <p:spPr>
          <a:xfrm>
            <a:off x="9711071" y="1628028"/>
            <a:ext cx="108260" cy="96243"/>
          </a:xfrm>
          <a:custGeom>
            <a:avLst/>
            <a:gdLst/>
            <a:ahLst/>
            <a:cxnLst/>
            <a:rect l="l" t="t" r="r" b="b"/>
            <a:pathLst>
              <a:path w="108260" h="96243">
                <a:moveTo>
                  <a:pt x="2220" y="38319"/>
                </a:moveTo>
                <a:lnTo>
                  <a:pt x="6026" y="40985"/>
                </a:lnTo>
                <a:lnTo>
                  <a:pt x="9092" y="40985"/>
                </a:lnTo>
                <a:lnTo>
                  <a:pt x="13638" y="40105"/>
                </a:lnTo>
                <a:lnTo>
                  <a:pt x="18290" y="38319"/>
                </a:lnTo>
                <a:lnTo>
                  <a:pt x="22096" y="37427"/>
                </a:lnTo>
                <a:lnTo>
                  <a:pt x="28968" y="37427"/>
                </a:lnTo>
                <a:lnTo>
                  <a:pt x="32034" y="38319"/>
                </a:lnTo>
                <a:lnTo>
                  <a:pt x="34254" y="39212"/>
                </a:lnTo>
                <a:lnTo>
                  <a:pt x="36580" y="40105"/>
                </a:lnTo>
                <a:lnTo>
                  <a:pt x="38060" y="41877"/>
                </a:lnTo>
                <a:lnTo>
                  <a:pt x="42606" y="49006"/>
                </a:lnTo>
                <a:lnTo>
                  <a:pt x="45672" y="56134"/>
                </a:lnTo>
                <a:lnTo>
                  <a:pt x="47258" y="65048"/>
                </a:lnTo>
                <a:lnTo>
                  <a:pt x="47998" y="73961"/>
                </a:lnTo>
                <a:lnTo>
                  <a:pt x="47998" y="76639"/>
                </a:lnTo>
                <a:lnTo>
                  <a:pt x="47258" y="79311"/>
                </a:lnTo>
                <a:lnTo>
                  <a:pt x="47258" y="81984"/>
                </a:lnTo>
                <a:lnTo>
                  <a:pt x="46518" y="83766"/>
                </a:lnTo>
                <a:lnTo>
                  <a:pt x="48738" y="87330"/>
                </a:lnTo>
                <a:lnTo>
                  <a:pt x="52544" y="90896"/>
                </a:lnTo>
                <a:lnTo>
                  <a:pt x="55610" y="94460"/>
                </a:lnTo>
                <a:lnTo>
                  <a:pt x="60156" y="96243"/>
                </a:lnTo>
                <a:lnTo>
                  <a:pt x="63962" y="96243"/>
                </a:lnTo>
                <a:lnTo>
                  <a:pt x="67768" y="94460"/>
                </a:lnTo>
                <a:lnTo>
                  <a:pt x="71574" y="91787"/>
                </a:lnTo>
                <a:lnTo>
                  <a:pt x="76226" y="88222"/>
                </a:lnTo>
                <a:lnTo>
                  <a:pt x="92190" y="73069"/>
                </a:lnTo>
                <a:lnTo>
                  <a:pt x="98322" y="67726"/>
                </a:lnTo>
                <a:lnTo>
                  <a:pt x="103608" y="63275"/>
                </a:lnTo>
                <a:lnTo>
                  <a:pt x="106674" y="58812"/>
                </a:lnTo>
                <a:lnTo>
                  <a:pt x="108260" y="54361"/>
                </a:lnTo>
                <a:lnTo>
                  <a:pt x="108260" y="53469"/>
                </a:lnTo>
                <a:lnTo>
                  <a:pt x="107414" y="48113"/>
                </a:lnTo>
                <a:lnTo>
                  <a:pt x="103608" y="40105"/>
                </a:lnTo>
                <a:lnTo>
                  <a:pt x="96736" y="28513"/>
                </a:lnTo>
                <a:lnTo>
                  <a:pt x="86058" y="12471"/>
                </a:lnTo>
                <a:lnTo>
                  <a:pt x="78446" y="8913"/>
                </a:lnTo>
                <a:lnTo>
                  <a:pt x="69354" y="6235"/>
                </a:lnTo>
                <a:lnTo>
                  <a:pt x="60156" y="3558"/>
                </a:lnTo>
                <a:lnTo>
                  <a:pt x="51064" y="892"/>
                </a:lnTo>
                <a:lnTo>
                  <a:pt x="42606" y="0"/>
                </a:lnTo>
                <a:lnTo>
                  <a:pt x="34254" y="0"/>
                </a:lnTo>
                <a:lnTo>
                  <a:pt x="28122" y="892"/>
                </a:lnTo>
                <a:lnTo>
                  <a:pt x="22836" y="3558"/>
                </a:lnTo>
                <a:lnTo>
                  <a:pt x="16704" y="8913"/>
                </a:lnTo>
                <a:lnTo>
                  <a:pt x="11418" y="13364"/>
                </a:lnTo>
                <a:lnTo>
                  <a:pt x="7612" y="16934"/>
                </a:lnTo>
                <a:lnTo>
                  <a:pt x="4546" y="19600"/>
                </a:lnTo>
                <a:lnTo>
                  <a:pt x="2220" y="22277"/>
                </a:lnTo>
                <a:lnTo>
                  <a:pt x="740" y="24943"/>
                </a:lnTo>
                <a:lnTo>
                  <a:pt x="0" y="27621"/>
                </a:lnTo>
                <a:lnTo>
                  <a:pt x="0" y="34749"/>
                </a:lnTo>
                <a:lnTo>
                  <a:pt x="2220" y="38319"/>
                </a:lnTo>
                <a:close/>
              </a:path>
            </a:pathLst>
          </a:custGeom>
          <a:solidFill>
            <a:srgbClr val="F1BEB1"/>
          </a:solidFill>
        </p:spPr>
        <p:txBody>
          <a:bodyPr wrap="square" lIns="0" tIns="0" rIns="0" bIns="0" rtlCol="0">
            <a:noAutofit/>
          </a:bodyPr>
          <a:lstStyle/>
          <a:p>
            <a:endParaRPr/>
          </a:p>
        </p:txBody>
      </p:sp>
      <p:sp>
        <p:nvSpPr>
          <p:cNvPr id="76" name="object 76"/>
          <p:cNvSpPr/>
          <p:nvPr/>
        </p:nvSpPr>
        <p:spPr>
          <a:xfrm>
            <a:off x="9177391" y="924882"/>
            <a:ext cx="394896" cy="450043"/>
          </a:xfrm>
          <a:custGeom>
            <a:avLst/>
            <a:gdLst/>
            <a:ahLst/>
            <a:cxnLst/>
            <a:rect l="l" t="t" r="r" b="b"/>
            <a:pathLst>
              <a:path w="394896" h="450043">
                <a:moveTo>
                  <a:pt x="19823" y="358254"/>
                </a:moveTo>
                <a:lnTo>
                  <a:pt x="35068" y="373404"/>
                </a:lnTo>
                <a:lnTo>
                  <a:pt x="50313" y="387661"/>
                </a:lnTo>
                <a:lnTo>
                  <a:pt x="65558" y="400145"/>
                </a:lnTo>
                <a:lnTo>
                  <a:pt x="80042" y="411724"/>
                </a:lnTo>
                <a:lnTo>
                  <a:pt x="94526" y="421530"/>
                </a:lnTo>
                <a:lnTo>
                  <a:pt x="109021" y="429551"/>
                </a:lnTo>
                <a:lnTo>
                  <a:pt x="123505" y="436679"/>
                </a:lnTo>
                <a:lnTo>
                  <a:pt x="137228" y="442022"/>
                </a:lnTo>
                <a:lnTo>
                  <a:pt x="150940" y="446485"/>
                </a:lnTo>
                <a:lnTo>
                  <a:pt x="176864" y="450043"/>
                </a:lnTo>
                <a:lnTo>
                  <a:pt x="189825" y="450043"/>
                </a:lnTo>
                <a:lnTo>
                  <a:pt x="214216" y="445593"/>
                </a:lnTo>
                <a:lnTo>
                  <a:pt x="250817" y="425980"/>
                </a:lnTo>
                <a:lnTo>
                  <a:pt x="273685" y="405488"/>
                </a:lnTo>
                <a:lnTo>
                  <a:pt x="293508" y="379640"/>
                </a:lnTo>
                <a:lnTo>
                  <a:pt x="311798" y="350233"/>
                </a:lnTo>
                <a:lnTo>
                  <a:pt x="327815" y="317257"/>
                </a:lnTo>
                <a:lnTo>
                  <a:pt x="340766" y="282507"/>
                </a:lnTo>
                <a:lnTo>
                  <a:pt x="352966" y="246865"/>
                </a:lnTo>
                <a:lnTo>
                  <a:pt x="362883" y="210318"/>
                </a:lnTo>
                <a:lnTo>
                  <a:pt x="371267" y="174676"/>
                </a:lnTo>
                <a:lnTo>
                  <a:pt x="378129" y="139915"/>
                </a:lnTo>
                <a:lnTo>
                  <a:pt x="383457" y="108723"/>
                </a:lnTo>
                <a:lnTo>
                  <a:pt x="388035" y="80210"/>
                </a:lnTo>
                <a:lnTo>
                  <a:pt x="391090" y="55254"/>
                </a:lnTo>
                <a:lnTo>
                  <a:pt x="393374" y="36546"/>
                </a:lnTo>
                <a:lnTo>
                  <a:pt x="394135" y="23170"/>
                </a:lnTo>
                <a:lnTo>
                  <a:pt x="394896" y="16934"/>
                </a:lnTo>
                <a:lnTo>
                  <a:pt x="394135" y="10698"/>
                </a:lnTo>
                <a:lnTo>
                  <a:pt x="391851" y="5355"/>
                </a:lnTo>
                <a:lnTo>
                  <a:pt x="388035" y="1785"/>
                </a:lnTo>
                <a:lnTo>
                  <a:pt x="382696" y="0"/>
                </a:lnTo>
                <a:lnTo>
                  <a:pt x="377367" y="892"/>
                </a:lnTo>
                <a:lnTo>
                  <a:pt x="373551" y="3570"/>
                </a:lnTo>
                <a:lnTo>
                  <a:pt x="369734" y="8021"/>
                </a:lnTo>
                <a:lnTo>
                  <a:pt x="368212" y="14269"/>
                </a:lnTo>
                <a:lnTo>
                  <a:pt x="368212" y="18719"/>
                </a:lnTo>
                <a:lnTo>
                  <a:pt x="366689" y="30311"/>
                </a:lnTo>
                <a:lnTo>
                  <a:pt x="365167" y="47233"/>
                </a:lnTo>
                <a:lnTo>
                  <a:pt x="362111" y="70403"/>
                </a:lnTo>
                <a:lnTo>
                  <a:pt x="358305" y="97144"/>
                </a:lnTo>
                <a:lnTo>
                  <a:pt x="353728" y="127443"/>
                </a:lnTo>
                <a:lnTo>
                  <a:pt x="347627" y="159527"/>
                </a:lnTo>
                <a:lnTo>
                  <a:pt x="340005" y="193384"/>
                </a:lnTo>
                <a:lnTo>
                  <a:pt x="330860" y="228146"/>
                </a:lnTo>
                <a:lnTo>
                  <a:pt x="320182" y="262907"/>
                </a:lnTo>
                <a:lnTo>
                  <a:pt x="307992" y="295872"/>
                </a:lnTo>
                <a:lnTo>
                  <a:pt x="293508" y="327063"/>
                </a:lnTo>
                <a:lnTo>
                  <a:pt x="277491" y="354696"/>
                </a:lnTo>
                <a:lnTo>
                  <a:pt x="259201" y="378759"/>
                </a:lnTo>
                <a:lnTo>
                  <a:pt x="239378" y="398359"/>
                </a:lnTo>
                <a:lnTo>
                  <a:pt x="216510" y="411724"/>
                </a:lnTo>
                <a:lnTo>
                  <a:pt x="196687" y="417972"/>
                </a:lnTo>
                <a:lnTo>
                  <a:pt x="186009" y="419745"/>
                </a:lnTo>
                <a:lnTo>
                  <a:pt x="175341" y="418852"/>
                </a:lnTo>
                <a:lnTo>
                  <a:pt x="163902" y="417972"/>
                </a:lnTo>
                <a:lnTo>
                  <a:pt x="152473" y="415294"/>
                </a:lnTo>
                <a:lnTo>
                  <a:pt x="141034" y="411724"/>
                </a:lnTo>
                <a:lnTo>
                  <a:pt x="128834" y="406380"/>
                </a:lnTo>
                <a:lnTo>
                  <a:pt x="116644" y="399252"/>
                </a:lnTo>
                <a:lnTo>
                  <a:pt x="103682" y="392124"/>
                </a:lnTo>
                <a:lnTo>
                  <a:pt x="90720" y="383210"/>
                </a:lnTo>
                <a:lnTo>
                  <a:pt x="77759" y="372511"/>
                </a:lnTo>
                <a:lnTo>
                  <a:pt x="64036" y="360932"/>
                </a:lnTo>
                <a:lnTo>
                  <a:pt x="50313" y="348448"/>
                </a:lnTo>
                <a:lnTo>
                  <a:pt x="36590" y="334191"/>
                </a:lnTo>
                <a:lnTo>
                  <a:pt x="22106" y="319042"/>
                </a:lnTo>
                <a:lnTo>
                  <a:pt x="17539" y="315484"/>
                </a:lnTo>
                <a:lnTo>
                  <a:pt x="12961" y="314591"/>
                </a:lnTo>
                <a:lnTo>
                  <a:pt x="7622" y="315484"/>
                </a:lnTo>
                <a:lnTo>
                  <a:pt x="3816" y="319042"/>
                </a:lnTo>
                <a:lnTo>
                  <a:pt x="761" y="324398"/>
                </a:lnTo>
                <a:lnTo>
                  <a:pt x="0" y="329741"/>
                </a:lnTo>
                <a:lnTo>
                  <a:pt x="761" y="335977"/>
                </a:lnTo>
                <a:lnTo>
                  <a:pt x="3816" y="341320"/>
                </a:lnTo>
                <a:lnTo>
                  <a:pt x="19823" y="358254"/>
                </a:lnTo>
                <a:close/>
              </a:path>
            </a:pathLst>
          </a:custGeom>
          <a:solidFill>
            <a:srgbClr val="000000"/>
          </a:solidFill>
        </p:spPr>
        <p:txBody>
          <a:bodyPr wrap="square" lIns="0" tIns="0" rIns="0" bIns="0" rtlCol="0">
            <a:noAutofit/>
          </a:bodyPr>
          <a:lstStyle/>
          <a:p>
            <a:endParaRPr/>
          </a:p>
        </p:txBody>
      </p:sp>
      <p:sp>
        <p:nvSpPr>
          <p:cNvPr id="77" name="object 77"/>
          <p:cNvSpPr/>
          <p:nvPr/>
        </p:nvSpPr>
        <p:spPr>
          <a:xfrm>
            <a:off x="8679578" y="755561"/>
            <a:ext cx="496291" cy="745915"/>
          </a:xfrm>
          <a:custGeom>
            <a:avLst/>
            <a:gdLst/>
            <a:ahLst/>
            <a:cxnLst/>
            <a:rect l="l" t="t" r="r" b="b"/>
            <a:pathLst>
              <a:path w="496291" h="745915">
                <a:moveTo>
                  <a:pt x="362879" y="0"/>
                </a:moveTo>
                <a:lnTo>
                  <a:pt x="11435" y="70403"/>
                </a:lnTo>
                <a:lnTo>
                  <a:pt x="8385" y="71296"/>
                </a:lnTo>
                <a:lnTo>
                  <a:pt x="6099" y="73081"/>
                </a:lnTo>
                <a:lnTo>
                  <a:pt x="3812" y="74866"/>
                </a:lnTo>
                <a:lnTo>
                  <a:pt x="2286" y="77532"/>
                </a:lnTo>
                <a:lnTo>
                  <a:pt x="762" y="80210"/>
                </a:lnTo>
                <a:lnTo>
                  <a:pt x="762" y="83768"/>
                </a:lnTo>
                <a:lnTo>
                  <a:pt x="0" y="86445"/>
                </a:lnTo>
                <a:lnTo>
                  <a:pt x="762" y="90016"/>
                </a:lnTo>
                <a:lnTo>
                  <a:pt x="2286" y="96252"/>
                </a:lnTo>
                <a:lnTo>
                  <a:pt x="6861" y="111401"/>
                </a:lnTo>
                <a:lnTo>
                  <a:pt x="13722" y="134571"/>
                </a:lnTo>
                <a:lnTo>
                  <a:pt x="22107" y="165763"/>
                </a:lnTo>
                <a:lnTo>
                  <a:pt x="32019" y="203190"/>
                </a:lnTo>
                <a:lnTo>
                  <a:pt x="42686" y="245973"/>
                </a:lnTo>
                <a:lnTo>
                  <a:pt x="54887" y="293194"/>
                </a:lnTo>
                <a:lnTo>
                  <a:pt x="67087" y="343105"/>
                </a:lnTo>
                <a:lnTo>
                  <a:pt x="79288" y="394789"/>
                </a:lnTo>
                <a:lnTo>
                  <a:pt x="91477" y="448258"/>
                </a:lnTo>
                <a:lnTo>
                  <a:pt x="102155" y="501740"/>
                </a:lnTo>
                <a:lnTo>
                  <a:pt x="112823" y="553424"/>
                </a:lnTo>
                <a:lnTo>
                  <a:pt x="121217" y="603323"/>
                </a:lnTo>
                <a:lnTo>
                  <a:pt x="128079" y="650556"/>
                </a:lnTo>
                <a:lnTo>
                  <a:pt x="132646" y="693339"/>
                </a:lnTo>
                <a:lnTo>
                  <a:pt x="134940" y="730766"/>
                </a:lnTo>
                <a:lnTo>
                  <a:pt x="135701" y="734336"/>
                </a:lnTo>
                <a:lnTo>
                  <a:pt x="145608" y="745915"/>
                </a:lnTo>
                <a:lnTo>
                  <a:pt x="151708" y="745915"/>
                </a:lnTo>
                <a:lnTo>
                  <a:pt x="487146" y="641642"/>
                </a:lnTo>
                <a:lnTo>
                  <a:pt x="491713" y="638977"/>
                </a:lnTo>
                <a:lnTo>
                  <a:pt x="494769" y="635407"/>
                </a:lnTo>
                <a:lnTo>
                  <a:pt x="496291" y="630063"/>
                </a:lnTo>
                <a:lnTo>
                  <a:pt x="496291" y="623828"/>
                </a:lnTo>
                <a:lnTo>
                  <a:pt x="487907" y="571251"/>
                </a:lnTo>
                <a:lnTo>
                  <a:pt x="474945" y="492826"/>
                </a:lnTo>
                <a:lnTo>
                  <a:pt x="458939" y="397467"/>
                </a:lnTo>
                <a:lnTo>
                  <a:pt x="440638" y="294979"/>
                </a:lnTo>
                <a:lnTo>
                  <a:pt x="421576" y="195169"/>
                </a:lnTo>
                <a:lnTo>
                  <a:pt x="404048" y="106938"/>
                </a:lnTo>
                <a:lnTo>
                  <a:pt x="388031" y="40105"/>
                </a:lnTo>
                <a:lnTo>
                  <a:pt x="375079" y="5355"/>
                </a:lnTo>
                <a:lnTo>
                  <a:pt x="365924" y="0"/>
                </a:lnTo>
                <a:lnTo>
                  <a:pt x="362879" y="0"/>
                </a:lnTo>
                <a:close/>
              </a:path>
            </a:pathLst>
          </a:custGeom>
          <a:solidFill>
            <a:srgbClr val="000000"/>
          </a:solidFill>
        </p:spPr>
        <p:txBody>
          <a:bodyPr wrap="square" lIns="0" tIns="0" rIns="0" bIns="0" rtlCol="0">
            <a:noAutofit/>
          </a:bodyPr>
          <a:lstStyle/>
          <a:p>
            <a:endParaRPr/>
          </a:p>
        </p:txBody>
      </p:sp>
      <p:sp>
        <p:nvSpPr>
          <p:cNvPr id="78" name="object 78"/>
          <p:cNvSpPr/>
          <p:nvPr/>
        </p:nvSpPr>
        <p:spPr>
          <a:xfrm>
            <a:off x="8710071" y="787644"/>
            <a:ext cx="437590" cy="679082"/>
          </a:xfrm>
          <a:custGeom>
            <a:avLst/>
            <a:gdLst/>
            <a:ahLst/>
            <a:cxnLst/>
            <a:rect l="l" t="t" r="r" b="b"/>
            <a:pathLst>
              <a:path w="437590" h="679082">
                <a:moveTo>
                  <a:pt x="0" y="65060"/>
                </a:moveTo>
                <a:lnTo>
                  <a:pt x="5336" y="83768"/>
                </a:lnTo>
                <a:lnTo>
                  <a:pt x="11431" y="106938"/>
                </a:lnTo>
                <a:lnTo>
                  <a:pt x="19826" y="136357"/>
                </a:lnTo>
                <a:lnTo>
                  <a:pt x="28210" y="170213"/>
                </a:lnTo>
                <a:lnTo>
                  <a:pt x="38116" y="207641"/>
                </a:lnTo>
                <a:lnTo>
                  <a:pt x="48794" y="247746"/>
                </a:lnTo>
                <a:lnTo>
                  <a:pt x="58700" y="290528"/>
                </a:lnTo>
                <a:lnTo>
                  <a:pt x="69378" y="335084"/>
                </a:lnTo>
                <a:lnTo>
                  <a:pt x="80046" y="381425"/>
                </a:lnTo>
                <a:lnTo>
                  <a:pt x="89962" y="427766"/>
                </a:lnTo>
                <a:lnTo>
                  <a:pt x="99869" y="473214"/>
                </a:lnTo>
                <a:lnTo>
                  <a:pt x="108252" y="518662"/>
                </a:lnTo>
                <a:lnTo>
                  <a:pt x="115875" y="563218"/>
                </a:lnTo>
                <a:lnTo>
                  <a:pt x="121975" y="604215"/>
                </a:lnTo>
                <a:lnTo>
                  <a:pt x="126553" y="643428"/>
                </a:lnTo>
                <a:lnTo>
                  <a:pt x="129598" y="679082"/>
                </a:lnTo>
                <a:lnTo>
                  <a:pt x="137221" y="676404"/>
                </a:lnTo>
                <a:lnTo>
                  <a:pt x="150182" y="672834"/>
                </a:lnTo>
                <a:lnTo>
                  <a:pt x="166189" y="667491"/>
                </a:lnTo>
                <a:lnTo>
                  <a:pt x="186773" y="661255"/>
                </a:lnTo>
                <a:lnTo>
                  <a:pt x="208880" y="654126"/>
                </a:lnTo>
                <a:lnTo>
                  <a:pt x="234042" y="646998"/>
                </a:lnTo>
                <a:lnTo>
                  <a:pt x="259965" y="638977"/>
                </a:lnTo>
                <a:lnTo>
                  <a:pt x="285878" y="630063"/>
                </a:lnTo>
                <a:lnTo>
                  <a:pt x="312562" y="622042"/>
                </a:lnTo>
                <a:lnTo>
                  <a:pt x="338486" y="614021"/>
                </a:lnTo>
                <a:lnTo>
                  <a:pt x="362876" y="606893"/>
                </a:lnTo>
                <a:lnTo>
                  <a:pt x="384983" y="599765"/>
                </a:lnTo>
                <a:lnTo>
                  <a:pt x="404044" y="594409"/>
                </a:lnTo>
                <a:lnTo>
                  <a:pt x="419290" y="589066"/>
                </a:lnTo>
                <a:lnTo>
                  <a:pt x="430729" y="585508"/>
                </a:lnTo>
                <a:lnTo>
                  <a:pt x="437590" y="583723"/>
                </a:lnTo>
                <a:lnTo>
                  <a:pt x="424629" y="500847"/>
                </a:lnTo>
                <a:lnTo>
                  <a:pt x="409383" y="412616"/>
                </a:lnTo>
                <a:lnTo>
                  <a:pt x="394138" y="322612"/>
                </a:lnTo>
                <a:lnTo>
                  <a:pt x="378121" y="235274"/>
                </a:lnTo>
                <a:lnTo>
                  <a:pt x="362876" y="155064"/>
                </a:lnTo>
                <a:lnTo>
                  <a:pt x="349153" y="86445"/>
                </a:lnTo>
                <a:lnTo>
                  <a:pt x="336963" y="32976"/>
                </a:lnTo>
                <a:lnTo>
                  <a:pt x="327046" y="0"/>
                </a:lnTo>
                <a:lnTo>
                  <a:pt x="320946" y="892"/>
                </a:lnTo>
                <a:lnTo>
                  <a:pt x="309517" y="3570"/>
                </a:lnTo>
                <a:lnTo>
                  <a:pt x="292739" y="7128"/>
                </a:lnTo>
                <a:lnTo>
                  <a:pt x="272916" y="10698"/>
                </a:lnTo>
                <a:lnTo>
                  <a:pt x="249287" y="15149"/>
                </a:lnTo>
                <a:lnTo>
                  <a:pt x="223364" y="20504"/>
                </a:lnTo>
                <a:lnTo>
                  <a:pt x="195929" y="25848"/>
                </a:lnTo>
                <a:lnTo>
                  <a:pt x="167722" y="32084"/>
                </a:lnTo>
                <a:lnTo>
                  <a:pt x="138743" y="37427"/>
                </a:lnTo>
                <a:lnTo>
                  <a:pt x="111308" y="42782"/>
                </a:lnTo>
                <a:lnTo>
                  <a:pt x="84623" y="48126"/>
                </a:lnTo>
                <a:lnTo>
                  <a:pt x="60223" y="53469"/>
                </a:lnTo>
                <a:lnTo>
                  <a:pt x="38877" y="57039"/>
                </a:lnTo>
                <a:lnTo>
                  <a:pt x="21348" y="60597"/>
                </a:lnTo>
                <a:lnTo>
                  <a:pt x="8387" y="63275"/>
                </a:lnTo>
                <a:lnTo>
                  <a:pt x="0" y="65060"/>
                </a:lnTo>
                <a:close/>
              </a:path>
            </a:pathLst>
          </a:custGeom>
          <a:solidFill>
            <a:srgbClr val="FFFFFF"/>
          </a:solidFill>
        </p:spPr>
        <p:txBody>
          <a:bodyPr wrap="square" lIns="0" tIns="0" rIns="0" bIns="0" rtlCol="0">
            <a:noAutofit/>
          </a:bodyPr>
          <a:lstStyle/>
          <a:p>
            <a:endParaRPr/>
          </a:p>
        </p:txBody>
      </p:sp>
      <p:sp>
        <p:nvSpPr>
          <p:cNvPr id="79" name="object 79"/>
          <p:cNvSpPr/>
          <p:nvPr/>
        </p:nvSpPr>
        <p:spPr>
          <a:xfrm>
            <a:off x="8808418" y="985492"/>
            <a:ext cx="247000" cy="66833"/>
          </a:xfrm>
          <a:custGeom>
            <a:avLst/>
            <a:gdLst/>
            <a:ahLst/>
            <a:cxnLst/>
            <a:rect l="l" t="t" r="r" b="b"/>
            <a:pathLst>
              <a:path w="247000" h="66833">
                <a:moveTo>
                  <a:pt x="239378" y="0"/>
                </a:moveTo>
                <a:lnTo>
                  <a:pt x="5328" y="51684"/>
                </a:lnTo>
                <a:lnTo>
                  <a:pt x="3044" y="52576"/>
                </a:lnTo>
                <a:lnTo>
                  <a:pt x="1522" y="55242"/>
                </a:lnTo>
                <a:lnTo>
                  <a:pt x="0" y="57919"/>
                </a:lnTo>
                <a:lnTo>
                  <a:pt x="0" y="60597"/>
                </a:lnTo>
                <a:lnTo>
                  <a:pt x="761" y="63263"/>
                </a:lnTo>
                <a:lnTo>
                  <a:pt x="3044" y="65940"/>
                </a:lnTo>
                <a:lnTo>
                  <a:pt x="5328" y="66833"/>
                </a:lnTo>
                <a:lnTo>
                  <a:pt x="7622" y="66833"/>
                </a:lnTo>
                <a:lnTo>
                  <a:pt x="241661" y="15149"/>
                </a:lnTo>
                <a:lnTo>
                  <a:pt x="243945" y="14256"/>
                </a:lnTo>
                <a:lnTo>
                  <a:pt x="245478" y="12471"/>
                </a:lnTo>
                <a:lnTo>
                  <a:pt x="246239" y="9793"/>
                </a:lnTo>
                <a:lnTo>
                  <a:pt x="247000" y="8021"/>
                </a:lnTo>
                <a:lnTo>
                  <a:pt x="246239" y="3558"/>
                </a:lnTo>
                <a:lnTo>
                  <a:pt x="243945" y="892"/>
                </a:lnTo>
                <a:lnTo>
                  <a:pt x="241661" y="0"/>
                </a:lnTo>
                <a:lnTo>
                  <a:pt x="239378" y="0"/>
                </a:lnTo>
                <a:close/>
              </a:path>
            </a:pathLst>
          </a:custGeom>
          <a:solidFill>
            <a:srgbClr val="000000"/>
          </a:solidFill>
        </p:spPr>
        <p:txBody>
          <a:bodyPr wrap="square" lIns="0" tIns="0" rIns="0" bIns="0" rtlCol="0">
            <a:noAutofit/>
          </a:bodyPr>
          <a:lstStyle/>
          <a:p>
            <a:endParaRPr/>
          </a:p>
        </p:txBody>
      </p:sp>
      <p:sp>
        <p:nvSpPr>
          <p:cNvPr id="80" name="object 80"/>
          <p:cNvSpPr/>
          <p:nvPr/>
        </p:nvSpPr>
        <p:spPr>
          <a:xfrm>
            <a:off x="8820609" y="1074603"/>
            <a:ext cx="246239" cy="70403"/>
          </a:xfrm>
          <a:custGeom>
            <a:avLst/>
            <a:gdLst/>
            <a:ahLst/>
            <a:cxnLst/>
            <a:rect l="l" t="t" r="r" b="b"/>
            <a:pathLst>
              <a:path w="246239" h="70403">
                <a:moveTo>
                  <a:pt x="238616" y="0"/>
                </a:moveTo>
                <a:lnTo>
                  <a:pt x="5339" y="55254"/>
                </a:lnTo>
                <a:lnTo>
                  <a:pt x="3055" y="56147"/>
                </a:lnTo>
                <a:lnTo>
                  <a:pt x="771" y="57932"/>
                </a:lnTo>
                <a:lnTo>
                  <a:pt x="0" y="60597"/>
                </a:lnTo>
                <a:lnTo>
                  <a:pt x="0" y="64168"/>
                </a:lnTo>
                <a:lnTo>
                  <a:pt x="771" y="66833"/>
                </a:lnTo>
                <a:lnTo>
                  <a:pt x="3055" y="68618"/>
                </a:lnTo>
                <a:lnTo>
                  <a:pt x="4577" y="70403"/>
                </a:lnTo>
                <a:lnTo>
                  <a:pt x="7633" y="70403"/>
                </a:lnTo>
                <a:lnTo>
                  <a:pt x="240911" y="15149"/>
                </a:lnTo>
                <a:lnTo>
                  <a:pt x="243194" y="14256"/>
                </a:lnTo>
                <a:lnTo>
                  <a:pt x="245478" y="11591"/>
                </a:lnTo>
                <a:lnTo>
                  <a:pt x="246239" y="9806"/>
                </a:lnTo>
                <a:lnTo>
                  <a:pt x="246239" y="6235"/>
                </a:lnTo>
                <a:lnTo>
                  <a:pt x="245478" y="3570"/>
                </a:lnTo>
                <a:lnTo>
                  <a:pt x="243194" y="892"/>
                </a:lnTo>
                <a:lnTo>
                  <a:pt x="240911" y="0"/>
                </a:lnTo>
                <a:lnTo>
                  <a:pt x="238616" y="0"/>
                </a:lnTo>
                <a:close/>
              </a:path>
            </a:pathLst>
          </a:custGeom>
          <a:solidFill>
            <a:srgbClr val="000000"/>
          </a:solidFill>
        </p:spPr>
        <p:txBody>
          <a:bodyPr wrap="square" lIns="0" tIns="0" rIns="0" bIns="0" rtlCol="0">
            <a:noAutofit/>
          </a:bodyPr>
          <a:lstStyle/>
          <a:p>
            <a:endParaRPr/>
          </a:p>
        </p:txBody>
      </p:sp>
      <p:sp>
        <p:nvSpPr>
          <p:cNvPr id="81" name="object 81"/>
          <p:cNvSpPr/>
          <p:nvPr/>
        </p:nvSpPr>
        <p:spPr>
          <a:xfrm>
            <a:off x="8832808" y="1153028"/>
            <a:ext cx="245478" cy="73081"/>
          </a:xfrm>
          <a:custGeom>
            <a:avLst/>
            <a:gdLst/>
            <a:ahLst/>
            <a:cxnLst/>
            <a:rect l="l" t="t" r="r" b="b"/>
            <a:pathLst>
              <a:path w="245478" h="73081">
                <a:moveTo>
                  <a:pt x="237855" y="0"/>
                </a:moveTo>
                <a:lnTo>
                  <a:pt x="4577" y="57932"/>
                </a:lnTo>
                <a:lnTo>
                  <a:pt x="2283" y="58812"/>
                </a:lnTo>
                <a:lnTo>
                  <a:pt x="761" y="60597"/>
                </a:lnTo>
                <a:lnTo>
                  <a:pt x="0" y="63275"/>
                </a:lnTo>
                <a:lnTo>
                  <a:pt x="0" y="66833"/>
                </a:lnTo>
                <a:lnTo>
                  <a:pt x="761" y="69511"/>
                </a:lnTo>
                <a:lnTo>
                  <a:pt x="3055" y="72189"/>
                </a:lnTo>
                <a:lnTo>
                  <a:pt x="4577" y="73081"/>
                </a:lnTo>
                <a:lnTo>
                  <a:pt x="7622" y="73081"/>
                </a:lnTo>
                <a:lnTo>
                  <a:pt x="240900" y="15149"/>
                </a:lnTo>
                <a:lnTo>
                  <a:pt x="243194" y="14256"/>
                </a:lnTo>
                <a:lnTo>
                  <a:pt x="244717" y="11591"/>
                </a:lnTo>
                <a:lnTo>
                  <a:pt x="245478" y="8913"/>
                </a:lnTo>
                <a:lnTo>
                  <a:pt x="245478" y="6235"/>
                </a:lnTo>
                <a:lnTo>
                  <a:pt x="244717" y="3570"/>
                </a:lnTo>
                <a:lnTo>
                  <a:pt x="243194" y="892"/>
                </a:lnTo>
                <a:lnTo>
                  <a:pt x="240900" y="0"/>
                </a:lnTo>
                <a:lnTo>
                  <a:pt x="237855" y="0"/>
                </a:lnTo>
                <a:close/>
              </a:path>
            </a:pathLst>
          </a:custGeom>
          <a:solidFill>
            <a:srgbClr val="000000"/>
          </a:solidFill>
        </p:spPr>
        <p:txBody>
          <a:bodyPr wrap="square" lIns="0" tIns="0" rIns="0" bIns="0" rtlCol="0">
            <a:noAutofit/>
          </a:bodyPr>
          <a:lstStyle/>
          <a:p>
            <a:endParaRPr/>
          </a:p>
        </p:txBody>
      </p:sp>
      <p:sp>
        <p:nvSpPr>
          <p:cNvPr id="82" name="object 82"/>
          <p:cNvSpPr/>
          <p:nvPr/>
        </p:nvSpPr>
        <p:spPr>
          <a:xfrm>
            <a:off x="8850349" y="1238581"/>
            <a:ext cx="245467" cy="75747"/>
          </a:xfrm>
          <a:custGeom>
            <a:avLst/>
            <a:gdLst/>
            <a:ahLst/>
            <a:cxnLst/>
            <a:rect l="l" t="t" r="r" b="b"/>
            <a:pathLst>
              <a:path w="245467" h="75747">
                <a:moveTo>
                  <a:pt x="237845" y="0"/>
                </a:moveTo>
                <a:lnTo>
                  <a:pt x="5328" y="60597"/>
                </a:lnTo>
                <a:lnTo>
                  <a:pt x="3044" y="61490"/>
                </a:lnTo>
                <a:lnTo>
                  <a:pt x="761" y="64168"/>
                </a:lnTo>
                <a:lnTo>
                  <a:pt x="0" y="66833"/>
                </a:lnTo>
                <a:lnTo>
                  <a:pt x="0" y="69511"/>
                </a:lnTo>
                <a:lnTo>
                  <a:pt x="1522" y="72189"/>
                </a:lnTo>
                <a:lnTo>
                  <a:pt x="3044" y="74854"/>
                </a:lnTo>
                <a:lnTo>
                  <a:pt x="5328" y="75747"/>
                </a:lnTo>
                <a:lnTo>
                  <a:pt x="8383" y="75747"/>
                </a:lnTo>
                <a:lnTo>
                  <a:pt x="240900" y="14256"/>
                </a:lnTo>
                <a:lnTo>
                  <a:pt x="243184" y="13364"/>
                </a:lnTo>
                <a:lnTo>
                  <a:pt x="244706" y="10698"/>
                </a:lnTo>
                <a:lnTo>
                  <a:pt x="245467" y="8913"/>
                </a:lnTo>
                <a:lnTo>
                  <a:pt x="245467" y="5343"/>
                </a:lnTo>
                <a:lnTo>
                  <a:pt x="244706" y="2677"/>
                </a:lnTo>
                <a:lnTo>
                  <a:pt x="243184" y="892"/>
                </a:lnTo>
                <a:lnTo>
                  <a:pt x="240900" y="0"/>
                </a:lnTo>
                <a:lnTo>
                  <a:pt x="237845" y="0"/>
                </a:lnTo>
                <a:close/>
              </a:path>
            </a:pathLst>
          </a:custGeom>
          <a:solidFill>
            <a:srgbClr val="000000"/>
          </a:solidFill>
        </p:spPr>
        <p:txBody>
          <a:bodyPr wrap="square" lIns="0" tIns="0" rIns="0" bIns="0" rtlCol="0">
            <a:noAutofit/>
          </a:bodyPr>
          <a:lstStyle/>
          <a:p>
            <a:endParaRPr/>
          </a:p>
        </p:txBody>
      </p:sp>
      <p:sp>
        <p:nvSpPr>
          <p:cNvPr id="83" name="object 83"/>
          <p:cNvSpPr/>
          <p:nvPr/>
        </p:nvSpPr>
        <p:spPr>
          <a:xfrm>
            <a:off x="8865593" y="1316114"/>
            <a:ext cx="245478" cy="79317"/>
          </a:xfrm>
          <a:custGeom>
            <a:avLst/>
            <a:gdLst/>
            <a:ahLst/>
            <a:cxnLst/>
            <a:rect l="l" t="t" r="r" b="b"/>
            <a:pathLst>
              <a:path w="245478" h="79317">
                <a:moveTo>
                  <a:pt x="237083" y="0"/>
                </a:moveTo>
                <a:lnTo>
                  <a:pt x="5339" y="64168"/>
                </a:lnTo>
                <a:lnTo>
                  <a:pt x="3044" y="65060"/>
                </a:lnTo>
                <a:lnTo>
                  <a:pt x="761" y="67726"/>
                </a:lnTo>
                <a:lnTo>
                  <a:pt x="0" y="70403"/>
                </a:lnTo>
                <a:lnTo>
                  <a:pt x="0" y="73961"/>
                </a:lnTo>
                <a:lnTo>
                  <a:pt x="761" y="76639"/>
                </a:lnTo>
                <a:lnTo>
                  <a:pt x="3044" y="78424"/>
                </a:lnTo>
                <a:lnTo>
                  <a:pt x="5339" y="79317"/>
                </a:lnTo>
                <a:lnTo>
                  <a:pt x="8383" y="79317"/>
                </a:lnTo>
                <a:lnTo>
                  <a:pt x="240139" y="15149"/>
                </a:lnTo>
                <a:lnTo>
                  <a:pt x="242422" y="14256"/>
                </a:lnTo>
                <a:lnTo>
                  <a:pt x="244717" y="11579"/>
                </a:lnTo>
                <a:lnTo>
                  <a:pt x="245478" y="8913"/>
                </a:lnTo>
                <a:lnTo>
                  <a:pt x="245478" y="6235"/>
                </a:lnTo>
                <a:lnTo>
                  <a:pt x="243945" y="3558"/>
                </a:lnTo>
                <a:lnTo>
                  <a:pt x="242422" y="892"/>
                </a:lnTo>
                <a:lnTo>
                  <a:pt x="240139" y="0"/>
                </a:lnTo>
                <a:lnTo>
                  <a:pt x="237083" y="0"/>
                </a:lnTo>
                <a:close/>
              </a:path>
            </a:pathLst>
          </a:custGeom>
          <a:solidFill>
            <a:srgbClr val="000000"/>
          </a:solidFill>
        </p:spPr>
        <p:txBody>
          <a:bodyPr wrap="square" lIns="0" tIns="0" rIns="0" bIns="0" rtlCol="0">
            <a:noAutofit/>
          </a:bodyPr>
          <a:lstStyle/>
          <a:p>
            <a:endParaRPr/>
          </a:p>
        </p:txBody>
      </p:sp>
      <p:sp>
        <p:nvSpPr>
          <p:cNvPr id="84" name="object 84"/>
          <p:cNvSpPr/>
          <p:nvPr/>
        </p:nvSpPr>
        <p:spPr>
          <a:xfrm>
            <a:off x="8854154" y="840221"/>
            <a:ext cx="126550" cy="160420"/>
          </a:xfrm>
          <a:custGeom>
            <a:avLst/>
            <a:gdLst/>
            <a:ahLst/>
            <a:cxnLst/>
            <a:rect l="l" t="t" r="r" b="b"/>
            <a:pathLst>
              <a:path w="126550" h="160420">
                <a:moveTo>
                  <a:pt x="761" y="20504"/>
                </a:moveTo>
                <a:lnTo>
                  <a:pt x="36590" y="151506"/>
                </a:lnTo>
                <a:lnTo>
                  <a:pt x="38884" y="155957"/>
                </a:lnTo>
                <a:lnTo>
                  <a:pt x="43452" y="159527"/>
                </a:lnTo>
                <a:lnTo>
                  <a:pt x="48029" y="160420"/>
                </a:lnTo>
                <a:lnTo>
                  <a:pt x="53368" y="159527"/>
                </a:lnTo>
                <a:lnTo>
                  <a:pt x="57175" y="157742"/>
                </a:lnTo>
                <a:lnTo>
                  <a:pt x="60230" y="155064"/>
                </a:lnTo>
                <a:lnTo>
                  <a:pt x="61752" y="150613"/>
                </a:lnTo>
                <a:lnTo>
                  <a:pt x="62514" y="145270"/>
                </a:lnTo>
                <a:lnTo>
                  <a:pt x="62514" y="142592"/>
                </a:lnTo>
                <a:lnTo>
                  <a:pt x="60991" y="139915"/>
                </a:lnTo>
                <a:lnTo>
                  <a:pt x="59469" y="133679"/>
                </a:lnTo>
                <a:lnTo>
                  <a:pt x="57175" y="125658"/>
                </a:lnTo>
                <a:lnTo>
                  <a:pt x="54130" y="114079"/>
                </a:lnTo>
                <a:lnTo>
                  <a:pt x="50313" y="100702"/>
                </a:lnTo>
                <a:lnTo>
                  <a:pt x="46507" y="86445"/>
                </a:lnTo>
                <a:lnTo>
                  <a:pt x="41929" y="72189"/>
                </a:lnTo>
                <a:lnTo>
                  <a:pt x="38123" y="57039"/>
                </a:lnTo>
                <a:lnTo>
                  <a:pt x="49552" y="66845"/>
                </a:lnTo>
                <a:lnTo>
                  <a:pt x="60991" y="77532"/>
                </a:lnTo>
                <a:lnTo>
                  <a:pt x="72420" y="87338"/>
                </a:lnTo>
                <a:lnTo>
                  <a:pt x="83098" y="96252"/>
                </a:lnTo>
                <a:lnTo>
                  <a:pt x="91482" y="104273"/>
                </a:lnTo>
                <a:lnTo>
                  <a:pt x="99104" y="110508"/>
                </a:lnTo>
                <a:lnTo>
                  <a:pt x="103682" y="114079"/>
                </a:lnTo>
                <a:lnTo>
                  <a:pt x="105204" y="115852"/>
                </a:lnTo>
                <a:lnTo>
                  <a:pt x="109782" y="117637"/>
                </a:lnTo>
                <a:lnTo>
                  <a:pt x="115121" y="117637"/>
                </a:lnTo>
                <a:lnTo>
                  <a:pt x="119689" y="116744"/>
                </a:lnTo>
                <a:lnTo>
                  <a:pt x="123505" y="113186"/>
                </a:lnTo>
                <a:lnTo>
                  <a:pt x="125789" y="107831"/>
                </a:lnTo>
                <a:lnTo>
                  <a:pt x="126550" y="101595"/>
                </a:lnTo>
                <a:lnTo>
                  <a:pt x="125028" y="96252"/>
                </a:lnTo>
                <a:lnTo>
                  <a:pt x="121211" y="91801"/>
                </a:lnTo>
                <a:lnTo>
                  <a:pt x="20584" y="2677"/>
                </a:lnTo>
                <a:lnTo>
                  <a:pt x="16778" y="892"/>
                </a:lnTo>
                <a:lnTo>
                  <a:pt x="12961" y="0"/>
                </a:lnTo>
                <a:lnTo>
                  <a:pt x="9145" y="892"/>
                </a:lnTo>
                <a:lnTo>
                  <a:pt x="5339" y="2677"/>
                </a:lnTo>
                <a:lnTo>
                  <a:pt x="2294" y="6248"/>
                </a:lnTo>
                <a:lnTo>
                  <a:pt x="761" y="10698"/>
                </a:lnTo>
                <a:lnTo>
                  <a:pt x="0" y="15149"/>
                </a:lnTo>
                <a:lnTo>
                  <a:pt x="761" y="20504"/>
                </a:lnTo>
                <a:close/>
              </a:path>
            </a:pathLst>
          </a:custGeom>
          <a:solidFill>
            <a:srgbClr val="B90000"/>
          </a:solidFill>
        </p:spPr>
        <p:txBody>
          <a:bodyPr wrap="square" lIns="0" tIns="0" rIns="0" bIns="0" rtlCol="0">
            <a:noAutofit/>
          </a:bodyPr>
          <a:lstStyle/>
          <a:p>
            <a:endParaRPr/>
          </a:p>
        </p:txBody>
      </p:sp>
      <p:sp>
        <p:nvSpPr>
          <p:cNvPr id="85" name="object 85"/>
          <p:cNvSpPr/>
          <p:nvPr/>
        </p:nvSpPr>
        <p:spPr>
          <a:xfrm>
            <a:off x="8887700" y="897260"/>
            <a:ext cx="59458" cy="65940"/>
          </a:xfrm>
          <a:custGeom>
            <a:avLst/>
            <a:gdLst/>
            <a:ahLst/>
            <a:cxnLst/>
            <a:rect l="l" t="t" r="r" b="b"/>
            <a:pathLst>
              <a:path w="59458" h="65940">
                <a:moveTo>
                  <a:pt x="37351" y="3570"/>
                </a:moveTo>
                <a:lnTo>
                  <a:pt x="3806" y="39212"/>
                </a:lnTo>
                <a:lnTo>
                  <a:pt x="761" y="44555"/>
                </a:lnTo>
                <a:lnTo>
                  <a:pt x="0" y="49911"/>
                </a:lnTo>
                <a:lnTo>
                  <a:pt x="761" y="55254"/>
                </a:lnTo>
                <a:lnTo>
                  <a:pt x="3044" y="59705"/>
                </a:lnTo>
                <a:lnTo>
                  <a:pt x="6861" y="64168"/>
                </a:lnTo>
                <a:lnTo>
                  <a:pt x="12200" y="65940"/>
                </a:lnTo>
                <a:lnTo>
                  <a:pt x="16767" y="64168"/>
                </a:lnTo>
                <a:lnTo>
                  <a:pt x="21345" y="60597"/>
                </a:lnTo>
                <a:lnTo>
                  <a:pt x="54891" y="26740"/>
                </a:lnTo>
                <a:lnTo>
                  <a:pt x="57936" y="21385"/>
                </a:lnTo>
                <a:lnTo>
                  <a:pt x="59458" y="16042"/>
                </a:lnTo>
                <a:lnTo>
                  <a:pt x="58697" y="9806"/>
                </a:lnTo>
                <a:lnTo>
                  <a:pt x="55652" y="4450"/>
                </a:lnTo>
                <a:lnTo>
                  <a:pt x="51836" y="892"/>
                </a:lnTo>
                <a:lnTo>
                  <a:pt x="46507" y="0"/>
                </a:lnTo>
                <a:lnTo>
                  <a:pt x="41929" y="892"/>
                </a:lnTo>
                <a:lnTo>
                  <a:pt x="37351" y="3570"/>
                </a:lnTo>
                <a:close/>
              </a:path>
            </a:pathLst>
          </a:custGeom>
          <a:solidFill>
            <a:srgbClr val="B90000"/>
          </a:solidFill>
        </p:spPr>
        <p:txBody>
          <a:bodyPr wrap="square" lIns="0" tIns="0" rIns="0" bIns="0" rtlCol="0">
            <a:noAutofit/>
          </a:bodyPr>
          <a:lstStyle/>
          <a:p>
            <a:endParaRPr/>
          </a:p>
        </p:txBody>
      </p:sp>
      <p:sp>
        <p:nvSpPr>
          <p:cNvPr id="86" name="object 86"/>
          <p:cNvSpPr/>
          <p:nvPr/>
        </p:nvSpPr>
        <p:spPr>
          <a:xfrm>
            <a:off x="8948691" y="836664"/>
            <a:ext cx="59458" cy="69511"/>
          </a:xfrm>
          <a:custGeom>
            <a:avLst/>
            <a:gdLst/>
            <a:ahLst/>
            <a:cxnLst/>
            <a:rect l="l" t="t" r="r" b="b"/>
            <a:pathLst>
              <a:path w="59458" h="69511">
                <a:moveTo>
                  <a:pt x="3044" y="4450"/>
                </a:moveTo>
                <a:lnTo>
                  <a:pt x="761" y="9806"/>
                </a:lnTo>
                <a:lnTo>
                  <a:pt x="0" y="15149"/>
                </a:lnTo>
                <a:lnTo>
                  <a:pt x="761" y="21385"/>
                </a:lnTo>
                <a:lnTo>
                  <a:pt x="3044" y="25835"/>
                </a:lnTo>
                <a:lnTo>
                  <a:pt x="36590" y="65048"/>
                </a:lnTo>
                <a:lnTo>
                  <a:pt x="41157" y="68618"/>
                </a:lnTo>
                <a:lnTo>
                  <a:pt x="46496" y="69511"/>
                </a:lnTo>
                <a:lnTo>
                  <a:pt x="51074" y="68618"/>
                </a:lnTo>
                <a:lnTo>
                  <a:pt x="55642" y="65048"/>
                </a:lnTo>
                <a:lnTo>
                  <a:pt x="57936" y="60597"/>
                </a:lnTo>
                <a:lnTo>
                  <a:pt x="59458" y="54361"/>
                </a:lnTo>
                <a:lnTo>
                  <a:pt x="57936" y="48126"/>
                </a:lnTo>
                <a:lnTo>
                  <a:pt x="55642" y="43663"/>
                </a:lnTo>
                <a:lnTo>
                  <a:pt x="22106" y="4450"/>
                </a:lnTo>
                <a:lnTo>
                  <a:pt x="17528" y="892"/>
                </a:lnTo>
                <a:lnTo>
                  <a:pt x="12951" y="0"/>
                </a:lnTo>
                <a:lnTo>
                  <a:pt x="7622" y="892"/>
                </a:lnTo>
                <a:lnTo>
                  <a:pt x="3044" y="4450"/>
                </a:lnTo>
                <a:close/>
              </a:path>
            </a:pathLst>
          </a:custGeom>
          <a:solidFill>
            <a:srgbClr val="B90000"/>
          </a:solidFill>
        </p:spPr>
        <p:txBody>
          <a:bodyPr wrap="square" lIns="0" tIns="0" rIns="0" bIns="0" rtlCol="0">
            <a:noAutofit/>
          </a:bodyPr>
          <a:lstStyle/>
          <a:p>
            <a:endParaRPr/>
          </a:p>
        </p:txBody>
      </p:sp>
      <p:sp>
        <p:nvSpPr>
          <p:cNvPr id="87" name="object 87"/>
          <p:cNvSpPr/>
          <p:nvPr/>
        </p:nvSpPr>
        <p:spPr>
          <a:xfrm>
            <a:off x="8945637" y="833093"/>
            <a:ext cx="59469" cy="69511"/>
          </a:xfrm>
          <a:custGeom>
            <a:avLst/>
            <a:gdLst/>
            <a:ahLst/>
            <a:cxnLst/>
            <a:rect l="l" t="t" r="r" b="b"/>
            <a:pathLst>
              <a:path w="59469" h="69511">
                <a:moveTo>
                  <a:pt x="36590" y="4462"/>
                </a:moveTo>
                <a:lnTo>
                  <a:pt x="3055" y="43675"/>
                </a:lnTo>
                <a:lnTo>
                  <a:pt x="761" y="49018"/>
                </a:lnTo>
                <a:lnTo>
                  <a:pt x="0" y="54361"/>
                </a:lnTo>
                <a:lnTo>
                  <a:pt x="761" y="60597"/>
                </a:lnTo>
                <a:lnTo>
                  <a:pt x="3055" y="65060"/>
                </a:lnTo>
                <a:lnTo>
                  <a:pt x="7622" y="68618"/>
                </a:lnTo>
                <a:lnTo>
                  <a:pt x="12961" y="69511"/>
                </a:lnTo>
                <a:lnTo>
                  <a:pt x="17539" y="68618"/>
                </a:lnTo>
                <a:lnTo>
                  <a:pt x="22106" y="65060"/>
                </a:lnTo>
                <a:lnTo>
                  <a:pt x="55652" y="25848"/>
                </a:lnTo>
                <a:lnTo>
                  <a:pt x="57936" y="21397"/>
                </a:lnTo>
                <a:lnTo>
                  <a:pt x="59469" y="15149"/>
                </a:lnTo>
                <a:lnTo>
                  <a:pt x="57936" y="9806"/>
                </a:lnTo>
                <a:lnTo>
                  <a:pt x="55652" y="4462"/>
                </a:lnTo>
                <a:lnTo>
                  <a:pt x="51074" y="892"/>
                </a:lnTo>
                <a:lnTo>
                  <a:pt x="46507" y="0"/>
                </a:lnTo>
                <a:lnTo>
                  <a:pt x="41168" y="892"/>
                </a:lnTo>
                <a:lnTo>
                  <a:pt x="36590" y="4462"/>
                </a:lnTo>
                <a:close/>
              </a:path>
            </a:pathLst>
          </a:custGeom>
          <a:solidFill>
            <a:srgbClr val="B90000"/>
          </a:solidFill>
        </p:spPr>
        <p:txBody>
          <a:bodyPr wrap="square" lIns="0" tIns="0" rIns="0" bIns="0" rtlCol="0">
            <a:noAutofit/>
          </a:bodyPr>
          <a:lstStyle/>
          <a:p>
            <a:endParaRPr/>
          </a:p>
        </p:txBody>
      </p:sp>
      <p:sp>
        <p:nvSpPr>
          <p:cNvPr id="88" name="object 88"/>
          <p:cNvSpPr/>
          <p:nvPr/>
        </p:nvSpPr>
        <p:spPr>
          <a:xfrm>
            <a:off x="9098111" y="1164619"/>
            <a:ext cx="102149" cy="164858"/>
          </a:xfrm>
          <a:custGeom>
            <a:avLst/>
            <a:gdLst/>
            <a:ahLst/>
            <a:cxnLst/>
            <a:rect l="l" t="t" r="r" b="b"/>
            <a:pathLst>
              <a:path w="102149" h="164858">
                <a:moveTo>
                  <a:pt x="0" y="42770"/>
                </a:moveTo>
                <a:lnTo>
                  <a:pt x="0" y="51684"/>
                </a:lnTo>
                <a:lnTo>
                  <a:pt x="3044" y="58812"/>
                </a:lnTo>
                <a:lnTo>
                  <a:pt x="6861" y="65940"/>
                </a:lnTo>
                <a:lnTo>
                  <a:pt x="12200" y="73069"/>
                </a:lnTo>
                <a:lnTo>
                  <a:pt x="19051" y="82875"/>
                </a:lnTo>
                <a:lnTo>
                  <a:pt x="20584" y="84660"/>
                </a:lnTo>
                <a:lnTo>
                  <a:pt x="23629" y="88218"/>
                </a:lnTo>
                <a:lnTo>
                  <a:pt x="28206" y="93561"/>
                </a:lnTo>
                <a:lnTo>
                  <a:pt x="31251" y="100702"/>
                </a:lnTo>
                <a:lnTo>
                  <a:pt x="32774" y="107831"/>
                </a:lnTo>
                <a:lnTo>
                  <a:pt x="33545" y="123873"/>
                </a:lnTo>
                <a:lnTo>
                  <a:pt x="35068" y="138129"/>
                </a:lnTo>
                <a:lnTo>
                  <a:pt x="36590" y="148816"/>
                </a:lnTo>
                <a:lnTo>
                  <a:pt x="37351" y="153279"/>
                </a:lnTo>
                <a:lnTo>
                  <a:pt x="39635" y="163073"/>
                </a:lnTo>
                <a:lnTo>
                  <a:pt x="48029" y="163965"/>
                </a:lnTo>
                <a:lnTo>
                  <a:pt x="51836" y="164858"/>
                </a:lnTo>
                <a:lnTo>
                  <a:pt x="56413" y="164858"/>
                </a:lnTo>
                <a:lnTo>
                  <a:pt x="61752" y="163965"/>
                </a:lnTo>
                <a:lnTo>
                  <a:pt x="72420" y="161300"/>
                </a:lnTo>
                <a:lnTo>
                  <a:pt x="77759" y="158622"/>
                </a:lnTo>
                <a:lnTo>
                  <a:pt x="83098" y="154171"/>
                </a:lnTo>
                <a:lnTo>
                  <a:pt x="88426" y="148816"/>
                </a:lnTo>
                <a:lnTo>
                  <a:pt x="94526" y="139902"/>
                </a:lnTo>
                <a:lnTo>
                  <a:pt x="99104" y="128323"/>
                </a:lnTo>
                <a:lnTo>
                  <a:pt x="101388" y="114959"/>
                </a:lnTo>
                <a:lnTo>
                  <a:pt x="102149" y="100702"/>
                </a:lnTo>
                <a:lnTo>
                  <a:pt x="102149" y="92681"/>
                </a:lnTo>
                <a:lnTo>
                  <a:pt x="101388" y="83768"/>
                </a:lnTo>
                <a:lnTo>
                  <a:pt x="99865" y="73961"/>
                </a:lnTo>
                <a:lnTo>
                  <a:pt x="98343" y="64155"/>
                </a:lnTo>
                <a:lnTo>
                  <a:pt x="96049" y="54349"/>
                </a:lnTo>
                <a:lnTo>
                  <a:pt x="93765" y="45448"/>
                </a:lnTo>
                <a:lnTo>
                  <a:pt x="89959" y="36534"/>
                </a:lnTo>
                <a:lnTo>
                  <a:pt x="85381" y="26728"/>
                </a:lnTo>
                <a:lnTo>
                  <a:pt x="80042" y="16922"/>
                </a:lnTo>
                <a:lnTo>
                  <a:pt x="73181" y="8901"/>
                </a:lnTo>
                <a:lnTo>
                  <a:pt x="64797" y="3558"/>
                </a:lnTo>
                <a:lnTo>
                  <a:pt x="57936" y="880"/>
                </a:lnTo>
                <a:lnTo>
                  <a:pt x="54119" y="0"/>
                </a:lnTo>
                <a:lnTo>
                  <a:pt x="50313" y="0"/>
                </a:lnTo>
                <a:lnTo>
                  <a:pt x="41168" y="1772"/>
                </a:lnTo>
                <a:lnTo>
                  <a:pt x="35829" y="4450"/>
                </a:lnTo>
                <a:lnTo>
                  <a:pt x="30490" y="8008"/>
                </a:lnTo>
                <a:lnTo>
                  <a:pt x="24390" y="12471"/>
                </a:lnTo>
                <a:lnTo>
                  <a:pt x="18290" y="16922"/>
                </a:lnTo>
                <a:lnTo>
                  <a:pt x="13722" y="21385"/>
                </a:lnTo>
                <a:lnTo>
                  <a:pt x="9906" y="24943"/>
                </a:lnTo>
                <a:lnTo>
                  <a:pt x="6100" y="29406"/>
                </a:lnTo>
                <a:lnTo>
                  <a:pt x="3044" y="33856"/>
                </a:lnTo>
                <a:lnTo>
                  <a:pt x="1522" y="38319"/>
                </a:lnTo>
                <a:lnTo>
                  <a:pt x="0" y="42770"/>
                </a:lnTo>
                <a:close/>
              </a:path>
            </a:pathLst>
          </a:custGeom>
          <a:solidFill>
            <a:srgbClr val="000000"/>
          </a:solidFill>
        </p:spPr>
        <p:txBody>
          <a:bodyPr wrap="square" lIns="0" tIns="0" rIns="0" bIns="0" rtlCol="0">
            <a:noAutofit/>
          </a:bodyPr>
          <a:lstStyle/>
          <a:p>
            <a:endParaRPr/>
          </a:p>
        </p:txBody>
      </p:sp>
      <p:sp>
        <p:nvSpPr>
          <p:cNvPr id="89" name="object 89"/>
          <p:cNvSpPr/>
          <p:nvPr/>
        </p:nvSpPr>
        <p:spPr>
          <a:xfrm>
            <a:off x="9126317" y="1195799"/>
            <a:ext cx="48029" cy="101595"/>
          </a:xfrm>
          <a:custGeom>
            <a:avLst/>
            <a:gdLst/>
            <a:ahLst/>
            <a:cxnLst/>
            <a:rect l="l" t="t" r="r" b="b"/>
            <a:pathLst>
              <a:path w="48029" h="101595">
                <a:moveTo>
                  <a:pt x="8383" y="28525"/>
                </a:moveTo>
                <a:lnTo>
                  <a:pt x="9906" y="30311"/>
                </a:lnTo>
                <a:lnTo>
                  <a:pt x="15245" y="35654"/>
                </a:lnTo>
                <a:lnTo>
                  <a:pt x="22106" y="45460"/>
                </a:lnTo>
                <a:lnTo>
                  <a:pt x="28206" y="59717"/>
                </a:lnTo>
                <a:lnTo>
                  <a:pt x="31251" y="76652"/>
                </a:lnTo>
                <a:lnTo>
                  <a:pt x="31251" y="83780"/>
                </a:lnTo>
                <a:lnTo>
                  <a:pt x="32012" y="90016"/>
                </a:lnTo>
                <a:lnTo>
                  <a:pt x="32012" y="96252"/>
                </a:lnTo>
                <a:lnTo>
                  <a:pt x="32774" y="101595"/>
                </a:lnTo>
                <a:lnTo>
                  <a:pt x="35068" y="100702"/>
                </a:lnTo>
                <a:lnTo>
                  <a:pt x="37351" y="99822"/>
                </a:lnTo>
                <a:lnTo>
                  <a:pt x="41168" y="96252"/>
                </a:lnTo>
                <a:lnTo>
                  <a:pt x="44213" y="91801"/>
                </a:lnTo>
                <a:lnTo>
                  <a:pt x="46496" y="85553"/>
                </a:lnTo>
                <a:lnTo>
                  <a:pt x="47258" y="78424"/>
                </a:lnTo>
                <a:lnTo>
                  <a:pt x="48029" y="69523"/>
                </a:lnTo>
                <a:lnTo>
                  <a:pt x="48029" y="62382"/>
                </a:lnTo>
                <a:lnTo>
                  <a:pt x="47258" y="55254"/>
                </a:lnTo>
                <a:lnTo>
                  <a:pt x="45735" y="47233"/>
                </a:lnTo>
                <a:lnTo>
                  <a:pt x="44213" y="39212"/>
                </a:lnTo>
                <a:lnTo>
                  <a:pt x="41929" y="27633"/>
                </a:lnTo>
                <a:lnTo>
                  <a:pt x="37351" y="16042"/>
                </a:lnTo>
                <a:lnTo>
                  <a:pt x="32012" y="6248"/>
                </a:lnTo>
                <a:lnTo>
                  <a:pt x="25912" y="0"/>
                </a:lnTo>
                <a:lnTo>
                  <a:pt x="19823" y="0"/>
                </a:lnTo>
                <a:lnTo>
                  <a:pt x="16006" y="2677"/>
                </a:lnTo>
                <a:lnTo>
                  <a:pt x="9906" y="7140"/>
                </a:lnTo>
                <a:lnTo>
                  <a:pt x="5339" y="10698"/>
                </a:lnTo>
                <a:lnTo>
                  <a:pt x="2283" y="14269"/>
                </a:lnTo>
                <a:lnTo>
                  <a:pt x="0" y="16042"/>
                </a:lnTo>
                <a:lnTo>
                  <a:pt x="2283" y="19612"/>
                </a:lnTo>
                <a:lnTo>
                  <a:pt x="4567" y="22290"/>
                </a:lnTo>
                <a:lnTo>
                  <a:pt x="6100" y="24955"/>
                </a:lnTo>
                <a:lnTo>
                  <a:pt x="8383" y="28525"/>
                </a:lnTo>
                <a:close/>
              </a:path>
            </a:pathLst>
          </a:custGeom>
          <a:solidFill>
            <a:srgbClr val="F1BEB1"/>
          </a:solidFill>
        </p:spPr>
        <p:txBody>
          <a:bodyPr wrap="square" lIns="0" tIns="0" rIns="0" bIns="0" rtlCol="0">
            <a:noAutofit/>
          </a:bodyPr>
          <a:lstStyle/>
          <a:p>
            <a:endParaRPr/>
          </a:p>
        </p:txBody>
      </p:sp>
      <p:sp>
        <p:nvSpPr>
          <p:cNvPr id="90" name="object 90"/>
          <p:cNvSpPr/>
          <p:nvPr/>
        </p:nvSpPr>
        <p:spPr>
          <a:xfrm>
            <a:off x="9514352" y="758238"/>
            <a:ext cx="113588" cy="52576"/>
          </a:xfrm>
          <a:custGeom>
            <a:avLst/>
            <a:gdLst/>
            <a:ahLst/>
            <a:cxnLst/>
            <a:rect l="l" t="t" r="r" b="b"/>
            <a:pathLst>
              <a:path w="113588" h="52576">
                <a:moveTo>
                  <a:pt x="0" y="42770"/>
                </a:moveTo>
                <a:lnTo>
                  <a:pt x="0" y="46340"/>
                </a:lnTo>
                <a:lnTo>
                  <a:pt x="761" y="48126"/>
                </a:lnTo>
                <a:lnTo>
                  <a:pt x="2283" y="50791"/>
                </a:lnTo>
                <a:lnTo>
                  <a:pt x="4567" y="51684"/>
                </a:lnTo>
                <a:lnTo>
                  <a:pt x="7622" y="51684"/>
                </a:lnTo>
                <a:lnTo>
                  <a:pt x="14484" y="52576"/>
                </a:lnTo>
                <a:lnTo>
                  <a:pt x="25151" y="52576"/>
                </a:lnTo>
                <a:lnTo>
                  <a:pt x="38113" y="50791"/>
                </a:lnTo>
                <a:lnTo>
                  <a:pt x="54130" y="47233"/>
                </a:lnTo>
                <a:lnTo>
                  <a:pt x="71659" y="40105"/>
                </a:lnTo>
                <a:lnTo>
                  <a:pt x="90720" y="29406"/>
                </a:lnTo>
                <a:lnTo>
                  <a:pt x="110544" y="14256"/>
                </a:lnTo>
                <a:lnTo>
                  <a:pt x="112066" y="11579"/>
                </a:lnTo>
                <a:lnTo>
                  <a:pt x="113588" y="8913"/>
                </a:lnTo>
                <a:lnTo>
                  <a:pt x="113588" y="6235"/>
                </a:lnTo>
                <a:lnTo>
                  <a:pt x="112066" y="3558"/>
                </a:lnTo>
                <a:lnTo>
                  <a:pt x="109772" y="1785"/>
                </a:lnTo>
                <a:lnTo>
                  <a:pt x="107488" y="0"/>
                </a:lnTo>
                <a:lnTo>
                  <a:pt x="105204" y="0"/>
                </a:lnTo>
                <a:lnTo>
                  <a:pt x="102910" y="1785"/>
                </a:lnTo>
                <a:lnTo>
                  <a:pt x="84620" y="16042"/>
                </a:lnTo>
                <a:lnTo>
                  <a:pt x="67081" y="25848"/>
                </a:lnTo>
                <a:lnTo>
                  <a:pt x="51074" y="32084"/>
                </a:lnTo>
                <a:lnTo>
                  <a:pt x="36590" y="35642"/>
                </a:lnTo>
                <a:lnTo>
                  <a:pt x="24390" y="37427"/>
                </a:lnTo>
                <a:lnTo>
                  <a:pt x="15245" y="37427"/>
                </a:lnTo>
                <a:lnTo>
                  <a:pt x="9145" y="36534"/>
                </a:lnTo>
                <a:lnTo>
                  <a:pt x="4567" y="36534"/>
                </a:lnTo>
                <a:lnTo>
                  <a:pt x="2283" y="37427"/>
                </a:lnTo>
                <a:lnTo>
                  <a:pt x="761" y="40105"/>
                </a:lnTo>
                <a:lnTo>
                  <a:pt x="0" y="42770"/>
                </a:lnTo>
                <a:close/>
              </a:path>
            </a:pathLst>
          </a:custGeom>
          <a:solidFill>
            <a:srgbClr val="000000"/>
          </a:solidFill>
        </p:spPr>
        <p:txBody>
          <a:bodyPr wrap="square" lIns="0" tIns="0" rIns="0" bIns="0" rtlCol="0">
            <a:noAutofit/>
          </a:bodyPr>
          <a:lstStyle/>
          <a:p>
            <a:endParaRPr/>
          </a:p>
        </p:txBody>
      </p:sp>
      <p:sp>
        <p:nvSpPr>
          <p:cNvPr id="91" name="object 91"/>
          <p:cNvSpPr/>
          <p:nvPr/>
        </p:nvSpPr>
        <p:spPr>
          <a:xfrm>
            <a:off x="8861777" y="643278"/>
            <a:ext cx="44985" cy="52576"/>
          </a:xfrm>
          <a:custGeom>
            <a:avLst/>
            <a:gdLst/>
            <a:ahLst/>
            <a:cxnLst/>
            <a:rect l="l" t="t" r="r" b="b"/>
            <a:pathLst>
              <a:path w="44985" h="52576">
                <a:moveTo>
                  <a:pt x="18300" y="0"/>
                </a:moveTo>
                <a:lnTo>
                  <a:pt x="9916" y="3558"/>
                </a:lnTo>
                <a:lnTo>
                  <a:pt x="3816" y="10686"/>
                </a:lnTo>
                <a:lnTo>
                  <a:pt x="0" y="19600"/>
                </a:lnTo>
                <a:lnTo>
                  <a:pt x="0" y="30298"/>
                </a:lnTo>
                <a:lnTo>
                  <a:pt x="1522" y="35642"/>
                </a:lnTo>
                <a:lnTo>
                  <a:pt x="3055" y="40105"/>
                </a:lnTo>
                <a:lnTo>
                  <a:pt x="6100" y="43663"/>
                </a:lnTo>
                <a:lnTo>
                  <a:pt x="9155" y="47233"/>
                </a:lnTo>
                <a:lnTo>
                  <a:pt x="12961" y="49898"/>
                </a:lnTo>
                <a:lnTo>
                  <a:pt x="16778" y="51684"/>
                </a:lnTo>
                <a:lnTo>
                  <a:pt x="21345" y="52576"/>
                </a:lnTo>
                <a:lnTo>
                  <a:pt x="25923" y="52576"/>
                </a:lnTo>
                <a:lnTo>
                  <a:pt x="34307" y="49006"/>
                </a:lnTo>
                <a:lnTo>
                  <a:pt x="40407" y="41877"/>
                </a:lnTo>
                <a:lnTo>
                  <a:pt x="44223" y="32084"/>
                </a:lnTo>
                <a:lnTo>
                  <a:pt x="44985" y="21385"/>
                </a:lnTo>
                <a:lnTo>
                  <a:pt x="43452" y="16042"/>
                </a:lnTo>
                <a:lnTo>
                  <a:pt x="41929" y="11579"/>
                </a:lnTo>
                <a:lnTo>
                  <a:pt x="38884" y="8021"/>
                </a:lnTo>
                <a:lnTo>
                  <a:pt x="35829" y="4450"/>
                </a:lnTo>
                <a:lnTo>
                  <a:pt x="32023" y="1785"/>
                </a:lnTo>
                <a:lnTo>
                  <a:pt x="27445" y="0"/>
                </a:lnTo>
                <a:lnTo>
                  <a:pt x="18300" y="0"/>
                </a:lnTo>
                <a:close/>
              </a:path>
            </a:pathLst>
          </a:custGeom>
          <a:solidFill>
            <a:srgbClr val="FFBE5B"/>
          </a:solidFill>
        </p:spPr>
        <p:txBody>
          <a:bodyPr wrap="square" lIns="0" tIns="0" rIns="0" bIns="0" rtlCol="0">
            <a:noAutofit/>
          </a:bodyPr>
          <a:lstStyle/>
          <a:p>
            <a:endParaRPr/>
          </a:p>
        </p:txBody>
      </p:sp>
      <p:sp>
        <p:nvSpPr>
          <p:cNvPr id="92" name="object 92"/>
          <p:cNvSpPr/>
          <p:nvPr/>
        </p:nvSpPr>
        <p:spPr>
          <a:xfrm>
            <a:off x="8840431" y="542588"/>
            <a:ext cx="61752" cy="72164"/>
          </a:xfrm>
          <a:custGeom>
            <a:avLst/>
            <a:gdLst/>
            <a:ahLst/>
            <a:cxnLst/>
            <a:rect l="l" t="t" r="r" b="b"/>
            <a:pathLst>
              <a:path w="61752" h="72164">
                <a:moveTo>
                  <a:pt x="25923" y="867"/>
                </a:moveTo>
                <a:lnTo>
                  <a:pt x="19823" y="2603"/>
                </a:lnTo>
                <a:lnTo>
                  <a:pt x="14484" y="6198"/>
                </a:lnTo>
                <a:lnTo>
                  <a:pt x="9916" y="10661"/>
                </a:lnTo>
                <a:lnTo>
                  <a:pt x="6100" y="15124"/>
                </a:lnTo>
                <a:lnTo>
                  <a:pt x="3055" y="21323"/>
                </a:lnTo>
                <a:lnTo>
                  <a:pt x="761" y="27645"/>
                </a:lnTo>
                <a:lnTo>
                  <a:pt x="0" y="34712"/>
                </a:lnTo>
                <a:lnTo>
                  <a:pt x="761" y="41902"/>
                </a:lnTo>
                <a:lnTo>
                  <a:pt x="2294" y="48993"/>
                </a:lnTo>
                <a:lnTo>
                  <a:pt x="4577" y="55242"/>
                </a:lnTo>
                <a:lnTo>
                  <a:pt x="8383" y="60585"/>
                </a:lnTo>
                <a:lnTo>
                  <a:pt x="12961" y="65035"/>
                </a:lnTo>
                <a:lnTo>
                  <a:pt x="18300" y="68606"/>
                </a:lnTo>
                <a:lnTo>
                  <a:pt x="23639" y="71284"/>
                </a:lnTo>
                <a:lnTo>
                  <a:pt x="29729" y="72164"/>
                </a:lnTo>
                <a:lnTo>
                  <a:pt x="35829" y="71284"/>
                </a:lnTo>
                <a:lnTo>
                  <a:pt x="41929" y="69498"/>
                </a:lnTo>
                <a:lnTo>
                  <a:pt x="47268" y="66821"/>
                </a:lnTo>
                <a:lnTo>
                  <a:pt x="51846" y="62370"/>
                </a:lnTo>
                <a:lnTo>
                  <a:pt x="55652" y="57014"/>
                </a:lnTo>
                <a:lnTo>
                  <a:pt x="58708" y="50779"/>
                </a:lnTo>
                <a:lnTo>
                  <a:pt x="60991" y="44506"/>
                </a:lnTo>
                <a:lnTo>
                  <a:pt x="61752" y="37439"/>
                </a:lnTo>
                <a:lnTo>
                  <a:pt x="60991" y="30249"/>
                </a:lnTo>
                <a:lnTo>
                  <a:pt x="59469" y="23182"/>
                </a:lnTo>
                <a:lnTo>
                  <a:pt x="56413" y="16860"/>
                </a:lnTo>
                <a:lnTo>
                  <a:pt x="52607" y="11529"/>
                </a:lnTo>
                <a:lnTo>
                  <a:pt x="48791" y="7066"/>
                </a:lnTo>
                <a:lnTo>
                  <a:pt x="43452" y="3595"/>
                </a:lnTo>
                <a:lnTo>
                  <a:pt x="38123" y="867"/>
                </a:lnTo>
                <a:lnTo>
                  <a:pt x="32023" y="0"/>
                </a:lnTo>
                <a:lnTo>
                  <a:pt x="25923" y="867"/>
                </a:lnTo>
                <a:close/>
              </a:path>
            </a:pathLst>
          </a:custGeom>
          <a:solidFill>
            <a:srgbClr val="FFBE5B"/>
          </a:solidFill>
        </p:spPr>
        <p:txBody>
          <a:bodyPr wrap="square" lIns="0" tIns="0" rIns="0" bIns="0" rtlCol="0">
            <a:noAutofit/>
          </a:bodyPr>
          <a:lstStyle/>
          <a:p>
            <a:endParaRPr/>
          </a:p>
        </p:txBody>
      </p:sp>
      <p:sp>
        <p:nvSpPr>
          <p:cNvPr id="93" name="object 93"/>
          <p:cNvSpPr/>
          <p:nvPr/>
        </p:nvSpPr>
        <p:spPr>
          <a:xfrm>
            <a:off x="8816041" y="427667"/>
            <a:ext cx="80042" cy="93475"/>
          </a:xfrm>
          <a:custGeom>
            <a:avLst/>
            <a:gdLst/>
            <a:ahLst/>
            <a:cxnLst/>
            <a:rect l="l" t="t" r="r" b="b"/>
            <a:pathLst>
              <a:path w="80042" h="93475">
                <a:moveTo>
                  <a:pt x="33545" y="0"/>
                </a:moveTo>
                <a:lnTo>
                  <a:pt x="25912" y="2603"/>
                </a:lnTo>
                <a:lnTo>
                  <a:pt x="19051" y="7066"/>
                </a:lnTo>
                <a:lnTo>
                  <a:pt x="12961" y="12397"/>
                </a:lnTo>
                <a:lnTo>
                  <a:pt x="7622" y="18719"/>
                </a:lnTo>
                <a:lnTo>
                  <a:pt x="3806" y="26654"/>
                </a:lnTo>
                <a:lnTo>
                  <a:pt x="1522" y="35580"/>
                </a:lnTo>
                <a:lnTo>
                  <a:pt x="0" y="44506"/>
                </a:lnTo>
                <a:lnTo>
                  <a:pt x="761" y="54299"/>
                </a:lnTo>
                <a:lnTo>
                  <a:pt x="3044" y="63225"/>
                </a:lnTo>
                <a:lnTo>
                  <a:pt x="6861" y="71284"/>
                </a:lnTo>
                <a:lnTo>
                  <a:pt x="11428" y="78350"/>
                </a:lnTo>
                <a:lnTo>
                  <a:pt x="16767" y="84549"/>
                </a:lnTo>
                <a:lnTo>
                  <a:pt x="23629" y="89012"/>
                </a:lnTo>
                <a:lnTo>
                  <a:pt x="31251" y="91739"/>
                </a:lnTo>
                <a:lnTo>
                  <a:pt x="38874" y="93475"/>
                </a:lnTo>
                <a:lnTo>
                  <a:pt x="46496" y="92607"/>
                </a:lnTo>
                <a:lnTo>
                  <a:pt x="54119" y="90003"/>
                </a:lnTo>
                <a:lnTo>
                  <a:pt x="61752" y="85540"/>
                </a:lnTo>
                <a:lnTo>
                  <a:pt x="67842" y="80210"/>
                </a:lnTo>
                <a:lnTo>
                  <a:pt x="72420" y="73887"/>
                </a:lnTo>
                <a:lnTo>
                  <a:pt x="76236" y="65953"/>
                </a:lnTo>
                <a:lnTo>
                  <a:pt x="79281" y="57027"/>
                </a:lnTo>
                <a:lnTo>
                  <a:pt x="80042" y="48101"/>
                </a:lnTo>
                <a:lnTo>
                  <a:pt x="80042" y="39175"/>
                </a:lnTo>
                <a:lnTo>
                  <a:pt x="77759" y="30249"/>
                </a:lnTo>
                <a:lnTo>
                  <a:pt x="73942" y="21323"/>
                </a:lnTo>
                <a:lnTo>
                  <a:pt x="69375" y="14256"/>
                </a:lnTo>
                <a:lnTo>
                  <a:pt x="64036" y="8802"/>
                </a:lnTo>
                <a:lnTo>
                  <a:pt x="57175" y="4462"/>
                </a:lnTo>
                <a:lnTo>
                  <a:pt x="49552" y="867"/>
                </a:lnTo>
                <a:lnTo>
                  <a:pt x="41929" y="0"/>
                </a:lnTo>
                <a:lnTo>
                  <a:pt x="33545" y="0"/>
                </a:lnTo>
                <a:close/>
              </a:path>
            </a:pathLst>
          </a:custGeom>
          <a:solidFill>
            <a:srgbClr val="FFBE5B"/>
          </a:solidFill>
        </p:spPr>
        <p:txBody>
          <a:bodyPr wrap="square" lIns="0" tIns="0" rIns="0" bIns="0" rtlCol="0">
            <a:noAutofit/>
          </a:bodyPr>
          <a:lstStyle/>
          <a:p>
            <a:endParaRPr/>
          </a:p>
        </p:txBody>
      </p:sp>
      <p:sp>
        <p:nvSpPr>
          <p:cNvPr id="94" name="object 94"/>
          <p:cNvSpPr/>
          <p:nvPr/>
        </p:nvSpPr>
        <p:spPr>
          <a:xfrm>
            <a:off x="8783256" y="658429"/>
            <a:ext cx="45746" cy="53469"/>
          </a:xfrm>
          <a:custGeom>
            <a:avLst/>
            <a:gdLst/>
            <a:ahLst/>
            <a:cxnLst/>
            <a:rect l="l" t="t" r="r" b="b"/>
            <a:pathLst>
              <a:path w="45746" h="53469">
                <a:moveTo>
                  <a:pt x="11439" y="3558"/>
                </a:moveTo>
                <a:lnTo>
                  <a:pt x="4577" y="10686"/>
                </a:lnTo>
                <a:lnTo>
                  <a:pt x="761" y="20492"/>
                </a:lnTo>
                <a:lnTo>
                  <a:pt x="0" y="30298"/>
                </a:lnTo>
                <a:lnTo>
                  <a:pt x="3055" y="40105"/>
                </a:lnTo>
                <a:lnTo>
                  <a:pt x="5339" y="44555"/>
                </a:lnTo>
                <a:lnTo>
                  <a:pt x="9145" y="48126"/>
                </a:lnTo>
                <a:lnTo>
                  <a:pt x="12961" y="50791"/>
                </a:lnTo>
                <a:lnTo>
                  <a:pt x="16778" y="52576"/>
                </a:lnTo>
                <a:lnTo>
                  <a:pt x="21345" y="53469"/>
                </a:lnTo>
                <a:lnTo>
                  <a:pt x="25162" y="53469"/>
                </a:lnTo>
                <a:lnTo>
                  <a:pt x="29729" y="51684"/>
                </a:lnTo>
                <a:lnTo>
                  <a:pt x="34307" y="49898"/>
                </a:lnTo>
                <a:lnTo>
                  <a:pt x="41168" y="42770"/>
                </a:lnTo>
                <a:lnTo>
                  <a:pt x="44985" y="33856"/>
                </a:lnTo>
                <a:lnTo>
                  <a:pt x="45746" y="24063"/>
                </a:lnTo>
                <a:lnTo>
                  <a:pt x="42690" y="14256"/>
                </a:lnTo>
                <a:lnTo>
                  <a:pt x="40407" y="9806"/>
                </a:lnTo>
                <a:lnTo>
                  <a:pt x="36590" y="6235"/>
                </a:lnTo>
                <a:lnTo>
                  <a:pt x="32784" y="3558"/>
                </a:lnTo>
                <a:lnTo>
                  <a:pt x="28968" y="892"/>
                </a:lnTo>
                <a:lnTo>
                  <a:pt x="24400" y="0"/>
                </a:lnTo>
                <a:lnTo>
                  <a:pt x="19823" y="0"/>
                </a:lnTo>
                <a:lnTo>
                  <a:pt x="15245" y="1785"/>
                </a:lnTo>
                <a:lnTo>
                  <a:pt x="11439" y="3558"/>
                </a:lnTo>
                <a:close/>
              </a:path>
            </a:pathLst>
          </a:custGeom>
          <a:solidFill>
            <a:srgbClr val="FFBE5B"/>
          </a:solidFill>
        </p:spPr>
        <p:txBody>
          <a:bodyPr wrap="square" lIns="0" tIns="0" rIns="0" bIns="0" rtlCol="0">
            <a:noAutofit/>
          </a:bodyPr>
          <a:lstStyle/>
          <a:p>
            <a:endParaRPr/>
          </a:p>
        </p:txBody>
      </p:sp>
      <p:sp>
        <p:nvSpPr>
          <p:cNvPr id="95" name="object 95"/>
          <p:cNvSpPr/>
          <p:nvPr/>
        </p:nvSpPr>
        <p:spPr>
          <a:xfrm>
            <a:off x="8736760" y="570235"/>
            <a:ext cx="60981" cy="71259"/>
          </a:xfrm>
          <a:custGeom>
            <a:avLst/>
            <a:gdLst/>
            <a:ahLst/>
            <a:cxnLst/>
            <a:rect l="l" t="t" r="r" b="b"/>
            <a:pathLst>
              <a:path w="60981" h="71259">
                <a:moveTo>
                  <a:pt x="15245" y="4462"/>
                </a:moveTo>
                <a:lnTo>
                  <a:pt x="6089" y="13388"/>
                </a:lnTo>
                <a:lnTo>
                  <a:pt x="761" y="25811"/>
                </a:lnTo>
                <a:lnTo>
                  <a:pt x="0" y="40067"/>
                </a:lnTo>
                <a:lnTo>
                  <a:pt x="3806" y="53432"/>
                </a:lnTo>
                <a:lnTo>
                  <a:pt x="7622" y="59680"/>
                </a:lnTo>
                <a:lnTo>
                  <a:pt x="11428" y="64130"/>
                </a:lnTo>
                <a:lnTo>
                  <a:pt x="16767" y="67688"/>
                </a:lnTo>
                <a:lnTo>
                  <a:pt x="22106" y="70366"/>
                </a:lnTo>
                <a:lnTo>
                  <a:pt x="28206" y="71259"/>
                </a:lnTo>
                <a:lnTo>
                  <a:pt x="34296" y="71259"/>
                </a:lnTo>
                <a:lnTo>
                  <a:pt x="39635" y="69474"/>
                </a:lnTo>
                <a:lnTo>
                  <a:pt x="45735" y="66808"/>
                </a:lnTo>
                <a:lnTo>
                  <a:pt x="54880" y="57002"/>
                </a:lnTo>
                <a:lnTo>
                  <a:pt x="60219" y="44518"/>
                </a:lnTo>
                <a:lnTo>
                  <a:pt x="60981" y="31154"/>
                </a:lnTo>
                <a:lnTo>
                  <a:pt x="57175" y="17728"/>
                </a:lnTo>
                <a:lnTo>
                  <a:pt x="53358" y="11529"/>
                </a:lnTo>
                <a:lnTo>
                  <a:pt x="48780" y="7066"/>
                </a:lnTo>
                <a:lnTo>
                  <a:pt x="44213" y="3471"/>
                </a:lnTo>
                <a:lnTo>
                  <a:pt x="38874" y="867"/>
                </a:lnTo>
                <a:lnTo>
                  <a:pt x="32774" y="0"/>
                </a:lnTo>
                <a:lnTo>
                  <a:pt x="26673" y="0"/>
                </a:lnTo>
                <a:lnTo>
                  <a:pt x="20573" y="1735"/>
                </a:lnTo>
                <a:lnTo>
                  <a:pt x="15245" y="4462"/>
                </a:lnTo>
                <a:close/>
              </a:path>
            </a:pathLst>
          </a:custGeom>
          <a:solidFill>
            <a:srgbClr val="FFBE5B"/>
          </a:solidFill>
        </p:spPr>
        <p:txBody>
          <a:bodyPr wrap="square" lIns="0" tIns="0" rIns="0" bIns="0" rtlCol="0">
            <a:noAutofit/>
          </a:bodyPr>
          <a:lstStyle/>
          <a:p>
            <a:endParaRPr/>
          </a:p>
        </p:txBody>
      </p:sp>
      <p:sp>
        <p:nvSpPr>
          <p:cNvPr id="96" name="object 96"/>
          <p:cNvSpPr/>
          <p:nvPr/>
        </p:nvSpPr>
        <p:spPr>
          <a:xfrm>
            <a:off x="8682627" y="466842"/>
            <a:ext cx="79283" cy="92607"/>
          </a:xfrm>
          <a:custGeom>
            <a:avLst/>
            <a:gdLst/>
            <a:ahLst/>
            <a:cxnLst/>
            <a:rect l="l" t="t" r="r" b="b"/>
            <a:pathLst>
              <a:path w="79283" h="92607">
                <a:moveTo>
                  <a:pt x="19822" y="6198"/>
                </a:moveTo>
                <a:lnTo>
                  <a:pt x="12960" y="11529"/>
                </a:lnTo>
                <a:lnTo>
                  <a:pt x="7623" y="17851"/>
                </a:lnTo>
                <a:lnTo>
                  <a:pt x="3812" y="25786"/>
                </a:lnTo>
                <a:lnTo>
                  <a:pt x="763" y="33844"/>
                </a:lnTo>
                <a:lnTo>
                  <a:pt x="0" y="42770"/>
                </a:lnTo>
                <a:lnTo>
                  <a:pt x="0" y="51696"/>
                </a:lnTo>
                <a:lnTo>
                  <a:pt x="1525" y="60622"/>
                </a:lnTo>
                <a:lnTo>
                  <a:pt x="4574" y="69548"/>
                </a:lnTo>
                <a:lnTo>
                  <a:pt x="9148" y="77482"/>
                </a:lnTo>
                <a:lnTo>
                  <a:pt x="15247" y="83805"/>
                </a:lnTo>
                <a:lnTo>
                  <a:pt x="22108" y="88268"/>
                </a:lnTo>
                <a:lnTo>
                  <a:pt x="28970" y="91739"/>
                </a:lnTo>
                <a:lnTo>
                  <a:pt x="36592" y="92607"/>
                </a:lnTo>
                <a:lnTo>
                  <a:pt x="44215" y="92607"/>
                </a:lnTo>
                <a:lnTo>
                  <a:pt x="51838" y="90871"/>
                </a:lnTo>
                <a:lnTo>
                  <a:pt x="59460" y="87276"/>
                </a:lnTo>
                <a:lnTo>
                  <a:pt x="66322" y="81945"/>
                </a:lnTo>
                <a:lnTo>
                  <a:pt x="71661" y="74879"/>
                </a:lnTo>
                <a:lnTo>
                  <a:pt x="75477" y="67688"/>
                </a:lnTo>
                <a:lnTo>
                  <a:pt x="78522" y="58762"/>
                </a:lnTo>
                <a:lnTo>
                  <a:pt x="79283" y="50828"/>
                </a:lnTo>
                <a:lnTo>
                  <a:pt x="79283" y="41034"/>
                </a:lnTo>
                <a:lnTo>
                  <a:pt x="77761" y="32108"/>
                </a:lnTo>
                <a:lnTo>
                  <a:pt x="73944" y="23182"/>
                </a:lnTo>
                <a:lnTo>
                  <a:pt x="69377" y="15124"/>
                </a:lnTo>
                <a:lnTo>
                  <a:pt x="64038" y="8925"/>
                </a:lnTo>
                <a:lnTo>
                  <a:pt x="57177" y="4462"/>
                </a:lnTo>
                <a:lnTo>
                  <a:pt x="50315" y="867"/>
                </a:lnTo>
                <a:lnTo>
                  <a:pt x="42693" y="0"/>
                </a:lnTo>
                <a:lnTo>
                  <a:pt x="35070" y="0"/>
                </a:lnTo>
                <a:lnTo>
                  <a:pt x="27444" y="1735"/>
                </a:lnTo>
                <a:lnTo>
                  <a:pt x="19822" y="6198"/>
                </a:lnTo>
                <a:close/>
              </a:path>
            </a:pathLst>
          </a:custGeom>
          <a:solidFill>
            <a:srgbClr val="FFBE5B"/>
          </a:solidFill>
        </p:spPr>
        <p:txBody>
          <a:bodyPr wrap="square" lIns="0" tIns="0" rIns="0" bIns="0" rtlCol="0">
            <a:noAutofit/>
          </a:bodyPr>
          <a:lstStyle/>
          <a:p>
            <a:endParaRPr/>
          </a:p>
        </p:txBody>
      </p:sp>
      <p:sp>
        <p:nvSpPr>
          <p:cNvPr id="97" name="object 97"/>
          <p:cNvSpPr/>
          <p:nvPr/>
        </p:nvSpPr>
        <p:spPr>
          <a:xfrm>
            <a:off x="8938013" y="629022"/>
            <a:ext cx="44974" cy="52576"/>
          </a:xfrm>
          <a:custGeom>
            <a:avLst/>
            <a:gdLst/>
            <a:ahLst/>
            <a:cxnLst/>
            <a:rect l="l" t="t" r="r" b="b"/>
            <a:pathLst>
              <a:path w="44974" h="52576">
                <a:moveTo>
                  <a:pt x="26684" y="0"/>
                </a:moveTo>
                <a:lnTo>
                  <a:pt x="17539" y="0"/>
                </a:lnTo>
                <a:lnTo>
                  <a:pt x="13722" y="1772"/>
                </a:lnTo>
                <a:lnTo>
                  <a:pt x="9906" y="4450"/>
                </a:lnTo>
                <a:lnTo>
                  <a:pt x="6100" y="8021"/>
                </a:lnTo>
                <a:lnTo>
                  <a:pt x="3055" y="11579"/>
                </a:lnTo>
                <a:lnTo>
                  <a:pt x="1522" y="16042"/>
                </a:lnTo>
                <a:lnTo>
                  <a:pt x="0" y="21385"/>
                </a:lnTo>
                <a:lnTo>
                  <a:pt x="0" y="32071"/>
                </a:lnTo>
                <a:lnTo>
                  <a:pt x="3816" y="40985"/>
                </a:lnTo>
                <a:lnTo>
                  <a:pt x="9906" y="49006"/>
                </a:lnTo>
                <a:lnTo>
                  <a:pt x="18300" y="52576"/>
                </a:lnTo>
                <a:lnTo>
                  <a:pt x="27445" y="52576"/>
                </a:lnTo>
                <a:lnTo>
                  <a:pt x="31262" y="50791"/>
                </a:lnTo>
                <a:lnTo>
                  <a:pt x="35068" y="48113"/>
                </a:lnTo>
                <a:lnTo>
                  <a:pt x="38884" y="44555"/>
                </a:lnTo>
                <a:lnTo>
                  <a:pt x="41929" y="40985"/>
                </a:lnTo>
                <a:lnTo>
                  <a:pt x="43452" y="36534"/>
                </a:lnTo>
                <a:lnTo>
                  <a:pt x="44974" y="31191"/>
                </a:lnTo>
                <a:lnTo>
                  <a:pt x="44974" y="20492"/>
                </a:lnTo>
                <a:lnTo>
                  <a:pt x="41168" y="11579"/>
                </a:lnTo>
                <a:lnTo>
                  <a:pt x="35068" y="3558"/>
                </a:lnTo>
                <a:lnTo>
                  <a:pt x="26684" y="0"/>
                </a:lnTo>
                <a:close/>
              </a:path>
            </a:pathLst>
          </a:custGeom>
          <a:solidFill>
            <a:srgbClr val="FFBE5B"/>
          </a:solidFill>
        </p:spPr>
        <p:txBody>
          <a:bodyPr wrap="square" lIns="0" tIns="0" rIns="0" bIns="0" rtlCol="0">
            <a:noAutofit/>
          </a:bodyPr>
          <a:lstStyle/>
          <a:p>
            <a:endParaRPr/>
          </a:p>
        </p:txBody>
      </p:sp>
      <p:sp>
        <p:nvSpPr>
          <p:cNvPr id="98" name="object 98"/>
          <p:cNvSpPr/>
          <p:nvPr/>
        </p:nvSpPr>
        <p:spPr>
          <a:xfrm>
            <a:off x="8944113" y="529200"/>
            <a:ext cx="61752" cy="72189"/>
          </a:xfrm>
          <a:custGeom>
            <a:avLst/>
            <a:gdLst/>
            <a:ahLst/>
            <a:cxnLst/>
            <a:rect l="l" t="t" r="r" b="b"/>
            <a:pathLst>
              <a:path w="61752" h="72189">
                <a:moveTo>
                  <a:pt x="36590" y="867"/>
                </a:moveTo>
                <a:lnTo>
                  <a:pt x="30490" y="0"/>
                </a:lnTo>
                <a:lnTo>
                  <a:pt x="24390" y="867"/>
                </a:lnTo>
                <a:lnTo>
                  <a:pt x="19061" y="3595"/>
                </a:lnTo>
                <a:lnTo>
                  <a:pt x="13722" y="6198"/>
                </a:lnTo>
                <a:lnTo>
                  <a:pt x="9145" y="10661"/>
                </a:lnTo>
                <a:lnTo>
                  <a:pt x="5339" y="15992"/>
                </a:lnTo>
                <a:lnTo>
                  <a:pt x="2283" y="22314"/>
                </a:lnTo>
                <a:lnTo>
                  <a:pt x="761" y="29381"/>
                </a:lnTo>
                <a:lnTo>
                  <a:pt x="0" y="36571"/>
                </a:lnTo>
                <a:lnTo>
                  <a:pt x="761" y="43638"/>
                </a:lnTo>
                <a:lnTo>
                  <a:pt x="3044" y="49960"/>
                </a:lnTo>
                <a:lnTo>
                  <a:pt x="5339" y="56159"/>
                </a:lnTo>
                <a:lnTo>
                  <a:pt x="9145" y="61502"/>
                </a:lnTo>
                <a:lnTo>
                  <a:pt x="13722" y="65953"/>
                </a:lnTo>
                <a:lnTo>
                  <a:pt x="19061" y="69523"/>
                </a:lnTo>
                <a:lnTo>
                  <a:pt x="25162" y="71296"/>
                </a:lnTo>
                <a:lnTo>
                  <a:pt x="31251" y="72189"/>
                </a:lnTo>
                <a:lnTo>
                  <a:pt x="37351" y="71296"/>
                </a:lnTo>
                <a:lnTo>
                  <a:pt x="42690" y="68631"/>
                </a:lnTo>
                <a:lnTo>
                  <a:pt x="48029" y="65953"/>
                </a:lnTo>
                <a:lnTo>
                  <a:pt x="52597" y="61502"/>
                </a:lnTo>
                <a:lnTo>
                  <a:pt x="56413" y="56159"/>
                </a:lnTo>
                <a:lnTo>
                  <a:pt x="59458" y="49960"/>
                </a:lnTo>
                <a:lnTo>
                  <a:pt x="60991" y="42770"/>
                </a:lnTo>
                <a:lnTo>
                  <a:pt x="61752" y="35703"/>
                </a:lnTo>
                <a:lnTo>
                  <a:pt x="60991" y="28513"/>
                </a:lnTo>
                <a:lnTo>
                  <a:pt x="59458" y="22314"/>
                </a:lnTo>
                <a:lnTo>
                  <a:pt x="56413" y="15992"/>
                </a:lnTo>
                <a:lnTo>
                  <a:pt x="52597" y="10661"/>
                </a:lnTo>
                <a:lnTo>
                  <a:pt x="48029" y="6198"/>
                </a:lnTo>
                <a:lnTo>
                  <a:pt x="42690" y="2727"/>
                </a:lnTo>
                <a:lnTo>
                  <a:pt x="36590" y="867"/>
                </a:lnTo>
                <a:close/>
              </a:path>
            </a:pathLst>
          </a:custGeom>
          <a:solidFill>
            <a:srgbClr val="FFBE5B"/>
          </a:solidFill>
        </p:spPr>
        <p:txBody>
          <a:bodyPr wrap="square" lIns="0" tIns="0" rIns="0" bIns="0" rtlCol="0">
            <a:noAutofit/>
          </a:bodyPr>
          <a:lstStyle/>
          <a:p>
            <a:endParaRPr/>
          </a:p>
        </p:txBody>
      </p:sp>
      <p:sp>
        <p:nvSpPr>
          <p:cNvPr id="99" name="object 99"/>
          <p:cNvSpPr/>
          <p:nvPr/>
        </p:nvSpPr>
        <p:spPr>
          <a:xfrm>
            <a:off x="8951736" y="414277"/>
            <a:ext cx="80804" cy="93598"/>
          </a:xfrm>
          <a:custGeom>
            <a:avLst/>
            <a:gdLst/>
            <a:ahLst/>
            <a:cxnLst/>
            <a:rect l="l" t="t" r="r" b="b"/>
            <a:pathLst>
              <a:path w="80804" h="93598">
                <a:moveTo>
                  <a:pt x="48029" y="867"/>
                </a:moveTo>
                <a:lnTo>
                  <a:pt x="39646" y="0"/>
                </a:lnTo>
                <a:lnTo>
                  <a:pt x="32023" y="867"/>
                </a:lnTo>
                <a:lnTo>
                  <a:pt x="24390" y="3471"/>
                </a:lnTo>
                <a:lnTo>
                  <a:pt x="17539" y="7934"/>
                </a:lnTo>
                <a:lnTo>
                  <a:pt x="12200" y="13388"/>
                </a:lnTo>
                <a:lnTo>
                  <a:pt x="6861" y="20455"/>
                </a:lnTo>
                <a:lnTo>
                  <a:pt x="3044" y="29381"/>
                </a:lnTo>
                <a:lnTo>
                  <a:pt x="761" y="38307"/>
                </a:lnTo>
                <a:lnTo>
                  <a:pt x="0" y="47233"/>
                </a:lnTo>
                <a:lnTo>
                  <a:pt x="1522" y="57027"/>
                </a:lnTo>
                <a:lnTo>
                  <a:pt x="3816" y="64961"/>
                </a:lnTo>
                <a:lnTo>
                  <a:pt x="7622" y="73019"/>
                </a:lnTo>
                <a:lnTo>
                  <a:pt x="12200" y="80210"/>
                </a:lnTo>
                <a:lnTo>
                  <a:pt x="18300" y="85540"/>
                </a:lnTo>
                <a:lnTo>
                  <a:pt x="25162" y="90003"/>
                </a:lnTo>
                <a:lnTo>
                  <a:pt x="32784" y="92607"/>
                </a:lnTo>
                <a:lnTo>
                  <a:pt x="41168" y="93598"/>
                </a:lnTo>
                <a:lnTo>
                  <a:pt x="48791" y="92607"/>
                </a:lnTo>
                <a:lnTo>
                  <a:pt x="56413" y="90003"/>
                </a:lnTo>
                <a:lnTo>
                  <a:pt x="63275" y="85540"/>
                </a:lnTo>
                <a:lnTo>
                  <a:pt x="68614" y="79342"/>
                </a:lnTo>
                <a:lnTo>
                  <a:pt x="73953" y="72151"/>
                </a:lnTo>
                <a:lnTo>
                  <a:pt x="77759" y="64093"/>
                </a:lnTo>
                <a:lnTo>
                  <a:pt x="80042" y="55167"/>
                </a:lnTo>
                <a:lnTo>
                  <a:pt x="80804" y="46365"/>
                </a:lnTo>
                <a:lnTo>
                  <a:pt x="79281" y="36447"/>
                </a:lnTo>
                <a:lnTo>
                  <a:pt x="76998" y="28513"/>
                </a:lnTo>
                <a:lnTo>
                  <a:pt x="73181" y="20455"/>
                </a:lnTo>
                <a:lnTo>
                  <a:pt x="68614" y="13388"/>
                </a:lnTo>
                <a:lnTo>
                  <a:pt x="62514" y="7934"/>
                </a:lnTo>
                <a:lnTo>
                  <a:pt x="55652" y="3471"/>
                </a:lnTo>
                <a:lnTo>
                  <a:pt x="48029" y="867"/>
                </a:lnTo>
                <a:close/>
              </a:path>
            </a:pathLst>
          </a:custGeom>
          <a:solidFill>
            <a:srgbClr val="FFBE5B"/>
          </a:solidFill>
        </p:spPr>
        <p:txBody>
          <a:bodyPr wrap="square" lIns="0" tIns="0" rIns="0" bIns="0" rtlCol="0">
            <a:noAutofit/>
          </a:bodyPr>
          <a:lstStyle/>
          <a:p>
            <a:endParaRPr/>
          </a:p>
        </p:txBody>
      </p:sp>
      <p:sp>
        <p:nvSpPr>
          <p:cNvPr id="100" name="object 100"/>
          <p:cNvSpPr/>
          <p:nvPr/>
        </p:nvSpPr>
        <p:spPr>
          <a:xfrm>
            <a:off x="9596690" y="1053217"/>
            <a:ext cx="108989" cy="122980"/>
          </a:xfrm>
          <a:custGeom>
            <a:avLst/>
            <a:gdLst/>
            <a:ahLst/>
            <a:cxnLst/>
            <a:rect l="l" t="t" r="r" b="b"/>
            <a:pathLst>
              <a:path w="108989" h="122980">
                <a:moveTo>
                  <a:pt x="0" y="43663"/>
                </a:moveTo>
                <a:lnTo>
                  <a:pt x="25912" y="75747"/>
                </a:lnTo>
                <a:lnTo>
                  <a:pt x="18290" y="119410"/>
                </a:lnTo>
                <a:lnTo>
                  <a:pt x="52597" y="100702"/>
                </a:lnTo>
                <a:lnTo>
                  <a:pt x="85413" y="122980"/>
                </a:lnTo>
                <a:lnTo>
                  <a:pt x="80761" y="78424"/>
                </a:lnTo>
                <a:lnTo>
                  <a:pt x="108989" y="48126"/>
                </a:lnTo>
                <a:lnTo>
                  <a:pt x="71669" y="40105"/>
                </a:lnTo>
                <a:lnTo>
                  <a:pt x="56413" y="0"/>
                </a:lnTo>
                <a:lnTo>
                  <a:pt x="38113" y="39212"/>
                </a:lnTo>
                <a:lnTo>
                  <a:pt x="0" y="43663"/>
                </a:lnTo>
                <a:close/>
              </a:path>
            </a:pathLst>
          </a:custGeom>
          <a:solidFill>
            <a:srgbClr val="000000"/>
          </a:solidFill>
        </p:spPr>
        <p:txBody>
          <a:bodyPr wrap="square" lIns="0" tIns="0" rIns="0" bIns="0" rtlCol="0">
            <a:noAutofit/>
          </a:bodyPr>
          <a:lstStyle/>
          <a:p>
            <a:endParaRPr/>
          </a:p>
        </p:txBody>
      </p:sp>
      <p:sp>
        <p:nvSpPr>
          <p:cNvPr id="26" name="object 26"/>
          <p:cNvSpPr/>
          <p:nvPr/>
        </p:nvSpPr>
        <p:spPr>
          <a:xfrm>
            <a:off x="2171700" y="1962150"/>
            <a:ext cx="1828800" cy="365760"/>
          </a:xfrm>
          <a:custGeom>
            <a:avLst/>
            <a:gdLst/>
            <a:ahLst/>
            <a:cxnLst/>
            <a:rect l="l" t="t" r="r" b="b"/>
            <a:pathLst>
              <a:path w="1828800" h="365760">
                <a:moveTo>
                  <a:pt x="0" y="365760"/>
                </a:moveTo>
                <a:lnTo>
                  <a:pt x="1828800" y="365760"/>
                </a:lnTo>
                <a:lnTo>
                  <a:pt x="1828800" y="0"/>
                </a:lnTo>
                <a:lnTo>
                  <a:pt x="0" y="0"/>
                </a:lnTo>
                <a:lnTo>
                  <a:pt x="0" y="365760"/>
                </a:lnTo>
                <a:close/>
              </a:path>
            </a:pathLst>
          </a:custGeom>
          <a:solidFill>
            <a:srgbClr val="FF9933"/>
          </a:solidFill>
        </p:spPr>
        <p:txBody>
          <a:bodyPr wrap="square" lIns="0" tIns="0" rIns="0" bIns="0" rtlCol="0">
            <a:noAutofit/>
          </a:bodyPr>
          <a:lstStyle/>
          <a:p>
            <a:endParaRPr/>
          </a:p>
        </p:txBody>
      </p:sp>
      <p:sp>
        <p:nvSpPr>
          <p:cNvPr id="27" name="object 27"/>
          <p:cNvSpPr/>
          <p:nvPr/>
        </p:nvSpPr>
        <p:spPr>
          <a:xfrm>
            <a:off x="4000500" y="1962150"/>
            <a:ext cx="5448300" cy="365760"/>
          </a:xfrm>
          <a:custGeom>
            <a:avLst/>
            <a:gdLst/>
            <a:ahLst/>
            <a:cxnLst/>
            <a:rect l="l" t="t" r="r" b="b"/>
            <a:pathLst>
              <a:path w="5448300" h="365760">
                <a:moveTo>
                  <a:pt x="0" y="365760"/>
                </a:moveTo>
                <a:lnTo>
                  <a:pt x="5448300" y="365760"/>
                </a:lnTo>
                <a:lnTo>
                  <a:pt x="5448300" y="0"/>
                </a:lnTo>
                <a:lnTo>
                  <a:pt x="0" y="0"/>
                </a:lnTo>
                <a:lnTo>
                  <a:pt x="0" y="365760"/>
                </a:lnTo>
                <a:close/>
              </a:path>
            </a:pathLst>
          </a:custGeom>
          <a:solidFill>
            <a:srgbClr val="FF9933"/>
          </a:solidFill>
        </p:spPr>
        <p:txBody>
          <a:bodyPr wrap="square" lIns="0" tIns="0" rIns="0" bIns="0" rtlCol="0">
            <a:noAutofit/>
          </a:bodyPr>
          <a:lstStyle/>
          <a:p>
            <a:endParaRPr/>
          </a:p>
        </p:txBody>
      </p:sp>
      <p:sp>
        <p:nvSpPr>
          <p:cNvPr id="28" name="object 28"/>
          <p:cNvSpPr/>
          <p:nvPr/>
        </p:nvSpPr>
        <p:spPr>
          <a:xfrm>
            <a:off x="2171700" y="2327910"/>
            <a:ext cx="1828800" cy="365760"/>
          </a:xfrm>
          <a:custGeom>
            <a:avLst/>
            <a:gdLst/>
            <a:ahLst/>
            <a:cxnLst/>
            <a:rect l="l" t="t" r="r" b="b"/>
            <a:pathLst>
              <a:path w="1828800" h="365760">
                <a:moveTo>
                  <a:pt x="0" y="365760"/>
                </a:moveTo>
                <a:lnTo>
                  <a:pt x="1828800" y="365760"/>
                </a:lnTo>
                <a:lnTo>
                  <a:pt x="1828800" y="0"/>
                </a:lnTo>
                <a:lnTo>
                  <a:pt x="0" y="0"/>
                </a:lnTo>
                <a:lnTo>
                  <a:pt x="0" y="365760"/>
                </a:lnTo>
                <a:close/>
              </a:path>
            </a:pathLst>
          </a:custGeom>
          <a:solidFill>
            <a:srgbClr val="FF9933"/>
          </a:solidFill>
        </p:spPr>
        <p:txBody>
          <a:bodyPr wrap="square" lIns="0" tIns="0" rIns="0" bIns="0" rtlCol="0">
            <a:noAutofit/>
          </a:bodyPr>
          <a:lstStyle/>
          <a:p>
            <a:endParaRPr/>
          </a:p>
        </p:txBody>
      </p:sp>
      <p:sp>
        <p:nvSpPr>
          <p:cNvPr id="29" name="object 29"/>
          <p:cNvSpPr/>
          <p:nvPr/>
        </p:nvSpPr>
        <p:spPr>
          <a:xfrm>
            <a:off x="4000500" y="2327910"/>
            <a:ext cx="5448300" cy="365760"/>
          </a:xfrm>
          <a:custGeom>
            <a:avLst/>
            <a:gdLst/>
            <a:ahLst/>
            <a:cxnLst/>
            <a:rect l="l" t="t" r="r" b="b"/>
            <a:pathLst>
              <a:path w="5448300" h="365760">
                <a:moveTo>
                  <a:pt x="0" y="365760"/>
                </a:moveTo>
                <a:lnTo>
                  <a:pt x="5448300" y="365760"/>
                </a:lnTo>
                <a:lnTo>
                  <a:pt x="5448300" y="0"/>
                </a:lnTo>
                <a:lnTo>
                  <a:pt x="0" y="0"/>
                </a:lnTo>
                <a:lnTo>
                  <a:pt x="0" y="365760"/>
                </a:lnTo>
                <a:close/>
              </a:path>
            </a:pathLst>
          </a:custGeom>
          <a:solidFill>
            <a:srgbClr val="FF9933"/>
          </a:solidFill>
        </p:spPr>
        <p:txBody>
          <a:bodyPr wrap="square" lIns="0" tIns="0" rIns="0" bIns="0" rtlCol="0">
            <a:noAutofit/>
          </a:bodyPr>
          <a:lstStyle/>
          <a:p>
            <a:endParaRPr/>
          </a:p>
        </p:txBody>
      </p:sp>
      <p:sp>
        <p:nvSpPr>
          <p:cNvPr id="30" name="object 30"/>
          <p:cNvSpPr/>
          <p:nvPr/>
        </p:nvSpPr>
        <p:spPr>
          <a:xfrm>
            <a:off x="2171700" y="2693671"/>
            <a:ext cx="1828800" cy="640079"/>
          </a:xfrm>
          <a:custGeom>
            <a:avLst/>
            <a:gdLst/>
            <a:ahLst/>
            <a:cxnLst/>
            <a:rect l="l" t="t" r="r" b="b"/>
            <a:pathLst>
              <a:path w="1828800" h="640079">
                <a:moveTo>
                  <a:pt x="0" y="640079"/>
                </a:moveTo>
                <a:lnTo>
                  <a:pt x="1828800" y="640079"/>
                </a:lnTo>
                <a:lnTo>
                  <a:pt x="1828800" y="0"/>
                </a:lnTo>
                <a:lnTo>
                  <a:pt x="0" y="0"/>
                </a:lnTo>
                <a:lnTo>
                  <a:pt x="0" y="640079"/>
                </a:lnTo>
                <a:close/>
              </a:path>
            </a:pathLst>
          </a:custGeom>
          <a:solidFill>
            <a:srgbClr val="FF9933"/>
          </a:solidFill>
        </p:spPr>
        <p:txBody>
          <a:bodyPr wrap="square" lIns="0" tIns="0" rIns="0" bIns="0" rtlCol="0">
            <a:noAutofit/>
          </a:bodyPr>
          <a:lstStyle/>
          <a:p>
            <a:endParaRPr/>
          </a:p>
        </p:txBody>
      </p:sp>
      <p:sp>
        <p:nvSpPr>
          <p:cNvPr id="31" name="object 31"/>
          <p:cNvSpPr/>
          <p:nvPr/>
        </p:nvSpPr>
        <p:spPr>
          <a:xfrm>
            <a:off x="4000500" y="2693671"/>
            <a:ext cx="5448300" cy="640079"/>
          </a:xfrm>
          <a:custGeom>
            <a:avLst/>
            <a:gdLst/>
            <a:ahLst/>
            <a:cxnLst/>
            <a:rect l="l" t="t" r="r" b="b"/>
            <a:pathLst>
              <a:path w="5448300" h="640079">
                <a:moveTo>
                  <a:pt x="0" y="640079"/>
                </a:moveTo>
                <a:lnTo>
                  <a:pt x="5448300" y="640079"/>
                </a:lnTo>
                <a:lnTo>
                  <a:pt x="5448300" y="0"/>
                </a:lnTo>
                <a:lnTo>
                  <a:pt x="0" y="0"/>
                </a:lnTo>
                <a:lnTo>
                  <a:pt x="0" y="640079"/>
                </a:lnTo>
                <a:close/>
              </a:path>
            </a:pathLst>
          </a:custGeom>
          <a:solidFill>
            <a:srgbClr val="FF9933"/>
          </a:solidFill>
        </p:spPr>
        <p:txBody>
          <a:bodyPr wrap="square" lIns="0" tIns="0" rIns="0" bIns="0" rtlCol="0">
            <a:noAutofit/>
          </a:bodyPr>
          <a:lstStyle/>
          <a:p>
            <a:endParaRPr/>
          </a:p>
        </p:txBody>
      </p:sp>
      <p:sp>
        <p:nvSpPr>
          <p:cNvPr id="32" name="object 32"/>
          <p:cNvSpPr/>
          <p:nvPr/>
        </p:nvSpPr>
        <p:spPr>
          <a:xfrm>
            <a:off x="2171700" y="3333750"/>
            <a:ext cx="1828800" cy="640080"/>
          </a:xfrm>
          <a:custGeom>
            <a:avLst/>
            <a:gdLst/>
            <a:ahLst/>
            <a:cxnLst/>
            <a:rect l="l" t="t" r="r" b="b"/>
            <a:pathLst>
              <a:path w="1828800" h="640079">
                <a:moveTo>
                  <a:pt x="0" y="640080"/>
                </a:moveTo>
                <a:lnTo>
                  <a:pt x="1828800" y="640080"/>
                </a:lnTo>
                <a:lnTo>
                  <a:pt x="1828800" y="0"/>
                </a:lnTo>
                <a:lnTo>
                  <a:pt x="0" y="0"/>
                </a:lnTo>
                <a:lnTo>
                  <a:pt x="0" y="640080"/>
                </a:lnTo>
                <a:close/>
              </a:path>
            </a:pathLst>
          </a:custGeom>
          <a:solidFill>
            <a:srgbClr val="FF9933"/>
          </a:solidFill>
        </p:spPr>
        <p:txBody>
          <a:bodyPr wrap="square" lIns="0" tIns="0" rIns="0" bIns="0" rtlCol="0">
            <a:noAutofit/>
          </a:bodyPr>
          <a:lstStyle/>
          <a:p>
            <a:endParaRPr/>
          </a:p>
        </p:txBody>
      </p:sp>
      <p:sp>
        <p:nvSpPr>
          <p:cNvPr id="33" name="object 33"/>
          <p:cNvSpPr/>
          <p:nvPr/>
        </p:nvSpPr>
        <p:spPr>
          <a:xfrm>
            <a:off x="4000500" y="3333750"/>
            <a:ext cx="5448300" cy="640080"/>
          </a:xfrm>
          <a:custGeom>
            <a:avLst/>
            <a:gdLst/>
            <a:ahLst/>
            <a:cxnLst/>
            <a:rect l="l" t="t" r="r" b="b"/>
            <a:pathLst>
              <a:path w="5448300" h="640079">
                <a:moveTo>
                  <a:pt x="0" y="640080"/>
                </a:moveTo>
                <a:lnTo>
                  <a:pt x="5448300" y="640080"/>
                </a:lnTo>
                <a:lnTo>
                  <a:pt x="5448300" y="0"/>
                </a:lnTo>
                <a:lnTo>
                  <a:pt x="0" y="0"/>
                </a:lnTo>
                <a:lnTo>
                  <a:pt x="0" y="640080"/>
                </a:lnTo>
                <a:close/>
              </a:path>
            </a:pathLst>
          </a:custGeom>
          <a:solidFill>
            <a:srgbClr val="FF9933"/>
          </a:solidFill>
        </p:spPr>
        <p:txBody>
          <a:bodyPr wrap="square" lIns="0" tIns="0" rIns="0" bIns="0" rtlCol="0">
            <a:noAutofit/>
          </a:bodyPr>
          <a:lstStyle/>
          <a:p>
            <a:endParaRPr/>
          </a:p>
        </p:txBody>
      </p:sp>
      <p:sp>
        <p:nvSpPr>
          <p:cNvPr id="34" name="object 34"/>
          <p:cNvSpPr/>
          <p:nvPr/>
        </p:nvSpPr>
        <p:spPr>
          <a:xfrm>
            <a:off x="2171700" y="3973829"/>
            <a:ext cx="1828800" cy="640080"/>
          </a:xfrm>
          <a:custGeom>
            <a:avLst/>
            <a:gdLst/>
            <a:ahLst/>
            <a:cxnLst/>
            <a:rect l="l" t="t" r="r" b="b"/>
            <a:pathLst>
              <a:path w="1828800" h="640079">
                <a:moveTo>
                  <a:pt x="0" y="640080"/>
                </a:moveTo>
                <a:lnTo>
                  <a:pt x="1828800" y="640080"/>
                </a:lnTo>
                <a:lnTo>
                  <a:pt x="1828800" y="0"/>
                </a:lnTo>
                <a:lnTo>
                  <a:pt x="0" y="0"/>
                </a:lnTo>
                <a:lnTo>
                  <a:pt x="0" y="640080"/>
                </a:lnTo>
                <a:close/>
              </a:path>
            </a:pathLst>
          </a:custGeom>
          <a:solidFill>
            <a:srgbClr val="FF9933"/>
          </a:solidFill>
        </p:spPr>
        <p:txBody>
          <a:bodyPr wrap="square" lIns="0" tIns="0" rIns="0" bIns="0" rtlCol="0">
            <a:noAutofit/>
          </a:bodyPr>
          <a:lstStyle/>
          <a:p>
            <a:endParaRPr/>
          </a:p>
        </p:txBody>
      </p:sp>
      <p:sp>
        <p:nvSpPr>
          <p:cNvPr id="35" name="object 35"/>
          <p:cNvSpPr/>
          <p:nvPr/>
        </p:nvSpPr>
        <p:spPr>
          <a:xfrm>
            <a:off x="4000500" y="3973829"/>
            <a:ext cx="5448300" cy="640080"/>
          </a:xfrm>
          <a:custGeom>
            <a:avLst/>
            <a:gdLst/>
            <a:ahLst/>
            <a:cxnLst/>
            <a:rect l="l" t="t" r="r" b="b"/>
            <a:pathLst>
              <a:path w="5448300" h="640079">
                <a:moveTo>
                  <a:pt x="0" y="640080"/>
                </a:moveTo>
                <a:lnTo>
                  <a:pt x="5448300" y="640080"/>
                </a:lnTo>
                <a:lnTo>
                  <a:pt x="5448300" y="0"/>
                </a:lnTo>
                <a:lnTo>
                  <a:pt x="0" y="0"/>
                </a:lnTo>
                <a:lnTo>
                  <a:pt x="0" y="640080"/>
                </a:lnTo>
                <a:close/>
              </a:path>
            </a:pathLst>
          </a:custGeom>
          <a:solidFill>
            <a:srgbClr val="FF9933"/>
          </a:solidFill>
        </p:spPr>
        <p:txBody>
          <a:bodyPr wrap="square" lIns="0" tIns="0" rIns="0" bIns="0" rtlCol="0">
            <a:noAutofit/>
          </a:bodyPr>
          <a:lstStyle/>
          <a:p>
            <a:endParaRPr/>
          </a:p>
        </p:txBody>
      </p:sp>
      <p:sp>
        <p:nvSpPr>
          <p:cNvPr id="36" name="object 36"/>
          <p:cNvSpPr/>
          <p:nvPr/>
        </p:nvSpPr>
        <p:spPr>
          <a:xfrm>
            <a:off x="2171700" y="4613909"/>
            <a:ext cx="1828800" cy="365760"/>
          </a:xfrm>
          <a:custGeom>
            <a:avLst/>
            <a:gdLst/>
            <a:ahLst/>
            <a:cxnLst/>
            <a:rect l="l" t="t" r="r" b="b"/>
            <a:pathLst>
              <a:path w="1828800" h="365760">
                <a:moveTo>
                  <a:pt x="0" y="365760"/>
                </a:moveTo>
                <a:lnTo>
                  <a:pt x="1828800" y="365760"/>
                </a:lnTo>
                <a:lnTo>
                  <a:pt x="1828800" y="0"/>
                </a:lnTo>
                <a:lnTo>
                  <a:pt x="0" y="0"/>
                </a:lnTo>
                <a:lnTo>
                  <a:pt x="0" y="365760"/>
                </a:lnTo>
                <a:close/>
              </a:path>
            </a:pathLst>
          </a:custGeom>
          <a:solidFill>
            <a:srgbClr val="FF9933"/>
          </a:solidFill>
        </p:spPr>
        <p:txBody>
          <a:bodyPr wrap="square" lIns="0" tIns="0" rIns="0" bIns="0" rtlCol="0">
            <a:noAutofit/>
          </a:bodyPr>
          <a:lstStyle/>
          <a:p>
            <a:endParaRPr/>
          </a:p>
        </p:txBody>
      </p:sp>
      <p:sp>
        <p:nvSpPr>
          <p:cNvPr id="37" name="object 37"/>
          <p:cNvSpPr/>
          <p:nvPr/>
        </p:nvSpPr>
        <p:spPr>
          <a:xfrm>
            <a:off x="4000500" y="4613909"/>
            <a:ext cx="5448300" cy="365760"/>
          </a:xfrm>
          <a:custGeom>
            <a:avLst/>
            <a:gdLst/>
            <a:ahLst/>
            <a:cxnLst/>
            <a:rect l="l" t="t" r="r" b="b"/>
            <a:pathLst>
              <a:path w="5448300" h="365760">
                <a:moveTo>
                  <a:pt x="0" y="365760"/>
                </a:moveTo>
                <a:lnTo>
                  <a:pt x="5448300" y="365760"/>
                </a:lnTo>
                <a:lnTo>
                  <a:pt x="5448300" y="0"/>
                </a:lnTo>
                <a:lnTo>
                  <a:pt x="0" y="0"/>
                </a:lnTo>
                <a:lnTo>
                  <a:pt x="0" y="365760"/>
                </a:lnTo>
                <a:close/>
              </a:path>
            </a:pathLst>
          </a:custGeom>
          <a:solidFill>
            <a:srgbClr val="FF9933"/>
          </a:solidFill>
        </p:spPr>
        <p:txBody>
          <a:bodyPr wrap="square" lIns="0" tIns="0" rIns="0" bIns="0" rtlCol="0">
            <a:noAutofit/>
          </a:bodyPr>
          <a:lstStyle/>
          <a:p>
            <a:endParaRPr/>
          </a:p>
        </p:txBody>
      </p:sp>
      <p:sp>
        <p:nvSpPr>
          <p:cNvPr id="38" name="object 38"/>
          <p:cNvSpPr/>
          <p:nvPr/>
        </p:nvSpPr>
        <p:spPr>
          <a:xfrm>
            <a:off x="2171700" y="4979670"/>
            <a:ext cx="1828800" cy="640080"/>
          </a:xfrm>
          <a:custGeom>
            <a:avLst/>
            <a:gdLst/>
            <a:ahLst/>
            <a:cxnLst/>
            <a:rect l="l" t="t" r="r" b="b"/>
            <a:pathLst>
              <a:path w="1828800" h="640079">
                <a:moveTo>
                  <a:pt x="0" y="640079"/>
                </a:moveTo>
                <a:lnTo>
                  <a:pt x="1828800" y="640079"/>
                </a:lnTo>
                <a:lnTo>
                  <a:pt x="1828800" y="0"/>
                </a:lnTo>
                <a:lnTo>
                  <a:pt x="0" y="0"/>
                </a:lnTo>
                <a:lnTo>
                  <a:pt x="0" y="640079"/>
                </a:lnTo>
                <a:close/>
              </a:path>
            </a:pathLst>
          </a:custGeom>
          <a:solidFill>
            <a:srgbClr val="FF9933"/>
          </a:solidFill>
        </p:spPr>
        <p:txBody>
          <a:bodyPr wrap="square" lIns="0" tIns="0" rIns="0" bIns="0" rtlCol="0">
            <a:noAutofit/>
          </a:bodyPr>
          <a:lstStyle/>
          <a:p>
            <a:endParaRPr/>
          </a:p>
        </p:txBody>
      </p:sp>
      <p:sp>
        <p:nvSpPr>
          <p:cNvPr id="39" name="object 39"/>
          <p:cNvSpPr/>
          <p:nvPr/>
        </p:nvSpPr>
        <p:spPr>
          <a:xfrm>
            <a:off x="4000500" y="4979670"/>
            <a:ext cx="5448300" cy="640080"/>
          </a:xfrm>
          <a:custGeom>
            <a:avLst/>
            <a:gdLst/>
            <a:ahLst/>
            <a:cxnLst/>
            <a:rect l="l" t="t" r="r" b="b"/>
            <a:pathLst>
              <a:path w="5448300" h="640079">
                <a:moveTo>
                  <a:pt x="0" y="640079"/>
                </a:moveTo>
                <a:lnTo>
                  <a:pt x="5448300" y="640079"/>
                </a:lnTo>
                <a:lnTo>
                  <a:pt x="5448300" y="0"/>
                </a:lnTo>
                <a:lnTo>
                  <a:pt x="0" y="0"/>
                </a:lnTo>
                <a:lnTo>
                  <a:pt x="0" y="640079"/>
                </a:lnTo>
                <a:close/>
              </a:path>
            </a:pathLst>
          </a:custGeom>
          <a:solidFill>
            <a:srgbClr val="FF9933"/>
          </a:solidFill>
        </p:spPr>
        <p:txBody>
          <a:bodyPr wrap="square" lIns="0" tIns="0" rIns="0" bIns="0" rtlCol="0">
            <a:noAutofit/>
          </a:bodyPr>
          <a:lstStyle/>
          <a:p>
            <a:endParaRPr/>
          </a:p>
        </p:txBody>
      </p:sp>
      <p:sp>
        <p:nvSpPr>
          <p:cNvPr id="42" name="object 42"/>
          <p:cNvSpPr/>
          <p:nvPr/>
        </p:nvSpPr>
        <p:spPr>
          <a:xfrm>
            <a:off x="4000500" y="1947927"/>
            <a:ext cx="45719" cy="3686111"/>
          </a:xfrm>
          <a:custGeom>
            <a:avLst/>
            <a:gdLst/>
            <a:ahLst/>
            <a:cxnLst/>
            <a:rect l="l" t="t" r="r" b="b"/>
            <a:pathLst>
              <a:path h="3960431">
                <a:moveTo>
                  <a:pt x="0" y="0"/>
                </a:moveTo>
                <a:lnTo>
                  <a:pt x="0" y="3960431"/>
                </a:lnTo>
              </a:path>
            </a:pathLst>
          </a:custGeom>
          <a:ln w="12700">
            <a:solidFill>
              <a:srgbClr val="000000"/>
            </a:solidFill>
          </a:ln>
        </p:spPr>
        <p:txBody>
          <a:bodyPr wrap="square" lIns="0" tIns="0" rIns="0" bIns="0" rtlCol="0">
            <a:noAutofit/>
          </a:bodyPr>
          <a:lstStyle/>
          <a:p>
            <a:endParaRPr/>
          </a:p>
        </p:txBody>
      </p:sp>
      <p:sp>
        <p:nvSpPr>
          <p:cNvPr id="43" name="object 43"/>
          <p:cNvSpPr/>
          <p:nvPr/>
        </p:nvSpPr>
        <p:spPr>
          <a:xfrm>
            <a:off x="2157413" y="232791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4" name="object 44"/>
          <p:cNvSpPr/>
          <p:nvPr/>
        </p:nvSpPr>
        <p:spPr>
          <a:xfrm>
            <a:off x="2157413" y="269367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5" name="object 45"/>
          <p:cNvSpPr/>
          <p:nvPr/>
        </p:nvSpPr>
        <p:spPr>
          <a:xfrm>
            <a:off x="2157413" y="333375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6" name="object 46"/>
          <p:cNvSpPr/>
          <p:nvPr/>
        </p:nvSpPr>
        <p:spPr>
          <a:xfrm>
            <a:off x="2157413" y="3973829"/>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7" name="object 47"/>
          <p:cNvSpPr/>
          <p:nvPr/>
        </p:nvSpPr>
        <p:spPr>
          <a:xfrm>
            <a:off x="2157413" y="461391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8" name="object 48"/>
          <p:cNvSpPr/>
          <p:nvPr/>
        </p:nvSpPr>
        <p:spPr>
          <a:xfrm>
            <a:off x="2157413" y="497967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49" name="object 49"/>
          <p:cNvSpPr/>
          <p:nvPr/>
        </p:nvSpPr>
        <p:spPr>
          <a:xfrm>
            <a:off x="2157413" y="5619750"/>
            <a:ext cx="7305611" cy="0"/>
          </a:xfrm>
          <a:custGeom>
            <a:avLst/>
            <a:gdLst/>
            <a:ahLst/>
            <a:cxnLst/>
            <a:rect l="l" t="t" r="r" b="b"/>
            <a:pathLst>
              <a:path w="7305611">
                <a:moveTo>
                  <a:pt x="0" y="0"/>
                </a:moveTo>
                <a:lnTo>
                  <a:pt x="7305611" y="0"/>
                </a:lnTo>
              </a:path>
            </a:pathLst>
          </a:custGeom>
          <a:ln w="12700">
            <a:solidFill>
              <a:srgbClr val="000000"/>
            </a:solidFill>
          </a:ln>
        </p:spPr>
        <p:txBody>
          <a:bodyPr wrap="square" lIns="0" tIns="0" rIns="0" bIns="0" rtlCol="0">
            <a:noAutofit/>
          </a:bodyPr>
          <a:lstStyle/>
          <a:p>
            <a:endParaRPr/>
          </a:p>
        </p:txBody>
      </p:sp>
      <p:sp>
        <p:nvSpPr>
          <p:cNvPr id="50" name="object 50"/>
          <p:cNvSpPr/>
          <p:nvPr/>
        </p:nvSpPr>
        <p:spPr>
          <a:xfrm>
            <a:off x="2171700" y="1947927"/>
            <a:ext cx="45719" cy="3657536"/>
          </a:xfrm>
          <a:custGeom>
            <a:avLst/>
            <a:gdLst/>
            <a:ahLst/>
            <a:cxnLst/>
            <a:rect l="l" t="t" r="r" b="b"/>
            <a:pathLst>
              <a:path h="3960431">
                <a:moveTo>
                  <a:pt x="0" y="0"/>
                </a:moveTo>
                <a:lnTo>
                  <a:pt x="0" y="3960431"/>
                </a:lnTo>
              </a:path>
            </a:pathLst>
          </a:custGeom>
          <a:ln w="28575">
            <a:solidFill>
              <a:srgbClr val="000000"/>
            </a:solidFill>
          </a:ln>
        </p:spPr>
        <p:txBody>
          <a:bodyPr wrap="square" lIns="0" tIns="0" rIns="0" bIns="0" rtlCol="0">
            <a:noAutofit/>
          </a:bodyPr>
          <a:lstStyle/>
          <a:p>
            <a:endParaRPr/>
          </a:p>
        </p:txBody>
      </p:sp>
      <p:sp>
        <p:nvSpPr>
          <p:cNvPr id="51" name="object 51"/>
          <p:cNvSpPr/>
          <p:nvPr/>
        </p:nvSpPr>
        <p:spPr>
          <a:xfrm flipH="1">
            <a:off x="9403082" y="1947927"/>
            <a:ext cx="45719" cy="3671823"/>
          </a:xfrm>
          <a:custGeom>
            <a:avLst/>
            <a:gdLst/>
            <a:ahLst/>
            <a:cxnLst/>
            <a:rect l="l" t="t" r="r" b="b"/>
            <a:pathLst>
              <a:path h="3960431">
                <a:moveTo>
                  <a:pt x="0" y="0"/>
                </a:moveTo>
                <a:lnTo>
                  <a:pt x="0" y="3960431"/>
                </a:lnTo>
              </a:path>
            </a:pathLst>
          </a:custGeom>
          <a:ln w="28575">
            <a:solidFill>
              <a:srgbClr val="000000"/>
            </a:solidFill>
          </a:ln>
        </p:spPr>
        <p:txBody>
          <a:bodyPr wrap="square" lIns="0" tIns="0" rIns="0" bIns="0" rtlCol="0">
            <a:noAutofit/>
          </a:bodyPr>
          <a:lstStyle/>
          <a:p>
            <a:endParaRPr/>
          </a:p>
        </p:txBody>
      </p:sp>
      <p:sp>
        <p:nvSpPr>
          <p:cNvPr id="52" name="object 52"/>
          <p:cNvSpPr/>
          <p:nvPr/>
        </p:nvSpPr>
        <p:spPr>
          <a:xfrm>
            <a:off x="2157413" y="1962150"/>
            <a:ext cx="7305611" cy="0"/>
          </a:xfrm>
          <a:custGeom>
            <a:avLst/>
            <a:gdLst/>
            <a:ahLst/>
            <a:cxnLst/>
            <a:rect l="l" t="t" r="r" b="b"/>
            <a:pathLst>
              <a:path w="7305611">
                <a:moveTo>
                  <a:pt x="0" y="0"/>
                </a:moveTo>
                <a:lnTo>
                  <a:pt x="7305611" y="0"/>
                </a:lnTo>
              </a:path>
            </a:pathLst>
          </a:custGeom>
          <a:ln w="28575">
            <a:solidFill>
              <a:srgbClr val="000000"/>
            </a:solidFill>
          </a:ln>
        </p:spPr>
        <p:txBody>
          <a:bodyPr wrap="square" lIns="0" tIns="0" rIns="0" bIns="0" rtlCol="0">
            <a:noAutofit/>
          </a:bodyPr>
          <a:lstStyle/>
          <a:p>
            <a:endParaRPr/>
          </a:p>
        </p:txBody>
      </p:sp>
      <p:sp>
        <p:nvSpPr>
          <p:cNvPr id="24" name="object 24"/>
          <p:cNvSpPr txBox="1"/>
          <p:nvPr/>
        </p:nvSpPr>
        <p:spPr>
          <a:xfrm>
            <a:off x="2059941" y="1378870"/>
            <a:ext cx="679805"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H</a:t>
            </a:r>
            <a:r>
              <a:rPr sz="2400" spc="-4" dirty="0">
                <a:latin typeface="Arial"/>
                <a:cs typeface="Arial"/>
              </a:rPr>
              <a:t>o</a:t>
            </a:r>
            <a:r>
              <a:rPr sz="2400" dirty="0">
                <a:latin typeface="Arial"/>
                <a:cs typeface="Arial"/>
              </a:rPr>
              <a:t>w</a:t>
            </a:r>
          </a:p>
        </p:txBody>
      </p:sp>
      <p:sp>
        <p:nvSpPr>
          <p:cNvPr id="23" name="object 23"/>
          <p:cNvSpPr txBox="1"/>
          <p:nvPr/>
        </p:nvSpPr>
        <p:spPr>
          <a:xfrm>
            <a:off x="2753361" y="1378870"/>
            <a:ext cx="325323"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to</a:t>
            </a:r>
            <a:endParaRPr sz="2400">
              <a:latin typeface="Arial"/>
              <a:cs typeface="Arial"/>
            </a:endParaRPr>
          </a:p>
        </p:txBody>
      </p:sp>
      <p:sp>
        <p:nvSpPr>
          <p:cNvPr id="22" name="object 22"/>
          <p:cNvSpPr txBox="1"/>
          <p:nvPr/>
        </p:nvSpPr>
        <p:spPr>
          <a:xfrm>
            <a:off x="3092298" y="1378870"/>
            <a:ext cx="409143" cy="330200"/>
          </a:xfrm>
          <a:prstGeom prst="rect">
            <a:avLst/>
          </a:prstGeom>
        </p:spPr>
        <p:txBody>
          <a:bodyPr wrap="square" lIns="0" tIns="0" rIns="0" bIns="0" rtlCol="0">
            <a:noAutofit/>
          </a:bodyPr>
          <a:lstStyle/>
          <a:p>
            <a:pPr marL="12700">
              <a:lnSpc>
                <a:spcPts val="2555"/>
              </a:lnSpc>
              <a:spcBef>
                <a:spcPts val="127"/>
              </a:spcBef>
            </a:pPr>
            <a:r>
              <a:rPr sz="2400" spc="-4" dirty="0">
                <a:latin typeface="Arial"/>
                <a:cs typeface="Arial"/>
              </a:rPr>
              <a:t>d</a:t>
            </a:r>
            <a:r>
              <a:rPr sz="2400" dirty="0">
                <a:latin typeface="Arial"/>
                <a:cs typeface="Arial"/>
              </a:rPr>
              <a:t>o</a:t>
            </a:r>
          </a:p>
        </p:txBody>
      </p:sp>
      <p:sp>
        <p:nvSpPr>
          <p:cNvPr id="21" name="object 21"/>
          <p:cNvSpPr txBox="1"/>
          <p:nvPr/>
        </p:nvSpPr>
        <p:spPr>
          <a:xfrm>
            <a:off x="3515614" y="1378870"/>
            <a:ext cx="2123186" cy="330200"/>
          </a:xfrm>
          <a:prstGeom prst="rect">
            <a:avLst/>
          </a:prstGeom>
        </p:spPr>
        <p:txBody>
          <a:bodyPr wrap="square" lIns="0" tIns="0" rIns="0" bIns="0" rtlCol="0">
            <a:noAutofit/>
          </a:bodyPr>
          <a:lstStyle/>
          <a:p>
            <a:pPr marL="12700">
              <a:lnSpc>
                <a:spcPts val="2555"/>
              </a:lnSpc>
              <a:spcBef>
                <a:spcPts val="127"/>
              </a:spcBef>
            </a:pPr>
            <a:r>
              <a:rPr lang="en-US" sz="2400" b="1" dirty="0">
                <a:solidFill>
                  <a:srgbClr val="3333CC"/>
                </a:solidFill>
                <a:latin typeface="Arial"/>
                <a:cs typeface="Arial"/>
              </a:rPr>
              <a:t>configuration</a:t>
            </a:r>
            <a:endParaRPr sz="2400" dirty="0">
              <a:latin typeface="Arial"/>
              <a:cs typeface="Arial"/>
            </a:endParaRPr>
          </a:p>
        </p:txBody>
      </p:sp>
      <p:sp>
        <p:nvSpPr>
          <p:cNvPr id="20" name="object 20"/>
          <p:cNvSpPr txBox="1"/>
          <p:nvPr/>
        </p:nvSpPr>
        <p:spPr>
          <a:xfrm>
            <a:off x="5553202" y="1393093"/>
            <a:ext cx="1171448"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S</a:t>
            </a:r>
            <a:r>
              <a:rPr sz="2400" spc="-4" dirty="0">
                <a:latin typeface="Arial"/>
                <a:cs typeface="Arial"/>
              </a:rPr>
              <a:t>e</a:t>
            </a:r>
            <a:r>
              <a:rPr sz="2400" dirty="0">
                <a:latin typeface="Arial"/>
                <a:cs typeface="Arial"/>
              </a:rPr>
              <a:t>t</a:t>
            </a:r>
            <a:r>
              <a:rPr sz="2400" spc="4" dirty="0">
                <a:latin typeface="Arial"/>
                <a:cs typeface="Arial"/>
              </a:rPr>
              <a:t>t</a:t>
            </a:r>
            <a:r>
              <a:rPr sz="2400" dirty="0">
                <a:latin typeface="Arial"/>
                <a:cs typeface="Arial"/>
              </a:rPr>
              <a:t>i</a:t>
            </a:r>
            <a:r>
              <a:rPr sz="2400" spc="-4" dirty="0">
                <a:latin typeface="Arial"/>
                <a:cs typeface="Arial"/>
              </a:rPr>
              <a:t>n</a:t>
            </a:r>
            <a:r>
              <a:rPr sz="2400" dirty="0">
                <a:latin typeface="Arial"/>
                <a:cs typeface="Arial"/>
              </a:rPr>
              <a:t>gs</a:t>
            </a:r>
          </a:p>
        </p:txBody>
      </p:sp>
      <p:sp>
        <p:nvSpPr>
          <p:cNvPr id="19" name="object 19"/>
          <p:cNvSpPr txBox="1"/>
          <p:nvPr/>
        </p:nvSpPr>
        <p:spPr>
          <a:xfrm>
            <a:off x="6659833" y="1407316"/>
            <a:ext cx="579526"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a:t>
            </a:r>
          </a:p>
        </p:txBody>
      </p:sp>
      <p:sp>
        <p:nvSpPr>
          <p:cNvPr id="17" name="object 17"/>
          <p:cNvSpPr txBox="1"/>
          <p:nvPr/>
        </p:nvSpPr>
        <p:spPr>
          <a:xfrm>
            <a:off x="2171700" y="1962150"/>
            <a:ext cx="1828800" cy="365760"/>
          </a:xfrm>
          <a:prstGeom prst="rect">
            <a:avLst/>
          </a:prstGeom>
        </p:spPr>
        <p:txBody>
          <a:bodyPr wrap="square" lIns="0" tIns="0" rIns="0" bIns="0" rtlCol="0">
            <a:noAutofit/>
          </a:bodyPr>
          <a:lstStyle/>
          <a:p>
            <a:pPr marL="608990">
              <a:lnSpc>
                <a:spcPct val="95825"/>
              </a:lnSpc>
              <a:spcBef>
                <a:spcPts val="425"/>
              </a:spcBef>
            </a:pPr>
            <a:r>
              <a:rPr dirty="0">
                <a:latin typeface="Arial"/>
                <a:cs typeface="Arial"/>
              </a:rPr>
              <a:t>VO</a:t>
            </a:r>
            <a:r>
              <a:rPr spc="-89" dirty="0">
                <a:latin typeface="Arial"/>
                <a:cs typeface="Arial"/>
              </a:rPr>
              <a:t>F</a:t>
            </a:r>
            <a:r>
              <a:rPr dirty="0">
                <a:latin typeface="Arial"/>
                <a:cs typeface="Arial"/>
              </a:rPr>
              <a:t>A</a:t>
            </a:r>
            <a:endParaRPr>
              <a:latin typeface="Arial"/>
              <a:cs typeface="Arial"/>
            </a:endParaRPr>
          </a:p>
        </p:txBody>
      </p:sp>
      <p:sp>
        <p:nvSpPr>
          <p:cNvPr id="16" name="object 16"/>
          <p:cNvSpPr txBox="1"/>
          <p:nvPr/>
        </p:nvSpPr>
        <p:spPr>
          <a:xfrm>
            <a:off x="4000500" y="1962150"/>
            <a:ext cx="5448300" cy="365760"/>
          </a:xfrm>
          <a:prstGeom prst="rect">
            <a:avLst/>
          </a:prstGeom>
        </p:spPr>
        <p:txBody>
          <a:bodyPr wrap="square" lIns="0" tIns="0" rIns="0" bIns="0" rtlCol="0">
            <a:noAutofit/>
          </a:bodyPr>
          <a:lstStyle/>
          <a:p>
            <a:pPr marL="91693">
              <a:lnSpc>
                <a:spcPct val="95825"/>
              </a:lnSpc>
              <a:spcBef>
                <a:spcPts val="425"/>
              </a:spcBef>
            </a:pPr>
            <a:r>
              <a:rPr dirty="0">
                <a:latin typeface="Arial"/>
                <a:cs typeface="Arial"/>
              </a:rPr>
              <a:t>D</a:t>
            </a:r>
            <a:r>
              <a:rPr spc="-9" dirty="0">
                <a:latin typeface="Arial"/>
                <a:cs typeface="Arial"/>
              </a:rPr>
              <a:t>e</a:t>
            </a:r>
            <a:r>
              <a:rPr dirty="0">
                <a:latin typeface="Arial"/>
                <a:cs typeface="Arial"/>
              </a:rPr>
              <a:t>fine</a:t>
            </a:r>
            <a:r>
              <a:rPr spc="-4" dirty="0">
                <a:latin typeface="Arial"/>
                <a:cs typeface="Arial"/>
              </a:rPr>
              <a:t> </a:t>
            </a:r>
            <a:r>
              <a:rPr dirty="0">
                <a:latin typeface="Arial"/>
                <a:cs typeface="Arial"/>
              </a:rPr>
              <a:t>Bil</a:t>
            </a:r>
            <a:r>
              <a:rPr spc="-4"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9" dirty="0">
                <a:latin typeface="Arial"/>
                <a:cs typeface="Arial"/>
              </a:rPr>
              <a:t> </a:t>
            </a:r>
            <a:r>
              <a:rPr spc="-79" dirty="0">
                <a:latin typeface="Arial"/>
                <a:cs typeface="Arial"/>
              </a:rPr>
              <a:t>T</a:t>
            </a:r>
            <a:r>
              <a:rPr spc="-25" dirty="0">
                <a:latin typeface="Arial"/>
                <a:cs typeface="Arial"/>
              </a:rPr>
              <a:t>y</a:t>
            </a:r>
            <a:r>
              <a:rPr dirty="0">
                <a:latin typeface="Arial"/>
                <a:cs typeface="Arial"/>
              </a:rPr>
              <a:t>p</a:t>
            </a:r>
            <a:r>
              <a:rPr spc="-9" dirty="0">
                <a:latin typeface="Arial"/>
                <a:cs typeface="Arial"/>
              </a:rPr>
              <a:t>e</a:t>
            </a:r>
            <a:r>
              <a:rPr dirty="0">
                <a:latin typeface="Arial"/>
                <a:cs typeface="Arial"/>
              </a:rPr>
              <a:t>s</a:t>
            </a:r>
            <a:endParaRPr>
              <a:latin typeface="Arial"/>
              <a:cs typeface="Arial"/>
            </a:endParaRPr>
          </a:p>
        </p:txBody>
      </p:sp>
      <p:sp>
        <p:nvSpPr>
          <p:cNvPr id="15" name="object 15"/>
          <p:cNvSpPr txBox="1"/>
          <p:nvPr/>
        </p:nvSpPr>
        <p:spPr>
          <a:xfrm>
            <a:off x="2171700" y="2327910"/>
            <a:ext cx="1828800" cy="365760"/>
          </a:xfrm>
          <a:prstGeom prst="rect">
            <a:avLst/>
          </a:prstGeom>
        </p:spPr>
        <p:txBody>
          <a:bodyPr wrap="square" lIns="0" tIns="0" rIns="0" bIns="0" rtlCol="0">
            <a:noAutofit/>
          </a:bodyPr>
          <a:lstStyle/>
          <a:p>
            <a:pPr marL="598932" marR="598449" algn="ctr">
              <a:lnSpc>
                <a:spcPct val="95825"/>
              </a:lnSpc>
              <a:spcBef>
                <a:spcPts val="425"/>
              </a:spcBef>
            </a:pPr>
            <a:r>
              <a:rPr dirty="0">
                <a:latin typeface="Arial"/>
                <a:cs typeface="Arial"/>
              </a:rPr>
              <a:t>VN01</a:t>
            </a:r>
            <a:endParaRPr>
              <a:latin typeface="Arial"/>
              <a:cs typeface="Arial"/>
            </a:endParaRPr>
          </a:p>
        </p:txBody>
      </p:sp>
      <p:sp>
        <p:nvSpPr>
          <p:cNvPr id="14" name="object 14"/>
          <p:cNvSpPr txBox="1"/>
          <p:nvPr/>
        </p:nvSpPr>
        <p:spPr>
          <a:xfrm>
            <a:off x="4000500" y="2327910"/>
            <a:ext cx="5448300" cy="365760"/>
          </a:xfrm>
          <a:prstGeom prst="rect">
            <a:avLst/>
          </a:prstGeom>
        </p:spPr>
        <p:txBody>
          <a:bodyPr wrap="square" lIns="0" tIns="0" rIns="0" bIns="0" rtlCol="0">
            <a:noAutofit/>
          </a:bodyPr>
          <a:lstStyle/>
          <a:p>
            <a:pPr marL="91693">
              <a:lnSpc>
                <a:spcPct val="95825"/>
              </a:lnSpc>
              <a:spcBef>
                <a:spcPts val="425"/>
              </a:spcBef>
            </a:pPr>
            <a:r>
              <a:rPr dirty="0">
                <a:latin typeface="Arial"/>
                <a:cs typeface="Arial"/>
              </a:rPr>
              <a:t>D</a:t>
            </a:r>
            <a:r>
              <a:rPr spc="-9" dirty="0">
                <a:latin typeface="Arial"/>
                <a:cs typeface="Arial"/>
              </a:rPr>
              <a:t>e</a:t>
            </a:r>
            <a:r>
              <a:rPr dirty="0">
                <a:latin typeface="Arial"/>
                <a:cs typeface="Arial"/>
              </a:rPr>
              <a:t>fine</a:t>
            </a:r>
            <a:r>
              <a:rPr spc="-4" dirty="0">
                <a:latin typeface="Arial"/>
                <a:cs typeface="Arial"/>
              </a:rPr>
              <a:t> </a:t>
            </a:r>
            <a:r>
              <a:rPr dirty="0">
                <a:latin typeface="Arial"/>
                <a:cs typeface="Arial"/>
              </a:rPr>
              <a:t>Num</a:t>
            </a:r>
            <a:r>
              <a:rPr spc="-9" dirty="0">
                <a:latin typeface="Arial"/>
                <a:cs typeface="Arial"/>
              </a:rPr>
              <a:t>b</a:t>
            </a:r>
            <a:r>
              <a:rPr dirty="0">
                <a:latin typeface="Arial"/>
                <a:cs typeface="Arial"/>
              </a:rPr>
              <a:t>er</a:t>
            </a:r>
            <a:r>
              <a:rPr spc="9" dirty="0">
                <a:latin typeface="Arial"/>
                <a:cs typeface="Arial"/>
              </a:rPr>
              <a:t> </a:t>
            </a:r>
            <a:r>
              <a:rPr dirty="0">
                <a:latin typeface="Arial"/>
                <a:cs typeface="Arial"/>
              </a:rPr>
              <a:t>R</a:t>
            </a:r>
            <a:r>
              <a:rPr spc="-9" dirty="0">
                <a:latin typeface="Arial"/>
                <a:cs typeface="Arial"/>
              </a:rPr>
              <a:t>a</a:t>
            </a:r>
            <a:r>
              <a:rPr dirty="0">
                <a:latin typeface="Arial"/>
                <a:cs typeface="Arial"/>
              </a:rPr>
              <a:t>n</a:t>
            </a:r>
            <a:r>
              <a:rPr spc="-9" dirty="0">
                <a:latin typeface="Arial"/>
                <a:cs typeface="Arial"/>
              </a:rPr>
              <a:t>g</a:t>
            </a:r>
            <a:r>
              <a:rPr dirty="0">
                <a:latin typeface="Arial"/>
                <a:cs typeface="Arial"/>
              </a:rPr>
              <a:t>e</a:t>
            </a:r>
            <a:r>
              <a:rPr spc="9" dirty="0">
                <a:latin typeface="Arial"/>
                <a:cs typeface="Arial"/>
              </a:rPr>
              <a:t> </a:t>
            </a:r>
            <a:r>
              <a:rPr dirty="0">
                <a:latin typeface="Arial"/>
                <a:cs typeface="Arial"/>
              </a:rPr>
              <a:t>for Bil</a:t>
            </a:r>
            <a:r>
              <a:rPr spc="-9"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24"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13" name="object 13"/>
          <p:cNvSpPr txBox="1"/>
          <p:nvPr/>
        </p:nvSpPr>
        <p:spPr>
          <a:xfrm>
            <a:off x="2171700" y="2693671"/>
            <a:ext cx="1828800" cy="640079"/>
          </a:xfrm>
          <a:prstGeom prst="rect">
            <a:avLst/>
          </a:prstGeom>
        </p:spPr>
        <p:txBody>
          <a:bodyPr wrap="square" lIns="0" tIns="0" rIns="0" bIns="0" rtlCol="0">
            <a:noAutofit/>
          </a:bodyPr>
          <a:lstStyle/>
          <a:p>
            <a:pPr marL="597408" marR="597230" algn="ctr">
              <a:lnSpc>
                <a:spcPct val="95825"/>
              </a:lnSpc>
              <a:spcBef>
                <a:spcPts val="425"/>
              </a:spcBef>
            </a:pPr>
            <a:r>
              <a:rPr dirty="0">
                <a:latin typeface="Arial"/>
                <a:cs typeface="Arial"/>
              </a:rPr>
              <a:t>V</a:t>
            </a:r>
            <a:r>
              <a:rPr spc="14" dirty="0">
                <a:latin typeface="Arial"/>
                <a:cs typeface="Arial"/>
              </a:rPr>
              <a:t>T</a:t>
            </a:r>
            <a:r>
              <a:rPr spc="-89" dirty="0">
                <a:latin typeface="Arial"/>
                <a:cs typeface="Arial"/>
              </a:rPr>
              <a:t>F</a:t>
            </a:r>
            <a:r>
              <a:rPr dirty="0">
                <a:latin typeface="Arial"/>
                <a:cs typeface="Arial"/>
              </a:rPr>
              <a:t>A</a:t>
            </a:r>
            <a:endParaRPr>
              <a:latin typeface="Arial"/>
              <a:cs typeface="Arial"/>
            </a:endParaRPr>
          </a:p>
        </p:txBody>
      </p:sp>
      <p:sp>
        <p:nvSpPr>
          <p:cNvPr id="12" name="object 12"/>
          <p:cNvSpPr txBox="1"/>
          <p:nvPr/>
        </p:nvSpPr>
        <p:spPr>
          <a:xfrm>
            <a:off x="4000500" y="2693671"/>
            <a:ext cx="5448300" cy="640079"/>
          </a:xfrm>
          <a:prstGeom prst="rect">
            <a:avLst/>
          </a:prstGeom>
        </p:spPr>
        <p:txBody>
          <a:bodyPr wrap="square" lIns="0" tIns="0" rIns="0" bIns="0" rtlCol="0">
            <a:noAutofit/>
          </a:bodyPr>
          <a:lstStyle/>
          <a:p>
            <a:pPr marL="91693">
              <a:lnSpc>
                <a:spcPct val="95825"/>
              </a:lnSpc>
              <a:spcBef>
                <a:spcPts val="425"/>
              </a:spcBef>
            </a:pPr>
            <a:r>
              <a:rPr dirty="0">
                <a:latin typeface="Arial"/>
                <a:cs typeface="Arial"/>
              </a:rPr>
              <a:t>C</a:t>
            </a:r>
            <a:r>
              <a:rPr spc="-9" dirty="0">
                <a:latin typeface="Arial"/>
                <a:cs typeface="Arial"/>
              </a:rPr>
              <a:t>o</a:t>
            </a:r>
            <a:r>
              <a:rPr dirty="0">
                <a:latin typeface="Arial"/>
                <a:cs typeface="Arial"/>
              </a:rPr>
              <a:t>p</a:t>
            </a:r>
            <a:r>
              <a:rPr spc="-29" dirty="0">
                <a:latin typeface="Arial"/>
                <a:cs typeface="Arial"/>
              </a:rPr>
              <a:t>y</a:t>
            </a:r>
            <a:r>
              <a:rPr dirty="0">
                <a:latin typeface="Arial"/>
                <a:cs typeface="Arial"/>
              </a:rPr>
              <a:t>i</a:t>
            </a:r>
            <a:r>
              <a:rPr spc="-9" dirty="0">
                <a:latin typeface="Arial"/>
                <a:cs typeface="Arial"/>
              </a:rPr>
              <a:t>n</a:t>
            </a:r>
            <a:r>
              <a:rPr dirty="0">
                <a:latin typeface="Arial"/>
                <a:cs typeface="Arial"/>
              </a:rPr>
              <a:t>g </a:t>
            </a:r>
            <a:r>
              <a:rPr spc="25" dirty="0">
                <a:latin typeface="Arial"/>
                <a:cs typeface="Arial"/>
              </a:rPr>
              <a:t> </a:t>
            </a:r>
            <a:r>
              <a:rPr dirty="0">
                <a:latin typeface="Arial"/>
                <a:cs typeface="Arial"/>
              </a:rPr>
              <a:t>co</a:t>
            </a:r>
            <a:r>
              <a:rPr spc="-9" dirty="0">
                <a:latin typeface="Arial"/>
                <a:cs typeface="Arial"/>
              </a:rPr>
              <a:t>n</a:t>
            </a:r>
            <a:r>
              <a:rPr dirty="0">
                <a:latin typeface="Arial"/>
                <a:cs typeface="Arial"/>
              </a:rPr>
              <a:t>trol:</a:t>
            </a:r>
            <a:r>
              <a:rPr spc="14" dirty="0">
                <a:latin typeface="Arial"/>
                <a:cs typeface="Arial"/>
              </a:rPr>
              <a:t> </a:t>
            </a:r>
            <a:r>
              <a:rPr dirty="0">
                <a:latin typeface="Arial"/>
                <a:cs typeface="Arial"/>
              </a:rPr>
              <a:t>S</a:t>
            </a:r>
            <a:r>
              <a:rPr spc="-4" dirty="0">
                <a:latin typeface="Arial"/>
                <a:cs typeface="Arial"/>
              </a:rPr>
              <a:t>a</a:t>
            </a:r>
            <a:r>
              <a:rPr dirty="0">
                <a:latin typeface="Arial"/>
                <a:cs typeface="Arial"/>
              </a:rPr>
              <a:t>l</a:t>
            </a:r>
            <a:r>
              <a:rPr spc="-9" dirty="0">
                <a:latin typeface="Arial"/>
                <a:cs typeface="Arial"/>
              </a:rPr>
              <a:t>e</a:t>
            </a:r>
            <a:r>
              <a:rPr dirty="0">
                <a:latin typeface="Arial"/>
                <a:cs typeface="Arial"/>
              </a:rPr>
              <a:t>s Doc</a:t>
            </a:r>
            <a:r>
              <a:rPr spc="-9" dirty="0">
                <a:latin typeface="Arial"/>
                <a:cs typeface="Arial"/>
              </a:rPr>
              <a:t>u</a:t>
            </a:r>
            <a:r>
              <a:rPr dirty="0">
                <a:latin typeface="Arial"/>
                <a:cs typeface="Arial"/>
              </a:rPr>
              <a:t>me</a:t>
            </a:r>
            <a:r>
              <a:rPr spc="-9" dirty="0">
                <a:latin typeface="Arial"/>
                <a:cs typeface="Arial"/>
              </a:rPr>
              <a:t>n</a:t>
            </a:r>
            <a:r>
              <a:rPr dirty="0">
                <a:latin typeface="Arial"/>
                <a:cs typeface="Arial"/>
              </a:rPr>
              <a:t>t</a:t>
            </a:r>
            <a:r>
              <a:rPr spc="19" dirty="0">
                <a:latin typeface="Arial"/>
                <a:cs typeface="Arial"/>
              </a:rPr>
              <a:t> </a:t>
            </a:r>
            <a:r>
              <a:rPr dirty="0">
                <a:latin typeface="Arial"/>
                <a:cs typeface="Arial"/>
              </a:rPr>
              <a:t>to 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endParaRPr>
              <a:latin typeface="Arial"/>
              <a:cs typeface="Arial"/>
            </a:endParaRPr>
          </a:p>
          <a:p>
            <a:pPr marL="91693">
              <a:lnSpc>
                <a:spcPct val="95825"/>
              </a:lnSpc>
              <a:spcBef>
                <a:spcPts val="90"/>
              </a:spcBef>
            </a:pPr>
            <a:r>
              <a:rPr dirty="0">
                <a:latin typeface="Arial"/>
                <a:cs typeface="Arial"/>
              </a:rPr>
              <a:t>D</a:t>
            </a:r>
            <a:r>
              <a:rPr spc="-9" dirty="0">
                <a:latin typeface="Arial"/>
                <a:cs typeface="Arial"/>
              </a:rPr>
              <a:t>o</a:t>
            </a:r>
            <a:r>
              <a:rPr dirty="0">
                <a:latin typeface="Arial"/>
                <a:cs typeface="Arial"/>
              </a:rPr>
              <a:t>c</a:t>
            </a:r>
            <a:r>
              <a:rPr spc="-4" dirty="0">
                <a:latin typeface="Arial"/>
                <a:cs typeface="Arial"/>
              </a:rPr>
              <a:t>u</a:t>
            </a:r>
            <a:r>
              <a:rPr dirty="0">
                <a:latin typeface="Arial"/>
                <a:cs typeface="Arial"/>
              </a:rPr>
              <a:t>m</a:t>
            </a:r>
            <a:r>
              <a:rPr spc="-4" dirty="0">
                <a:latin typeface="Arial"/>
                <a:cs typeface="Arial"/>
              </a:rPr>
              <a:t>en</a:t>
            </a:r>
            <a:r>
              <a:rPr dirty="0">
                <a:latin typeface="Arial"/>
                <a:cs typeface="Arial"/>
              </a:rPr>
              <a:t>t</a:t>
            </a:r>
            <a:endParaRPr>
              <a:latin typeface="Arial"/>
              <a:cs typeface="Arial"/>
            </a:endParaRPr>
          </a:p>
        </p:txBody>
      </p:sp>
      <p:sp>
        <p:nvSpPr>
          <p:cNvPr id="11" name="object 11"/>
          <p:cNvSpPr txBox="1"/>
          <p:nvPr/>
        </p:nvSpPr>
        <p:spPr>
          <a:xfrm>
            <a:off x="2171700" y="3333750"/>
            <a:ext cx="1828800" cy="640080"/>
          </a:xfrm>
          <a:prstGeom prst="rect">
            <a:avLst/>
          </a:prstGeom>
        </p:spPr>
        <p:txBody>
          <a:bodyPr wrap="square" lIns="0" tIns="0" rIns="0" bIns="0" rtlCol="0">
            <a:noAutofit/>
          </a:bodyPr>
          <a:lstStyle/>
          <a:p>
            <a:pPr marL="597408" marR="597230" algn="ctr">
              <a:lnSpc>
                <a:spcPct val="95825"/>
              </a:lnSpc>
              <a:spcBef>
                <a:spcPts val="430"/>
              </a:spcBef>
            </a:pPr>
            <a:r>
              <a:rPr dirty="0">
                <a:latin typeface="Arial"/>
                <a:cs typeface="Arial"/>
              </a:rPr>
              <a:t>V</a:t>
            </a:r>
            <a:r>
              <a:rPr spc="19" dirty="0">
                <a:latin typeface="Arial"/>
                <a:cs typeface="Arial"/>
              </a:rPr>
              <a:t>T</a:t>
            </a:r>
            <a:r>
              <a:rPr spc="4" dirty="0">
                <a:latin typeface="Arial"/>
                <a:cs typeface="Arial"/>
              </a:rPr>
              <a:t>F</a:t>
            </a:r>
            <a:r>
              <a:rPr dirty="0">
                <a:latin typeface="Arial"/>
                <a:cs typeface="Arial"/>
              </a:rPr>
              <a:t>F</a:t>
            </a:r>
            <a:endParaRPr>
              <a:latin typeface="Arial"/>
              <a:cs typeface="Arial"/>
            </a:endParaRPr>
          </a:p>
        </p:txBody>
      </p:sp>
      <p:sp>
        <p:nvSpPr>
          <p:cNvPr id="10" name="object 10"/>
          <p:cNvSpPr txBox="1"/>
          <p:nvPr/>
        </p:nvSpPr>
        <p:spPr>
          <a:xfrm>
            <a:off x="4000500" y="3333750"/>
            <a:ext cx="5448300" cy="640080"/>
          </a:xfrm>
          <a:prstGeom prst="rect">
            <a:avLst/>
          </a:prstGeom>
        </p:spPr>
        <p:txBody>
          <a:bodyPr wrap="square" lIns="0" tIns="0" rIns="0" bIns="0" rtlCol="0">
            <a:noAutofit/>
          </a:bodyPr>
          <a:lstStyle/>
          <a:p>
            <a:pPr marL="91693">
              <a:lnSpc>
                <a:spcPct val="95825"/>
              </a:lnSpc>
              <a:spcBef>
                <a:spcPts val="430"/>
              </a:spcBef>
            </a:pPr>
            <a:r>
              <a:rPr dirty="0">
                <a:latin typeface="Arial"/>
                <a:cs typeface="Arial"/>
              </a:rPr>
              <a:t>C</a:t>
            </a:r>
            <a:r>
              <a:rPr spc="-9" dirty="0">
                <a:latin typeface="Arial"/>
                <a:cs typeface="Arial"/>
              </a:rPr>
              <a:t>o</a:t>
            </a:r>
            <a:r>
              <a:rPr dirty="0">
                <a:latin typeface="Arial"/>
                <a:cs typeface="Arial"/>
              </a:rPr>
              <a:t>p</a:t>
            </a:r>
            <a:r>
              <a:rPr spc="-29" dirty="0">
                <a:latin typeface="Arial"/>
                <a:cs typeface="Arial"/>
              </a:rPr>
              <a:t>y</a:t>
            </a:r>
            <a:r>
              <a:rPr dirty="0">
                <a:latin typeface="Arial"/>
                <a:cs typeface="Arial"/>
              </a:rPr>
              <a:t>i</a:t>
            </a:r>
            <a:r>
              <a:rPr spc="-9" dirty="0">
                <a:latin typeface="Arial"/>
                <a:cs typeface="Arial"/>
              </a:rPr>
              <a:t>n</a:t>
            </a:r>
            <a:r>
              <a:rPr dirty="0">
                <a:latin typeface="Arial"/>
                <a:cs typeface="Arial"/>
              </a:rPr>
              <a:t>g </a:t>
            </a:r>
            <a:r>
              <a:rPr spc="25" dirty="0">
                <a:latin typeface="Arial"/>
                <a:cs typeface="Arial"/>
              </a:rPr>
              <a:t> </a:t>
            </a:r>
            <a:r>
              <a:rPr dirty="0">
                <a:latin typeface="Arial"/>
                <a:cs typeface="Arial"/>
              </a:rPr>
              <a:t>co</a:t>
            </a:r>
            <a:r>
              <a:rPr spc="-9" dirty="0">
                <a:latin typeface="Arial"/>
                <a:cs typeface="Arial"/>
              </a:rPr>
              <a:t>n</a:t>
            </a:r>
            <a:r>
              <a:rPr dirty="0">
                <a:latin typeface="Arial"/>
                <a:cs typeface="Arial"/>
              </a:rPr>
              <a:t>trol:</a:t>
            </a:r>
            <a:r>
              <a:rPr spc="14" dirty="0">
                <a:latin typeface="Arial"/>
                <a:cs typeface="Arial"/>
              </a:rPr>
              <a:t> </a:t>
            </a:r>
            <a:r>
              <a:rPr dirty="0">
                <a:latin typeface="Arial"/>
                <a:cs typeface="Arial"/>
              </a:rPr>
              <a:t>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r>
              <a:rPr spc="4"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r>
              <a:rPr spc="14" dirty="0">
                <a:latin typeface="Arial"/>
                <a:cs typeface="Arial"/>
              </a:rPr>
              <a:t> </a:t>
            </a:r>
            <a:r>
              <a:rPr dirty="0">
                <a:latin typeface="Arial"/>
                <a:cs typeface="Arial"/>
              </a:rPr>
              <a:t>to 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endParaRPr>
              <a:latin typeface="Arial"/>
              <a:cs typeface="Arial"/>
            </a:endParaRPr>
          </a:p>
          <a:p>
            <a:pPr marL="91693">
              <a:lnSpc>
                <a:spcPct val="95825"/>
              </a:lnSpc>
              <a:spcBef>
                <a:spcPts val="90"/>
              </a:spcBef>
            </a:pP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9" name="object 9"/>
          <p:cNvSpPr txBox="1"/>
          <p:nvPr/>
        </p:nvSpPr>
        <p:spPr>
          <a:xfrm>
            <a:off x="2171700" y="3973829"/>
            <a:ext cx="1828800" cy="640080"/>
          </a:xfrm>
          <a:prstGeom prst="rect">
            <a:avLst/>
          </a:prstGeom>
        </p:spPr>
        <p:txBody>
          <a:bodyPr wrap="square" lIns="0" tIns="0" rIns="0" bIns="0" rtlCol="0">
            <a:noAutofit/>
          </a:bodyPr>
          <a:lstStyle/>
          <a:p>
            <a:pPr marL="603504" marR="603707" algn="ctr">
              <a:lnSpc>
                <a:spcPct val="95825"/>
              </a:lnSpc>
              <a:spcBef>
                <a:spcPts val="430"/>
              </a:spcBef>
            </a:pPr>
            <a:r>
              <a:rPr dirty="0">
                <a:latin typeface="Arial"/>
                <a:cs typeface="Arial"/>
              </a:rPr>
              <a:t>V</a:t>
            </a:r>
            <a:r>
              <a:rPr spc="19" dirty="0">
                <a:latin typeface="Arial"/>
                <a:cs typeface="Arial"/>
              </a:rPr>
              <a:t>T</a:t>
            </a:r>
            <a:r>
              <a:rPr spc="4" dirty="0">
                <a:latin typeface="Arial"/>
                <a:cs typeface="Arial"/>
              </a:rPr>
              <a:t>F</a:t>
            </a:r>
            <a:r>
              <a:rPr dirty="0">
                <a:latin typeface="Arial"/>
                <a:cs typeface="Arial"/>
              </a:rPr>
              <a:t>L</a:t>
            </a:r>
            <a:endParaRPr>
              <a:latin typeface="Arial"/>
              <a:cs typeface="Arial"/>
            </a:endParaRPr>
          </a:p>
        </p:txBody>
      </p:sp>
      <p:sp>
        <p:nvSpPr>
          <p:cNvPr id="8" name="object 8"/>
          <p:cNvSpPr txBox="1"/>
          <p:nvPr/>
        </p:nvSpPr>
        <p:spPr>
          <a:xfrm>
            <a:off x="4000500" y="3973829"/>
            <a:ext cx="5448300" cy="640080"/>
          </a:xfrm>
          <a:prstGeom prst="rect">
            <a:avLst/>
          </a:prstGeom>
        </p:spPr>
        <p:txBody>
          <a:bodyPr wrap="square" lIns="0" tIns="0" rIns="0" bIns="0" rtlCol="0">
            <a:noAutofit/>
          </a:bodyPr>
          <a:lstStyle/>
          <a:p>
            <a:pPr marL="91693">
              <a:lnSpc>
                <a:spcPct val="95825"/>
              </a:lnSpc>
              <a:spcBef>
                <a:spcPts val="430"/>
              </a:spcBef>
            </a:pPr>
            <a:r>
              <a:rPr dirty="0">
                <a:latin typeface="Arial"/>
                <a:cs typeface="Arial"/>
              </a:rPr>
              <a:t>C</a:t>
            </a:r>
            <a:r>
              <a:rPr spc="-9" dirty="0">
                <a:latin typeface="Arial"/>
                <a:cs typeface="Arial"/>
              </a:rPr>
              <a:t>o</a:t>
            </a:r>
            <a:r>
              <a:rPr dirty="0">
                <a:latin typeface="Arial"/>
                <a:cs typeface="Arial"/>
              </a:rPr>
              <a:t>p</a:t>
            </a:r>
            <a:r>
              <a:rPr spc="-29" dirty="0">
                <a:latin typeface="Arial"/>
                <a:cs typeface="Arial"/>
              </a:rPr>
              <a:t>y</a:t>
            </a:r>
            <a:r>
              <a:rPr dirty="0">
                <a:latin typeface="Arial"/>
                <a:cs typeface="Arial"/>
              </a:rPr>
              <a:t>i</a:t>
            </a:r>
            <a:r>
              <a:rPr spc="-9" dirty="0">
                <a:latin typeface="Arial"/>
                <a:cs typeface="Arial"/>
              </a:rPr>
              <a:t>n</a:t>
            </a:r>
            <a:r>
              <a:rPr dirty="0">
                <a:latin typeface="Arial"/>
                <a:cs typeface="Arial"/>
              </a:rPr>
              <a:t>g </a:t>
            </a:r>
            <a:r>
              <a:rPr spc="25" dirty="0">
                <a:latin typeface="Arial"/>
                <a:cs typeface="Arial"/>
              </a:rPr>
              <a:t> </a:t>
            </a:r>
            <a:r>
              <a:rPr dirty="0">
                <a:latin typeface="Arial"/>
                <a:cs typeface="Arial"/>
              </a:rPr>
              <a:t>co</a:t>
            </a:r>
            <a:r>
              <a:rPr spc="-9" dirty="0">
                <a:latin typeface="Arial"/>
                <a:cs typeface="Arial"/>
              </a:rPr>
              <a:t>n</a:t>
            </a:r>
            <a:r>
              <a:rPr dirty="0">
                <a:latin typeface="Arial"/>
                <a:cs typeface="Arial"/>
              </a:rPr>
              <a:t>trol:</a:t>
            </a:r>
            <a:r>
              <a:rPr spc="14" dirty="0">
                <a:latin typeface="Arial"/>
                <a:cs typeface="Arial"/>
              </a:rPr>
              <a:t> </a:t>
            </a:r>
            <a:r>
              <a:rPr dirty="0">
                <a:latin typeface="Arial"/>
                <a:cs typeface="Arial"/>
              </a:rPr>
              <a:t>D</a:t>
            </a:r>
            <a:r>
              <a:rPr spc="-9" dirty="0">
                <a:latin typeface="Arial"/>
                <a:cs typeface="Arial"/>
              </a:rPr>
              <a:t>e</a:t>
            </a:r>
            <a:r>
              <a:rPr dirty="0">
                <a:latin typeface="Arial"/>
                <a:cs typeface="Arial"/>
              </a:rPr>
              <a:t>l</a:t>
            </a:r>
            <a:r>
              <a:rPr spc="-4" dirty="0">
                <a:latin typeface="Arial"/>
                <a:cs typeface="Arial"/>
              </a:rPr>
              <a:t>i</a:t>
            </a:r>
            <a:r>
              <a:rPr dirty="0">
                <a:latin typeface="Arial"/>
                <a:cs typeface="Arial"/>
              </a:rPr>
              <a:t>very</a:t>
            </a:r>
            <a:r>
              <a:rPr spc="9"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r>
              <a:rPr spc="14" dirty="0">
                <a:latin typeface="Arial"/>
                <a:cs typeface="Arial"/>
              </a:rPr>
              <a:t> </a:t>
            </a:r>
            <a:r>
              <a:rPr dirty="0">
                <a:latin typeface="Arial"/>
                <a:cs typeface="Arial"/>
              </a:rPr>
              <a:t>to 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endParaRPr>
              <a:latin typeface="Arial"/>
              <a:cs typeface="Arial"/>
            </a:endParaRPr>
          </a:p>
          <a:p>
            <a:pPr marL="91693">
              <a:lnSpc>
                <a:spcPct val="95825"/>
              </a:lnSpc>
              <a:spcBef>
                <a:spcPts val="90"/>
              </a:spcBef>
            </a:pP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7" name="object 7"/>
          <p:cNvSpPr txBox="1"/>
          <p:nvPr/>
        </p:nvSpPr>
        <p:spPr>
          <a:xfrm>
            <a:off x="2171700" y="4613911"/>
            <a:ext cx="1828800" cy="365759"/>
          </a:xfrm>
          <a:prstGeom prst="rect">
            <a:avLst/>
          </a:prstGeom>
        </p:spPr>
        <p:txBody>
          <a:bodyPr wrap="square" lIns="0" tIns="0" rIns="0" bIns="0" rtlCol="0">
            <a:noAutofit/>
          </a:bodyPr>
          <a:lstStyle/>
          <a:p>
            <a:pPr marL="590702">
              <a:lnSpc>
                <a:spcPct val="95825"/>
              </a:lnSpc>
              <a:spcBef>
                <a:spcPts val="430"/>
              </a:spcBef>
            </a:pPr>
            <a:r>
              <a:rPr dirty="0">
                <a:latin typeface="Arial"/>
                <a:cs typeface="Arial"/>
              </a:rPr>
              <a:t>SPRO</a:t>
            </a:r>
            <a:endParaRPr>
              <a:latin typeface="Arial"/>
              <a:cs typeface="Arial"/>
            </a:endParaRPr>
          </a:p>
        </p:txBody>
      </p:sp>
      <p:sp>
        <p:nvSpPr>
          <p:cNvPr id="6" name="object 6"/>
          <p:cNvSpPr txBox="1"/>
          <p:nvPr/>
        </p:nvSpPr>
        <p:spPr>
          <a:xfrm>
            <a:off x="4000500" y="4613911"/>
            <a:ext cx="5448300" cy="365759"/>
          </a:xfrm>
          <a:prstGeom prst="rect">
            <a:avLst/>
          </a:prstGeom>
        </p:spPr>
        <p:txBody>
          <a:bodyPr wrap="square" lIns="0" tIns="0" rIns="0" bIns="0" rtlCol="0">
            <a:noAutofit/>
          </a:bodyPr>
          <a:lstStyle/>
          <a:p>
            <a:pPr marL="91693">
              <a:lnSpc>
                <a:spcPct val="95825"/>
              </a:lnSpc>
              <a:spcBef>
                <a:spcPts val="430"/>
              </a:spcBef>
            </a:pPr>
            <a:r>
              <a:rPr dirty="0">
                <a:latin typeface="Arial"/>
                <a:cs typeface="Arial"/>
              </a:rPr>
              <a:t>D</a:t>
            </a:r>
            <a:r>
              <a:rPr spc="-9" dirty="0">
                <a:latin typeface="Arial"/>
                <a:cs typeface="Arial"/>
              </a:rPr>
              <a:t>e</a:t>
            </a:r>
            <a:r>
              <a:rPr dirty="0">
                <a:latin typeface="Arial"/>
                <a:cs typeface="Arial"/>
              </a:rPr>
              <a:t>fine</a:t>
            </a:r>
            <a:r>
              <a:rPr spc="-4" dirty="0">
                <a:latin typeface="Arial"/>
                <a:cs typeface="Arial"/>
              </a:rPr>
              <a:t> </a:t>
            </a:r>
            <a:r>
              <a:rPr dirty="0">
                <a:latin typeface="Arial"/>
                <a:cs typeface="Arial"/>
              </a:rPr>
              <a:t>a</a:t>
            </a:r>
            <a:r>
              <a:rPr spc="-4" dirty="0">
                <a:latin typeface="Arial"/>
                <a:cs typeface="Arial"/>
              </a:rPr>
              <a:t>n</a:t>
            </a:r>
            <a:r>
              <a:rPr dirty="0">
                <a:latin typeface="Arial"/>
                <a:cs typeface="Arial"/>
              </a:rPr>
              <a:t>d</a:t>
            </a:r>
            <a:r>
              <a:rPr spc="9" dirty="0">
                <a:latin typeface="Arial"/>
                <a:cs typeface="Arial"/>
              </a:rPr>
              <a:t> </a:t>
            </a:r>
            <a:r>
              <a:rPr dirty="0">
                <a:latin typeface="Arial"/>
                <a:cs typeface="Arial"/>
              </a:rPr>
              <a:t>ass</a:t>
            </a:r>
            <a:r>
              <a:rPr spc="-9" dirty="0">
                <a:latin typeface="Arial"/>
                <a:cs typeface="Arial"/>
              </a:rPr>
              <a:t>i</a:t>
            </a:r>
            <a:r>
              <a:rPr dirty="0">
                <a:latin typeface="Arial"/>
                <a:cs typeface="Arial"/>
              </a:rPr>
              <a:t>gn</a:t>
            </a:r>
            <a:r>
              <a:rPr spc="4" dirty="0">
                <a:latin typeface="Arial"/>
                <a:cs typeface="Arial"/>
              </a:rPr>
              <a:t> </a:t>
            </a:r>
            <a:r>
              <a:rPr dirty="0">
                <a:latin typeface="Arial"/>
                <a:cs typeface="Arial"/>
              </a:rPr>
              <a:t>Bl</a:t>
            </a:r>
            <a:r>
              <a:rPr spc="-9" dirty="0">
                <a:latin typeface="Arial"/>
                <a:cs typeface="Arial"/>
              </a:rPr>
              <a:t>o</a:t>
            </a:r>
            <a:r>
              <a:rPr dirty="0">
                <a:latin typeface="Arial"/>
                <a:cs typeface="Arial"/>
              </a:rPr>
              <a:t>cki</a:t>
            </a:r>
            <a:r>
              <a:rPr spc="-9" dirty="0">
                <a:latin typeface="Arial"/>
                <a:cs typeface="Arial"/>
              </a:rPr>
              <a:t>n</a:t>
            </a:r>
            <a:r>
              <a:rPr dirty="0">
                <a:latin typeface="Arial"/>
                <a:cs typeface="Arial"/>
              </a:rPr>
              <a:t>g</a:t>
            </a:r>
            <a:r>
              <a:rPr spc="9" dirty="0">
                <a:latin typeface="Arial"/>
                <a:cs typeface="Arial"/>
              </a:rPr>
              <a:t> </a:t>
            </a:r>
            <a:r>
              <a:rPr dirty="0">
                <a:latin typeface="Arial"/>
                <a:cs typeface="Arial"/>
              </a:rPr>
              <a:t>R</a:t>
            </a:r>
            <a:r>
              <a:rPr spc="-9" dirty="0">
                <a:latin typeface="Arial"/>
                <a:cs typeface="Arial"/>
              </a:rPr>
              <a:t>e</a:t>
            </a:r>
            <a:r>
              <a:rPr dirty="0">
                <a:latin typeface="Arial"/>
                <a:cs typeface="Arial"/>
              </a:rPr>
              <a:t>as</a:t>
            </a:r>
            <a:r>
              <a:rPr spc="-9" dirty="0">
                <a:latin typeface="Arial"/>
                <a:cs typeface="Arial"/>
              </a:rPr>
              <a:t>o</a:t>
            </a:r>
            <a:r>
              <a:rPr dirty="0">
                <a:latin typeface="Arial"/>
                <a:cs typeface="Arial"/>
              </a:rPr>
              <a:t>ns</a:t>
            </a:r>
            <a:endParaRPr>
              <a:latin typeface="Arial"/>
              <a:cs typeface="Arial"/>
            </a:endParaRPr>
          </a:p>
        </p:txBody>
      </p:sp>
      <p:sp>
        <p:nvSpPr>
          <p:cNvPr id="5" name="object 5"/>
          <p:cNvSpPr txBox="1"/>
          <p:nvPr/>
        </p:nvSpPr>
        <p:spPr>
          <a:xfrm>
            <a:off x="2171700" y="4979670"/>
            <a:ext cx="1828800" cy="640080"/>
          </a:xfrm>
          <a:prstGeom prst="rect">
            <a:avLst/>
          </a:prstGeom>
        </p:spPr>
        <p:txBody>
          <a:bodyPr wrap="square" lIns="0" tIns="0" rIns="0" bIns="0" rtlCol="0">
            <a:noAutofit/>
          </a:bodyPr>
          <a:lstStyle/>
          <a:p>
            <a:pPr marL="590702">
              <a:lnSpc>
                <a:spcPct val="95825"/>
              </a:lnSpc>
              <a:spcBef>
                <a:spcPts val="430"/>
              </a:spcBef>
            </a:pPr>
            <a:r>
              <a:rPr dirty="0">
                <a:latin typeface="Arial"/>
                <a:cs typeface="Arial"/>
              </a:rPr>
              <a:t>SPRO</a:t>
            </a:r>
          </a:p>
        </p:txBody>
      </p:sp>
      <p:sp>
        <p:nvSpPr>
          <p:cNvPr id="4" name="object 4"/>
          <p:cNvSpPr txBox="1"/>
          <p:nvPr/>
        </p:nvSpPr>
        <p:spPr>
          <a:xfrm>
            <a:off x="4000500" y="4979670"/>
            <a:ext cx="5448300" cy="640080"/>
          </a:xfrm>
          <a:prstGeom prst="rect">
            <a:avLst/>
          </a:prstGeom>
        </p:spPr>
        <p:txBody>
          <a:bodyPr wrap="square" lIns="0" tIns="0" rIns="0" bIns="0" rtlCol="0">
            <a:noAutofit/>
          </a:bodyPr>
          <a:lstStyle/>
          <a:p>
            <a:pPr marL="91693" marR="1041212">
              <a:lnSpc>
                <a:spcPct val="100041"/>
              </a:lnSpc>
              <a:spcBef>
                <a:spcPts val="430"/>
              </a:spcBef>
            </a:pPr>
            <a:r>
              <a:rPr dirty="0">
                <a:latin typeface="Arial"/>
                <a:cs typeface="Arial"/>
              </a:rPr>
              <a:t>D</a:t>
            </a:r>
            <a:r>
              <a:rPr spc="-9" dirty="0">
                <a:latin typeface="Arial"/>
                <a:cs typeface="Arial"/>
              </a:rPr>
              <a:t>e</a:t>
            </a:r>
            <a:r>
              <a:rPr dirty="0">
                <a:latin typeface="Arial"/>
                <a:cs typeface="Arial"/>
              </a:rPr>
              <a:t>fine</a:t>
            </a:r>
            <a:r>
              <a:rPr spc="-4" dirty="0">
                <a:latin typeface="Arial"/>
                <a:cs typeface="Arial"/>
              </a:rPr>
              <a:t> </a:t>
            </a:r>
            <a:r>
              <a:rPr spc="4" dirty="0">
                <a:latin typeface="Arial"/>
                <a:cs typeface="Arial"/>
              </a:rPr>
              <a:t>I</a:t>
            </a:r>
            <a:r>
              <a:rPr dirty="0">
                <a:latin typeface="Arial"/>
                <a:cs typeface="Arial"/>
              </a:rPr>
              <a:t>nt</a:t>
            </a:r>
            <a:r>
              <a:rPr spc="-4" dirty="0">
                <a:latin typeface="Arial"/>
                <a:cs typeface="Arial"/>
              </a:rPr>
              <a:t>e</a:t>
            </a:r>
            <a:r>
              <a:rPr dirty="0">
                <a:latin typeface="Arial"/>
                <a:cs typeface="Arial"/>
              </a:rPr>
              <a:t>rn</a:t>
            </a:r>
            <a:r>
              <a:rPr spc="-9" dirty="0">
                <a:latin typeface="Arial"/>
                <a:cs typeface="Arial"/>
              </a:rPr>
              <a:t>a</a:t>
            </a:r>
            <a:r>
              <a:rPr dirty="0">
                <a:latin typeface="Arial"/>
                <a:cs typeface="Arial"/>
              </a:rPr>
              <a:t>l</a:t>
            </a:r>
            <a:r>
              <a:rPr spc="14" dirty="0">
                <a:latin typeface="Arial"/>
                <a:cs typeface="Arial"/>
              </a:rPr>
              <a:t> </a:t>
            </a:r>
            <a:r>
              <a:rPr dirty="0">
                <a:latin typeface="Arial"/>
                <a:cs typeface="Arial"/>
              </a:rPr>
              <a:t>C</a:t>
            </a:r>
            <a:r>
              <a:rPr spc="-9" dirty="0">
                <a:latin typeface="Arial"/>
                <a:cs typeface="Arial"/>
              </a:rPr>
              <a:t>u</a:t>
            </a:r>
            <a:r>
              <a:rPr dirty="0">
                <a:latin typeface="Arial"/>
                <a:cs typeface="Arial"/>
              </a:rPr>
              <a:t>stom</a:t>
            </a:r>
            <a:r>
              <a:rPr spc="-4" dirty="0">
                <a:latin typeface="Arial"/>
                <a:cs typeface="Arial"/>
              </a:rPr>
              <a:t>e</a:t>
            </a:r>
            <a:r>
              <a:rPr dirty="0">
                <a:latin typeface="Arial"/>
                <a:cs typeface="Arial"/>
              </a:rPr>
              <a:t>r n</a:t>
            </a:r>
            <a:r>
              <a:rPr spc="-4" dirty="0">
                <a:latin typeface="Arial"/>
                <a:cs typeface="Arial"/>
              </a:rPr>
              <a:t>u</a:t>
            </a:r>
            <a:r>
              <a:rPr dirty="0">
                <a:latin typeface="Arial"/>
                <a:cs typeface="Arial"/>
              </a:rPr>
              <a:t>mb</a:t>
            </a:r>
            <a:r>
              <a:rPr spc="-9" dirty="0">
                <a:latin typeface="Arial"/>
                <a:cs typeface="Arial"/>
              </a:rPr>
              <a:t>e</a:t>
            </a:r>
            <a:r>
              <a:rPr dirty="0">
                <a:latin typeface="Arial"/>
                <a:cs typeface="Arial"/>
              </a:rPr>
              <a:t>r</a:t>
            </a:r>
            <a:r>
              <a:rPr spc="14" dirty="0">
                <a:latin typeface="Arial"/>
                <a:cs typeface="Arial"/>
              </a:rPr>
              <a:t> </a:t>
            </a:r>
            <a:r>
              <a:rPr dirty="0">
                <a:latin typeface="Arial"/>
                <a:cs typeface="Arial"/>
              </a:rPr>
              <a:t>by sa</a:t>
            </a:r>
            <a:r>
              <a:rPr spc="-9" dirty="0">
                <a:latin typeface="Arial"/>
                <a:cs typeface="Arial"/>
              </a:rPr>
              <a:t>l</a:t>
            </a:r>
            <a:r>
              <a:rPr dirty="0">
                <a:latin typeface="Arial"/>
                <a:cs typeface="Arial"/>
              </a:rPr>
              <a:t>es or</a:t>
            </a:r>
            <a:r>
              <a:rPr spc="-9" dirty="0">
                <a:latin typeface="Arial"/>
                <a:cs typeface="Arial"/>
              </a:rPr>
              <a:t>g</a:t>
            </a:r>
            <a:r>
              <a:rPr dirty="0">
                <a:latin typeface="Arial"/>
                <a:cs typeface="Arial"/>
              </a:rPr>
              <a:t>a</a:t>
            </a:r>
            <a:r>
              <a:rPr spc="-9" dirty="0">
                <a:latin typeface="Arial"/>
                <a:cs typeface="Arial"/>
              </a:rPr>
              <a:t>n</a:t>
            </a:r>
            <a:r>
              <a:rPr dirty="0">
                <a:latin typeface="Arial"/>
                <a:cs typeface="Arial"/>
              </a:rPr>
              <a:t>iz</a:t>
            </a:r>
            <a:r>
              <a:rPr spc="-9" dirty="0">
                <a:latin typeface="Arial"/>
                <a:cs typeface="Arial"/>
              </a:rPr>
              <a:t>a</a:t>
            </a:r>
            <a:r>
              <a:rPr dirty="0">
                <a:latin typeface="Arial"/>
                <a:cs typeface="Arial"/>
              </a:rPr>
              <a:t>tion</a:t>
            </a:r>
            <a:r>
              <a:rPr spc="4" dirty="0">
                <a:latin typeface="Arial"/>
                <a:cs typeface="Arial"/>
              </a:rPr>
              <a:t> </a:t>
            </a:r>
            <a:r>
              <a:rPr dirty="0">
                <a:latin typeface="Arial"/>
                <a:cs typeface="Arial"/>
              </a:rPr>
              <a:t>(for </a:t>
            </a:r>
            <a:r>
              <a:rPr spc="4" dirty="0">
                <a:latin typeface="Arial"/>
                <a:cs typeface="Arial"/>
              </a:rPr>
              <a:t>I</a:t>
            </a:r>
            <a:r>
              <a:rPr dirty="0">
                <a:latin typeface="Arial"/>
                <a:cs typeface="Arial"/>
              </a:rPr>
              <a:t>nt</a:t>
            </a:r>
            <a:r>
              <a:rPr spc="-4" dirty="0">
                <a:latin typeface="Arial"/>
                <a:cs typeface="Arial"/>
              </a:rPr>
              <a:t>e</a:t>
            </a:r>
            <a:r>
              <a:rPr dirty="0">
                <a:latin typeface="Arial"/>
                <a:cs typeface="Arial"/>
              </a:rPr>
              <a:t>rcom</a:t>
            </a:r>
            <a:r>
              <a:rPr spc="-9" dirty="0">
                <a:latin typeface="Arial"/>
                <a:cs typeface="Arial"/>
              </a:rPr>
              <a:t>p</a:t>
            </a:r>
            <a:r>
              <a:rPr dirty="0">
                <a:latin typeface="Arial"/>
                <a:cs typeface="Arial"/>
              </a:rPr>
              <a:t>a</a:t>
            </a:r>
            <a:r>
              <a:rPr spc="-9" dirty="0">
                <a:latin typeface="Arial"/>
                <a:cs typeface="Arial"/>
              </a:rPr>
              <a:t>n</a:t>
            </a:r>
            <a:r>
              <a:rPr dirty="0">
                <a:latin typeface="Arial"/>
                <a:cs typeface="Arial"/>
              </a:rPr>
              <a:t>y</a:t>
            </a:r>
            <a:r>
              <a:rPr spc="14" dirty="0">
                <a:latin typeface="Arial"/>
                <a:cs typeface="Arial"/>
              </a:rPr>
              <a:t> </a:t>
            </a:r>
            <a:r>
              <a:rPr dirty="0">
                <a:latin typeface="Arial"/>
                <a:cs typeface="Arial"/>
              </a:rPr>
              <a:t>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a:t>
            </a:r>
            <a:r>
              <a:rPr spc="-9" dirty="0">
                <a:latin typeface="Arial"/>
                <a:cs typeface="Arial"/>
              </a:rPr>
              <a:t>g</a:t>
            </a:r>
            <a:r>
              <a:rPr dirty="0">
                <a:latin typeface="Arial"/>
                <a:cs typeface="Arial"/>
              </a:rPr>
              <a:t>)</a:t>
            </a:r>
            <a:endParaRPr>
              <a:latin typeface="Arial"/>
              <a:cs typeface="Arial"/>
            </a:endParaRPr>
          </a:p>
        </p:txBody>
      </p:sp>
      <p:sp>
        <p:nvSpPr>
          <p:cNvPr id="3" name="object 3"/>
          <p:cNvSpPr txBox="1"/>
          <p:nvPr/>
        </p:nvSpPr>
        <p:spPr>
          <a:xfrm>
            <a:off x="2171700" y="5619751"/>
            <a:ext cx="1828800" cy="274319"/>
          </a:xfrm>
          <a:prstGeom prst="rect">
            <a:avLst/>
          </a:prstGeom>
        </p:spPr>
        <p:txBody>
          <a:bodyPr wrap="square" lIns="0" tIns="0" rIns="0" bIns="0" rtlCol="0">
            <a:noAutofit/>
          </a:bodyPr>
          <a:lstStyle/>
          <a:p>
            <a:pPr marL="25400">
              <a:lnSpc>
                <a:spcPts val="1000"/>
              </a:lnSpc>
            </a:pPr>
            <a:endParaRPr sz="1000"/>
          </a:p>
        </p:txBody>
      </p:sp>
      <p:sp>
        <p:nvSpPr>
          <p:cNvPr id="2" name="object 2"/>
          <p:cNvSpPr txBox="1"/>
          <p:nvPr/>
        </p:nvSpPr>
        <p:spPr>
          <a:xfrm>
            <a:off x="4000500" y="5619751"/>
            <a:ext cx="5448300" cy="274319"/>
          </a:xfrm>
          <a:prstGeom prst="rect">
            <a:avLst/>
          </a:prstGeom>
        </p:spPr>
        <p:txBody>
          <a:bodyPr wrap="square" lIns="0" tIns="0" rIns="0" bIns="0" rtlCol="0">
            <a:noAutofit/>
          </a:bodyPr>
          <a:lstStyle/>
          <a:p>
            <a:pPr marL="25400">
              <a:lnSpc>
                <a:spcPts val="1000"/>
              </a:lnSpc>
            </a:pPr>
            <a:endParaRPr sz="1000"/>
          </a:p>
        </p:txBody>
      </p:sp>
      <p:sp>
        <p:nvSpPr>
          <p:cNvPr id="18" name="Title 17"/>
          <p:cNvSpPr>
            <a:spLocks noGrp="1"/>
          </p:cNvSpPr>
          <p:nvPr>
            <p:ph type="title"/>
          </p:nvPr>
        </p:nvSpPr>
        <p:spPr/>
        <p:txBody>
          <a:bodyPr/>
          <a:lstStyle/>
          <a:p>
            <a:r>
              <a:rPr lang="en-US" sz="2400" dirty="0">
                <a:latin typeface="+mn-lt"/>
                <a:cs typeface="Arial"/>
              </a:rPr>
              <a:t>Transaction Codes</a:t>
            </a:r>
            <a:br>
              <a:rPr lang="en-US" sz="2800" b="1" dirty="0">
                <a:latin typeface="Arial"/>
                <a:cs typeface="Arial"/>
              </a:rPr>
            </a:br>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object 66"/>
          <p:cNvSpPr/>
          <p:nvPr/>
        </p:nvSpPr>
        <p:spPr>
          <a:xfrm>
            <a:off x="4648201" y="1905001"/>
            <a:ext cx="936625" cy="1171575"/>
          </a:xfrm>
          <a:custGeom>
            <a:avLst/>
            <a:gdLst/>
            <a:ahLst/>
            <a:cxnLst/>
            <a:rect l="l" t="t" r="r" b="b"/>
            <a:pathLst>
              <a:path w="936625" h="1171575">
                <a:moveTo>
                  <a:pt x="0" y="1171575"/>
                </a:moveTo>
                <a:lnTo>
                  <a:pt x="936625" y="1171575"/>
                </a:lnTo>
                <a:lnTo>
                  <a:pt x="936625" y="0"/>
                </a:lnTo>
                <a:lnTo>
                  <a:pt x="0" y="0"/>
                </a:lnTo>
                <a:lnTo>
                  <a:pt x="0" y="1171575"/>
                </a:lnTo>
                <a:close/>
              </a:path>
            </a:pathLst>
          </a:custGeom>
          <a:solidFill>
            <a:srgbClr val="CCFFFF"/>
          </a:solidFill>
        </p:spPr>
        <p:txBody>
          <a:bodyPr wrap="square" lIns="0" tIns="0" rIns="0" bIns="0" rtlCol="0">
            <a:noAutofit/>
          </a:bodyPr>
          <a:lstStyle/>
          <a:p>
            <a:endParaRPr/>
          </a:p>
        </p:txBody>
      </p:sp>
      <p:sp>
        <p:nvSpPr>
          <p:cNvPr id="67" name="object 67"/>
          <p:cNvSpPr/>
          <p:nvPr/>
        </p:nvSpPr>
        <p:spPr>
          <a:xfrm>
            <a:off x="5584826" y="1905001"/>
            <a:ext cx="4016375" cy="1171575"/>
          </a:xfrm>
          <a:custGeom>
            <a:avLst/>
            <a:gdLst/>
            <a:ahLst/>
            <a:cxnLst/>
            <a:rect l="l" t="t" r="r" b="b"/>
            <a:pathLst>
              <a:path w="4016375" h="1171575">
                <a:moveTo>
                  <a:pt x="0" y="1171575"/>
                </a:moveTo>
                <a:lnTo>
                  <a:pt x="4016375" y="1171575"/>
                </a:lnTo>
                <a:lnTo>
                  <a:pt x="4016375" y="0"/>
                </a:lnTo>
                <a:lnTo>
                  <a:pt x="0" y="0"/>
                </a:lnTo>
                <a:lnTo>
                  <a:pt x="0" y="1171575"/>
                </a:lnTo>
                <a:close/>
              </a:path>
            </a:pathLst>
          </a:custGeom>
          <a:solidFill>
            <a:srgbClr val="CCFFFF"/>
          </a:solidFill>
        </p:spPr>
        <p:txBody>
          <a:bodyPr wrap="square" lIns="0" tIns="0" rIns="0" bIns="0" rtlCol="0">
            <a:noAutofit/>
          </a:bodyPr>
          <a:lstStyle/>
          <a:p>
            <a:endParaRPr/>
          </a:p>
        </p:txBody>
      </p:sp>
      <p:sp>
        <p:nvSpPr>
          <p:cNvPr id="68" name="object 68"/>
          <p:cNvSpPr/>
          <p:nvPr/>
        </p:nvSpPr>
        <p:spPr>
          <a:xfrm>
            <a:off x="4648201" y="3076575"/>
            <a:ext cx="936625" cy="495300"/>
          </a:xfrm>
          <a:custGeom>
            <a:avLst/>
            <a:gdLst/>
            <a:ahLst/>
            <a:cxnLst/>
            <a:rect l="l" t="t" r="r" b="b"/>
            <a:pathLst>
              <a:path w="936625" h="495300">
                <a:moveTo>
                  <a:pt x="0" y="495300"/>
                </a:moveTo>
                <a:lnTo>
                  <a:pt x="936625" y="495300"/>
                </a:lnTo>
                <a:lnTo>
                  <a:pt x="936625" y="0"/>
                </a:lnTo>
                <a:lnTo>
                  <a:pt x="0" y="0"/>
                </a:lnTo>
                <a:lnTo>
                  <a:pt x="0" y="495300"/>
                </a:lnTo>
                <a:close/>
              </a:path>
            </a:pathLst>
          </a:custGeom>
          <a:solidFill>
            <a:srgbClr val="CCFFFF"/>
          </a:solidFill>
        </p:spPr>
        <p:txBody>
          <a:bodyPr wrap="square" lIns="0" tIns="0" rIns="0" bIns="0" rtlCol="0">
            <a:noAutofit/>
          </a:bodyPr>
          <a:lstStyle/>
          <a:p>
            <a:endParaRPr/>
          </a:p>
        </p:txBody>
      </p:sp>
      <p:sp>
        <p:nvSpPr>
          <p:cNvPr id="69" name="object 69"/>
          <p:cNvSpPr/>
          <p:nvPr/>
        </p:nvSpPr>
        <p:spPr>
          <a:xfrm>
            <a:off x="5584826" y="3076575"/>
            <a:ext cx="4016375" cy="495300"/>
          </a:xfrm>
          <a:custGeom>
            <a:avLst/>
            <a:gdLst/>
            <a:ahLst/>
            <a:cxnLst/>
            <a:rect l="l" t="t" r="r" b="b"/>
            <a:pathLst>
              <a:path w="4016375" h="495300">
                <a:moveTo>
                  <a:pt x="0" y="495300"/>
                </a:moveTo>
                <a:lnTo>
                  <a:pt x="4016375" y="495300"/>
                </a:lnTo>
                <a:lnTo>
                  <a:pt x="4016375" y="0"/>
                </a:lnTo>
                <a:lnTo>
                  <a:pt x="0" y="0"/>
                </a:lnTo>
                <a:lnTo>
                  <a:pt x="0" y="495300"/>
                </a:lnTo>
                <a:close/>
              </a:path>
            </a:pathLst>
          </a:custGeom>
          <a:solidFill>
            <a:srgbClr val="CCFFFF"/>
          </a:solidFill>
        </p:spPr>
        <p:txBody>
          <a:bodyPr wrap="square" lIns="0" tIns="0" rIns="0" bIns="0" rtlCol="0">
            <a:noAutofit/>
          </a:bodyPr>
          <a:lstStyle/>
          <a:p>
            <a:endParaRPr/>
          </a:p>
        </p:txBody>
      </p:sp>
      <p:sp>
        <p:nvSpPr>
          <p:cNvPr id="70" name="object 70"/>
          <p:cNvSpPr/>
          <p:nvPr/>
        </p:nvSpPr>
        <p:spPr>
          <a:xfrm>
            <a:off x="4648201" y="3571812"/>
            <a:ext cx="936625" cy="515937"/>
          </a:xfrm>
          <a:custGeom>
            <a:avLst/>
            <a:gdLst/>
            <a:ahLst/>
            <a:cxnLst/>
            <a:rect l="l" t="t" r="r" b="b"/>
            <a:pathLst>
              <a:path w="936625" h="515937">
                <a:moveTo>
                  <a:pt x="0" y="515937"/>
                </a:moveTo>
                <a:lnTo>
                  <a:pt x="936625" y="515937"/>
                </a:lnTo>
                <a:lnTo>
                  <a:pt x="936625" y="0"/>
                </a:lnTo>
                <a:lnTo>
                  <a:pt x="0" y="0"/>
                </a:lnTo>
                <a:lnTo>
                  <a:pt x="0" y="515937"/>
                </a:lnTo>
                <a:close/>
              </a:path>
            </a:pathLst>
          </a:custGeom>
          <a:solidFill>
            <a:srgbClr val="CCFFFF"/>
          </a:solidFill>
        </p:spPr>
        <p:txBody>
          <a:bodyPr wrap="square" lIns="0" tIns="0" rIns="0" bIns="0" rtlCol="0">
            <a:noAutofit/>
          </a:bodyPr>
          <a:lstStyle/>
          <a:p>
            <a:endParaRPr/>
          </a:p>
        </p:txBody>
      </p:sp>
      <p:sp>
        <p:nvSpPr>
          <p:cNvPr id="71" name="object 71"/>
          <p:cNvSpPr/>
          <p:nvPr/>
        </p:nvSpPr>
        <p:spPr>
          <a:xfrm>
            <a:off x="5584826" y="3571812"/>
            <a:ext cx="4016375" cy="515937"/>
          </a:xfrm>
          <a:custGeom>
            <a:avLst/>
            <a:gdLst/>
            <a:ahLst/>
            <a:cxnLst/>
            <a:rect l="l" t="t" r="r" b="b"/>
            <a:pathLst>
              <a:path w="4016375" h="515937">
                <a:moveTo>
                  <a:pt x="0" y="515937"/>
                </a:moveTo>
                <a:lnTo>
                  <a:pt x="4016375" y="515937"/>
                </a:lnTo>
                <a:lnTo>
                  <a:pt x="4016375" y="0"/>
                </a:lnTo>
                <a:lnTo>
                  <a:pt x="0" y="0"/>
                </a:lnTo>
                <a:lnTo>
                  <a:pt x="0" y="515937"/>
                </a:lnTo>
                <a:close/>
              </a:path>
            </a:pathLst>
          </a:custGeom>
          <a:solidFill>
            <a:srgbClr val="CCFFFF"/>
          </a:solidFill>
        </p:spPr>
        <p:txBody>
          <a:bodyPr wrap="square" lIns="0" tIns="0" rIns="0" bIns="0" rtlCol="0">
            <a:noAutofit/>
          </a:bodyPr>
          <a:lstStyle/>
          <a:p>
            <a:endParaRPr/>
          </a:p>
        </p:txBody>
      </p:sp>
      <p:sp>
        <p:nvSpPr>
          <p:cNvPr id="72" name="object 72"/>
          <p:cNvSpPr/>
          <p:nvPr/>
        </p:nvSpPr>
        <p:spPr>
          <a:xfrm>
            <a:off x="4648201" y="4087750"/>
            <a:ext cx="936625" cy="492125"/>
          </a:xfrm>
          <a:custGeom>
            <a:avLst/>
            <a:gdLst/>
            <a:ahLst/>
            <a:cxnLst/>
            <a:rect l="l" t="t" r="r" b="b"/>
            <a:pathLst>
              <a:path w="936625" h="492125">
                <a:moveTo>
                  <a:pt x="0" y="492125"/>
                </a:moveTo>
                <a:lnTo>
                  <a:pt x="936625" y="492125"/>
                </a:lnTo>
                <a:lnTo>
                  <a:pt x="936625" y="0"/>
                </a:lnTo>
                <a:lnTo>
                  <a:pt x="0" y="0"/>
                </a:lnTo>
                <a:lnTo>
                  <a:pt x="0" y="492125"/>
                </a:lnTo>
                <a:close/>
              </a:path>
            </a:pathLst>
          </a:custGeom>
          <a:solidFill>
            <a:srgbClr val="CCFFFF"/>
          </a:solidFill>
        </p:spPr>
        <p:txBody>
          <a:bodyPr wrap="square" lIns="0" tIns="0" rIns="0" bIns="0" rtlCol="0">
            <a:noAutofit/>
          </a:bodyPr>
          <a:lstStyle/>
          <a:p>
            <a:endParaRPr/>
          </a:p>
        </p:txBody>
      </p:sp>
      <p:sp>
        <p:nvSpPr>
          <p:cNvPr id="73" name="object 73"/>
          <p:cNvSpPr/>
          <p:nvPr/>
        </p:nvSpPr>
        <p:spPr>
          <a:xfrm>
            <a:off x="5584826" y="4087750"/>
            <a:ext cx="4016375" cy="492125"/>
          </a:xfrm>
          <a:custGeom>
            <a:avLst/>
            <a:gdLst/>
            <a:ahLst/>
            <a:cxnLst/>
            <a:rect l="l" t="t" r="r" b="b"/>
            <a:pathLst>
              <a:path w="4016375" h="492125">
                <a:moveTo>
                  <a:pt x="0" y="492125"/>
                </a:moveTo>
                <a:lnTo>
                  <a:pt x="4016375" y="492125"/>
                </a:lnTo>
                <a:lnTo>
                  <a:pt x="4016375" y="0"/>
                </a:lnTo>
                <a:lnTo>
                  <a:pt x="0" y="0"/>
                </a:lnTo>
                <a:lnTo>
                  <a:pt x="0" y="492125"/>
                </a:lnTo>
                <a:close/>
              </a:path>
            </a:pathLst>
          </a:custGeom>
          <a:solidFill>
            <a:srgbClr val="CCFFFF"/>
          </a:solidFill>
        </p:spPr>
        <p:txBody>
          <a:bodyPr wrap="square" lIns="0" tIns="0" rIns="0" bIns="0" rtlCol="0">
            <a:noAutofit/>
          </a:bodyPr>
          <a:lstStyle/>
          <a:p>
            <a:endParaRPr/>
          </a:p>
        </p:txBody>
      </p:sp>
      <p:sp>
        <p:nvSpPr>
          <p:cNvPr id="74" name="object 74"/>
          <p:cNvSpPr/>
          <p:nvPr/>
        </p:nvSpPr>
        <p:spPr>
          <a:xfrm>
            <a:off x="4648201" y="4579937"/>
            <a:ext cx="936625" cy="1173162"/>
          </a:xfrm>
          <a:custGeom>
            <a:avLst/>
            <a:gdLst/>
            <a:ahLst/>
            <a:cxnLst/>
            <a:rect l="l" t="t" r="r" b="b"/>
            <a:pathLst>
              <a:path w="936625" h="1173162">
                <a:moveTo>
                  <a:pt x="0" y="1173162"/>
                </a:moveTo>
                <a:lnTo>
                  <a:pt x="936625" y="1173162"/>
                </a:lnTo>
                <a:lnTo>
                  <a:pt x="936625" y="0"/>
                </a:lnTo>
                <a:lnTo>
                  <a:pt x="0" y="0"/>
                </a:lnTo>
                <a:lnTo>
                  <a:pt x="0" y="1173162"/>
                </a:lnTo>
                <a:close/>
              </a:path>
            </a:pathLst>
          </a:custGeom>
          <a:solidFill>
            <a:srgbClr val="CCFFFF"/>
          </a:solidFill>
        </p:spPr>
        <p:txBody>
          <a:bodyPr wrap="square" lIns="0" tIns="0" rIns="0" bIns="0" rtlCol="0">
            <a:noAutofit/>
          </a:bodyPr>
          <a:lstStyle/>
          <a:p>
            <a:endParaRPr/>
          </a:p>
        </p:txBody>
      </p:sp>
      <p:sp>
        <p:nvSpPr>
          <p:cNvPr id="75" name="object 75"/>
          <p:cNvSpPr/>
          <p:nvPr/>
        </p:nvSpPr>
        <p:spPr>
          <a:xfrm>
            <a:off x="5584826" y="4579937"/>
            <a:ext cx="4016375" cy="1173162"/>
          </a:xfrm>
          <a:custGeom>
            <a:avLst/>
            <a:gdLst/>
            <a:ahLst/>
            <a:cxnLst/>
            <a:rect l="l" t="t" r="r" b="b"/>
            <a:pathLst>
              <a:path w="4016375" h="1173162">
                <a:moveTo>
                  <a:pt x="0" y="1173162"/>
                </a:moveTo>
                <a:lnTo>
                  <a:pt x="4016375" y="1173162"/>
                </a:lnTo>
                <a:lnTo>
                  <a:pt x="4016375" y="0"/>
                </a:lnTo>
                <a:lnTo>
                  <a:pt x="0" y="0"/>
                </a:lnTo>
                <a:lnTo>
                  <a:pt x="0" y="1173162"/>
                </a:lnTo>
                <a:close/>
              </a:path>
            </a:pathLst>
          </a:custGeom>
          <a:solidFill>
            <a:srgbClr val="CCFFFF"/>
          </a:solidFill>
        </p:spPr>
        <p:txBody>
          <a:bodyPr wrap="square" lIns="0" tIns="0" rIns="0" bIns="0" rtlCol="0">
            <a:noAutofit/>
          </a:bodyPr>
          <a:lstStyle/>
          <a:p>
            <a:endParaRPr/>
          </a:p>
        </p:txBody>
      </p:sp>
      <p:sp>
        <p:nvSpPr>
          <p:cNvPr id="76" name="object 76"/>
          <p:cNvSpPr/>
          <p:nvPr/>
        </p:nvSpPr>
        <p:spPr>
          <a:xfrm>
            <a:off x="4648201" y="5753100"/>
            <a:ext cx="936625" cy="495300"/>
          </a:xfrm>
          <a:custGeom>
            <a:avLst/>
            <a:gdLst/>
            <a:ahLst/>
            <a:cxnLst/>
            <a:rect l="l" t="t" r="r" b="b"/>
            <a:pathLst>
              <a:path w="936625" h="495300">
                <a:moveTo>
                  <a:pt x="0" y="495300"/>
                </a:moveTo>
                <a:lnTo>
                  <a:pt x="936625" y="495300"/>
                </a:lnTo>
                <a:lnTo>
                  <a:pt x="936625" y="0"/>
                </a:lnTo>
                <a:lnTo>
                  <a:pt x="0" y="0"/>
                </a:lnTo>
                <a:lnTo>
                  <a:pt x="0" y="495300"/>
                </a:lnTo>
                <a:close/>
              </a:path>
            </a:pathLst>
          </a:custGeom>
          <a:solidFill>
            <a:srgbClr val="CCFFFF"/>
          </a:solidFill>
        </p:spPr>
        <p:txBody>
          <a:bodyPr wrap="square" lIns="0" tIns="0" rIns="0" bIns="0" rtlCol="0">
            <a:noAutofit/>
          </a:bodyPr>
          <a:lstStyle/>
          <a:p>
            <a:endParaRPr/>
          </a:p>
        </p:txBody>
      </p:sp>
      <p:sp>
        <p:nvSpPr>
          <p:cNvPr id="77" name="object 77"/>
          <p:cNvSpPr/>
          <p:nvPr/>
        </p:nvSpPr>
        <p:spPr>
          <a:xfrm>
            <a:off x="5584826" y="5753100"/>
            <a:ext cx="4016375" cy="495300"/>
          </a:xfrm>
          <a:custGeom>
            <a:avLst/>
            <a:gdLst/>
            <a:ahLst/>
            <a:cxnLst/>
            <a:rect l="l" t="t" r="r" b="b"/>
            <a:pathLst>
              <a:path w="4016375" h="495300">
                <a:moveTo>
                  <a:pt x="0" y="495300"/>
                </a:moveTo>
                <a:lnTo>
                  <a:pt x="4016375" y="495300"/>
                </a:lnTo>
                <a:lnTo>
                  <a:pt x="4016375" y="0"/>
                </a:lnTo>
                <a:lnTo>
                  <a:pt x="0" y="0"/>
                </a:lnTo>
                <a:lnTo>
                  <a:pt x="0" y="495300"/>
                </a:lnTo>
                <a:close/>
              </a:path>
            </a:pathLst>
          </a:custGeom>
          <a:solidFill>
            <a:srgbClr val="CCFFFF"/>
          </a:solidFill>
        </p:spPr>
        <p:txBody>
          <a:bodyPr wrap="square" lIns="0" tIns="0" rIns="0" bIns="0" rtlCol="0">
            <a:noAutofit/>
          </a:bodyPr>
          <a:lstStyle/>
          <a:p>
            <a:endParaRPr/>
          </a:p>
        </p:txBody>
      </p:sp>
      <p:sp>
        <p:nvSpPr>
          <p:cNvPr id="78" name="object 78"/>
          <p:cNvSpPr/>
          <p:nvPr/>
        </p:nvSpPr>
        <p:spPr>
          <a:xfrm>
            <a:off x="5584825" y="1890777"/>
            <a:ext cx="0" cy="4371911"/>
          </a:xfrm>
          <a:custGeom>
            <a:avLst/>
            <a:gdLst/>
            <a:ahLst/>
            <a:cxnLst/>
            <a:rect l="l" t="t" r="r" b="b"/>
            <a:pathLst>
              <a:path h="4371911">
                <a:moveTo>
                  <a:pt x="0" y="0"/>
                </a:moveTo>
                <a:lnTo>
                  <a:pt x="0" y="4371911"/>
                </a:lnTo>
              </a:path>
            </a:pathLst>
          </a:custGeom>
          <a:ln w="12700">
            <a:solidFill>
              <a:srgbClr val="000000"/>
            </a:solidFill>
          </a:ln>
        </p:spPr>
        <p:txBody>
          <a:bodyPr wrap="square" lIns="0" tIns="0" rIns="0" bIns="0" rtlCol="0">
            <a:noAutofit/>
          </a:bodyPr>
          <a:lstStyle/>
          <a:p>
            <a:endParaRPr/>
          </a:p>
        </p:txBody>
      </p:sp>
      <p:sp>
        <p:nvSpPr>
          <p:cNvPr id="79" name="object 79"/>
          <p:cNvSpPr/>
          <p:nvPr/>
        </p:nvSpPr>
        <p:spPr>
          <a:xfrm>
            <a:off x="4633976" y="3076575"/>
            <a:ext cx="4981448" cy="0"/>
          </a:xfrm>
          <a:custGeom>
            <a:avLst/>
            <a:gdLst/>
            <a:ahLst/>
            <a:cxnLst/>
            <a:rect l="l" t="t" r="r" b="b"/>
            <a:pathLst>
              <a:path w="4981448">
                <a:moveTo>
                  <a:pt x="0" y="0"/>
                </a:moveTo>
                <a:lnTo>
                  <a:pt x="4981448" y="0"/>
                </a:lnTo>
              </a:path>
            </a:pathLst>
          </a:custGeom>
          <a:ln w="12700">
            <a:solidFill>
              <a:srgbClr val="000000"/>
            </a:solidFill>
          </a:ln>
        </p:spPr>
        <p:txBody>
          <a:bodyPr wrap="square" lIns="0" tIns="0" rIns="0" bIns="0" rtlCol="0">
            <a:noAutofit/>
          </a:bodyPr>
          <a:lstStyle/>
          <a:p>
            <a:endParaRPr/>
          </a:p>
        </p:txBody>
      </p:sp>
      <p:sp>
        <p:nvSpPr>
          <p:cNvPr id="80" name="object 80"/>
          <p:cNvSpPr/>
          <p:nvPr/>
        </p:nvSpPr>
        <p:spPr>
          <a:xfrm>
            <a:off x="4633976" y="3571875"/>
            <a:ext cx="4981448" cy="0"/>
          </a:xfrm>
          <a:custGeom>
            <a:avLst/>
            <a:gdLst/>
            <a:ahLst/>
            <a:cxnLst/>
            <a:rect l="l" t="t" r="r" b="b"/>
            <a:pathLst>
              <a:path w="4981448">
                <a:moveTo>
                  <a:pt x="0" y="0"/>
                </a:moveTo>
                <a:lnTo>
                  <a:pt x="4981448" y="0"/>
                </a:lnTo>
              </a:path>
            </a:pathLst>
          </a:custGeom>
          <a:ln w="12700">
            <a:solidFill>
              <a:srgbClr val="000000"/>
            </a:solidFill>
          </a:ln>
        </p:spPr>
        <p:txBody>
          <a:bodyPr wrap="square" lIns="0" tIns="0" rIns="0" bIns="0" rtlCol="0">
            <a:noAutofit/>
          </a:bodyPr>
          <a:lstStyle/>
          <a:p>
            <a:endParaRPr/>
          </a:p>
        </p:txBody>
      </p:sp>
      <p:sp>
        <p:nvSpPr>
          <p:cNvPr id="81" name="object 81"/>
          <p:cNvSpPr/>
          <p:nvPr/>
        </p:nvSpPr>
        <p:spPr>
          <a:xfrm>
            <a:off x="4633976" y="4087749"/>
            <a:ext cx="4981448" cy="0"/>
          </a:xfrm>
          <a:custGeom>
            <a:avLst/>
            <a:gdLst/>
            <a:ahLst/>
            <a:cxnLst/>
            <a:rect l="l" t="t" r="r" b="b"/>
            <a:pathLst>
              <a:path w="4981448">
                <a:moveTo>
                  <a:pt x="0" y="0"/>
                </a:moveTo>
                <a:lnTo>
                  <a:pt x="4981448" y="0"/>
                </a:lnTo>
              </a:path>
            </a:pathLst>
          </a:custGeom>
          <a:ln w="12700">
            <a:solidFill>
              <a:srgbClr val="000000"/>
            </a:solidFill>
          </a:ln>
        </p:spPr>
        <p:txBody>
          <a:bodyPr wrap="square" lIns="0" tIns="0" rIns="0" bIns="0" rtlCol="0">
            <a:noAutofit/>
          </a:bodyPr>
          <a:lstStyle/>
          <a:p>
            <a:endParaRPr/>
          </a:p>
        </p:txBody>
      </p:sp>
      <p:sp>
        <p:nvSpPr>
          <p:cNvPr id="82" name="object 82"/>
          <p:cNvSpPr/>
          <p:nvPr/>
        </p:nvSpPr>
        <p:spPr>
          <a:xfrm>
            <a:off x="4633976" y="4579874"/>
            <a:ext cx="4981448" cy="0"/>
          </a:xfrm>
          <a:custGeom>
            <a:avLst/>
            <a:gdLst/>
            <a:ahLst/>
            <a:cxnLst/>
            <a:rect l="l" t="t" r="r" b="b"/>
            <a:pathLst>
              <a:path w="4981448">
                <a:moveTo>
                  <a:pt x="0" y="0"/>
                </a:moveTo>
                <a:lnTo>
                  <a:pt x="4981448" y="0"/>
                </a:lnTo>
              </a:path>
            </a:pathLst>
          </a:custGeom>
          <a:ln w="12700">
            <a:solidFill>
              <a:srgbClr val="000000"/>
            </a:solidFill>
          </a:ln>
        </p:spPr>
        <p:txBody>
          <a:bodyPr wrap="square" lIns="0" tIns="0" rIns="0" bIns="0" rtlCol="0">
            <a:noAutofit/>
          </a:bodyPr>
          <a:lstStyle/>
          <a:p>
            <a:endParaRPr/>
          </a:p>
        </p:txBody>
      </p:sp>
      <p:sp>
        <p:nvSpPr>
          <p:cNvPr id="83" name="object 83"/>
          <p:cNvSpPr/>
          <p:nvPr/>
        </p:nvSpPr>
        <p:spPr>
          <a:xfrm>
            <a:off x="4633976" y="5753100"/>
            <a:ext cx="4981448" cy="0"/>
          </a:xfrm>
          <a:custGeom>
            <a:avLst/>
            <a:gdLst/>
            <a:ahLst/>
            <a:cxnLst/>
            <a:rect l="l" t="t" r="r" b="b"/>
            <a:pathLst>
              <a:path w="4981448">
                <a:moveTo>
                  <a:pt x="0" y="0"/>
                </a:moveTo>
                <a:lnTo>
                  <a:pt x="4981448" y="0"/>
                </a:lnTo>
              </a:path>
            </a:pathLst>
          </a:custGeom>
          <a:ln w="12700">
            <a:solidFill>
              <a:srgbClr val="000000"/>
            </a:solidFill>
          </a:ln>
        </p:spPr>
        <p:txBody>
          <a:bodyPr wrap="square" lIns="0" tIns="0" rIns="0" bIns="0" rtlCol="0">
            <a:noAutofit/>
          </a:bodyPr>
          <a:lstStyle/>
          <a:p>
            <a:endParaRPr/>
          </a:p>
        </p:txBody>
      </p:sp>
      <p:sp>
        <p:nvSpPr>
          <p:cNvPr id="84" name="object 84"/>
          <p:cNvSpPr/>
          <p:nvPr/>
        </p:nvSpPr>
        <p:spPr>
          <a:xfrm>
            <a:off x="4648200" y="1890777"/>
            <a:ext cx="0" cy="4371911"/>
          </a:xfrm>
          <a:custGeom>
            <a:avLst/>
            <a:gdLst/>
            <a:ahLst/>
            <a:cxnLst/>
            <a:rect l="l" t="t" r="r" b="b"/>
            <a:pathLst>
              <a:path h="4371911">
                <a:moveTo>
                  <a:pt x="0" y="0"/>
                </a:moveTo>
                <a:lnTo>
                  <a:pt x="0" y="4371911"/>
                </a:lnTo>
              </a:path>
            </a:pathLst>
          </a:custGeom>
          <a:ln w="28575">
            <a:solidFill>
              <a:srgbClr val="000000"/>
            </a:solidFill>
          </a:ln>
        </p:spPr>
        <p:txBody>
          <a:bodyPr wrap="square" lIns="0" tIns="0" rIns="0" bIns="0" rtlCol="0">
            <a:noAutofit/>
          </a:bodyPr>
          <a:lstStyle/>
          <a:p>
            <a:endParaRPr/>
          </a:p>
        </p:txBody>
      </p:sp>
      <p:sp>
        <p:nvSpPr>
          <p:cNvPr id="85" name="object 85"/>
          <p:cNvSpPr/>
          <p:nvPr/>
        </p:nvSpPr>
        <p:spPr>
          <a:xfrm>
            <a:off x="9601200" y="1890777"/>
            <a:ext cx="0" cy="4371911"/>
          </a:xfrm>
          <a:custGeom>
            <a:avLst/>
            <a:gdLst/>
            <a:ahLst/>
            <a:cxnLst/>
            <a:rect l="l" t="t" r="r" b="b"/>
            <a:pathLst>
              <a:path h="4371911">
                <a:moveTo>
                  <a:pt x="0" y="0"/>
                </a:moveTo>
                <a:lnTo>
                  <a:pt x="0" y="4371911"/>
                </a:lnTo>
              </a:path>
            </a:pathLst>
          </a:custGeom>
          <a:ln w="28575">
            <a:solidFill>
              <a:srgbClr val="000000"/>
            </a:solidFill>
          </a:ln>
        </p:spPr>
        <p:txBody>
          <a:bodyPr wrap="square" lIns="0" tIns="0" rIns="0" bIns="0" rtlCol="0">
            <a:noAutofit/>
          </a:bodyPr>
          <a:lstStyle/>
          <a:p>
            <a:endParaRPr/>
          </a:p>
        </p:txBody>
      </p:sp>
      <p:sp>
        <p:nvSpPr>
          <p:cNvPr id="86" name="object 86"/>
          <p:cNvSpPr/>
          <p:nvPr/>
        </p:nvSpPr>
        <p:spPr>
          <a:xfrm>
            <a:off x="4633976" y="1905000"/>
            <a:ext cx="4981448" cy="0"/>
          </a:xfrm>
          <a:custGeom>
            <a:avLst/>
            <a:gdLst/>
            <a:ahLst/>
            <a:cxnLst/>
            <a:rect l="l" t="t" r="r" b="b"/>
            <a:pathLst>
              <a:path w="4981448">
                <a:moveTo>
                  <a:pt x="0" y="0"/>
                </a:moveTo>
                <a:lnTo>
                  <a:pt x="4981448" y="0"/>
                </a:lnTo>
              </a:path>
            </a:pathLst>
          </a:custGeom>
          <a:ln w="28575">
            <a:solidFill>
              <a:srgbClr val="000000"/>
            </a:solidFill>
          </a:ln>
        </p:spPr>
        <p:txBody>
          <a:bodyPr wrap="square" lIns="0" tIns="0" rIns="0" bIns="0" rtlCol="0">
            <a:noAutofit/>
          </a:bodyPr>
          <a:lstStyle/>
          <a:p>
            <a:endParaRPr/>
          </a:p>
        </p:txBody>
      </p:sp>
      <p:sp>
        <p:nvSpPr>
          <p:cNvPr id="87" name="object 87"/>
          <p:cNvSpPr/>
          <p:nvPr/>
        </p:nvSpPr>
        <p:spPr>
          <a:xfrm>
            <a:off x="4633976" y="6248400"/>
            <a:ext cx="4981448" cy="0"/>
          </a:xfrm>
          <a:custGeom>
            <a:avLst/>
            <a:gdLst/>
            <a:ahLst/>
            <a:cxnLst/>
            <a:rect l="l" t="t" r="r" b="b"/>
            <a:pathLst>
              <a:path w="4981448">
                <a:moveTo>
                  <a:pt x="0" y="0"/>
                </a:moveTo>
                <a:lnTo>
                  <a:pt x="4981448" y="0"/>
                </a:lnTo>
              </a:path>
            </a:pathLst>
          </a:custGeom>
          <a:ln w="28575">
            <a:solidFill>
              <a:srgbClr val="000000"/>
            </a:solidFill>
          </a:ln>
        </p:spPr>
        <p:txBody>
          <a:bodyPr wrap="square" lIns="0" tIns="0" rIns="0" bIns="0" rtlCol="0">
            <a:noAutofit/>
          </a:bodyPr>
          <a:lstStyle/>
          <a:p>
            <a:endParaRPr/>
          </a:p>
        </p:txBody>
      </p:sp>
      <p:sp>
        <p:nvSpPr>
          <p:cNvPr id="26" name="object 26"/>
          <p:cNvSpPr/>
          <p:nvPr/>
        </p:nvSpPr>
        <p:spPr>
          <a:xfrm>
            <a:off x="1903055" y="3219735"/>
            <a:ext cx="2112287" cy="2110126"/>
          </a:xfrm>
          <a:custGeom>
            <a:avLst/>
            <a:gdLst/>
            <a:ahLst/>
            <a:cxnLst/>
            <a:rect l="l" t="t" r="r" b="b"/>
            <a:pathLst>
              <a:path w="2112287" h="2110126">
                <a:moveTo>
                  <a:pt x="0" y="1056454"/>
                </a:moveTo>
                <a:lnTo>
                  <a:pt x="1413" y="1110131"/>
                </a:lnTo>
                <a:lnTo>
                  <a:pt x="5655" y="1163789"/>
                </a:lnTo>
                <a:lnTo>
                  <a:pt x="12725" y="1216055"/>
                </a:lnTo>
                <a:lnTo>
                  <a:pt x="21208" y="1268321"/>
                </a:lnTo>
                <a:lnTo>
                  <a:pt x="32519" y="1319157"/>
                </a:lnTo>
                <a:lnTo>
                  <a:pt x="48072" y="1368601"/>
                </a:lnTo>
                <a:lnTo>
                  <a:pt x="63625" y="1418025"/>
                </a:lnTo>
                <a:lnTo>
                  <a:pt x="83421" y="1466058"/>
                </a:lnTo>
                <a:lnTo>
                  <a:pt x="104628" y="1512661"/>
                </a:lnTo>
                <a:lnTo>
                  <a:pt x="127251" y="1557852"/>
                </a:lnTo>
                <a:lnTo>
                  <a:pt x="152701" y="1601652"/>
                </a:lnTo>
                <a:lnTo>
                  <a:pt x="179565" y="1645433"/>
                </a:lnTo>
                <a:lnTo>
                  <a:pt x="209255" y="1686391"/>
                </a:lnTo>
                <a:lnTo>
                  <a:pt x="240361" y="1725939"/>
                </a:lnTo>
                <a:lnTo>
                  <a:pt x="274288" y="1764075"/>
                </a:lnTo>
                <a:lnTo>
                  <a:pt x="309647" y="1800801"/>
                </a:lnTo>
                <a:lnTo>
                  <a:pt x="344986" y="1836115"/>
                </a:lnTo>
                <a:lnTo>
                  <a:pt x="383167" y="1868588"/>
                </a:lnTo>
                <a:lnTo>
                  <a:pt x="424170" y="1901081"/>
                </a:lnTo>
                <a:lnTo>
                  <a:pt x="465174" y="1929320"/>
                </a:lnTo>
                <a:lnTo>
                  <a:pt x="507588" y="1957580"/>
                </a:lnTo>
                <a:lnTo>
                  <a:pt x="551414" y="1982997"/>
                </a:lnTo>
                <a:lnTo>
                  <a:pt x="598082" y="2005593"/>
                </a:lnTo>
                <a:lnTo>
                  <a:pt x="644750" y="2026778"/>
                </a:lnTo>
                <a:lnTo>
                  <a:pt x="692809" y="2046552"/>
                </a:lnTo>
                <a:lnTo>
                  <a:pt x="740888" y="2062092"/>
                </a:lnTo>
                <a:lnTo>
                  <a:pt x="791790" y="2076222"/>
                </a:lnTo>
                <a:lnTo>
                  <a:pt x="842691" y="2088941"/>
                </a:lnTo>
                <a:lnTo>
                  <a:pt x="893593" y="2097407"/>
                </a:lnTo>
                <a:lnTo>
                  <a:pt x="947317" y="2104462"/>
                </a:lnTo>
                <a:lnTo>
                  <a:pt x="1001040" y="2108715"/>
                </a:lnTo>
                <a:lnTo>
                  <a:pt x="1054764" y="2110126"/>
                </a:lnTo>
                <a:lnTo>
                  <a:pt x="1108508" y="2108715"/>
                </a:lnTo>
                <a:lnTo>
                  <a:pt x="1162232" y="2104462"/>
                </a:lnTo>
                <a:lnTo>
                  <a:pt x="1215955" y="2097407"/>
                </a:lnTo>
                <a:lnTo>
                  <a:pt x="1268268" y="2088941"/>
                </a:lnTo>
                <a:lnTo>
                  <a:pt x="1319170" y="2076222"/>
                </a:lnTo>
                <a:lnTo>
                  <a:pt x="1368660" y="2062092"/>
                </a:lnTo>
                <a:lnTo>
                  <a:pt x="1418150" y="2046552"/>
                </a:lnTo>
                <a:lnTo>
                  <a:pt x="1466209" y="2026778"/>
                </a:lnTo>
                <a:lnTo>
                  <a:pt x="1512877" y="2005593"/>
                </a:lnTo>
                <a:lnTo>
                  <a:pt x="1558114" y="1982997"/>
                </a:lnTo>
                <a:lnTo>
                  <a:pt x="1603371" y="1957580"/>
                </a:lnTo>
                <a:lnTo>
                  <a:pt x="1645786" y="1929320"/>
                </a:lnTo>
                <a:lnTo>
                  <a:pt x="1686789" y="1901081"/>
                </a:lnTo>
                <a:lnTo>
                  <a:pt x="1727792" y="1868588"/>
                </a:lnTo>
                <a:lnTo>
                  <a:pt x="1765973" y="1836115"/>
                </a:lnTo>
                <a:lnTo>
                  <a:pt x="1802724" y="1800801"/>
                </a:lnTo>
                <a:lnTo>
                  <a:pt x="1838082" y="1764075"/>
                </a:lnTo>
                <a:lnTo>
                  <a:pt x="1870599" y="1725939"/>
                </a:lnTo>
                <a:lnTo>
                  <a:pt x="1901704" y="1686391"/>
                </a:lnTo>
                <a:lnTo>
                  <a:pt x="1931398" y="1645433"/>
                </a:lnTo>
                <a:lnTo>
                  <a:pt x="1959681" y="1601652"/>
                </a:lnTo>
                <a:lnTo>
                  <a:pt x="1985083" y="1557852"/>
                </a:lnTo>
                <a:lnTo>
                  <a:pt x="2007819" y="1512661"/>
                </a:lnTo>
                <a:lnTo>
                  <a:pt x="2028987" y="1466058"/>
                </a:lnTo>
                <a:lnTo>
                  <a:pt x="2048783" y="1418025"/>
                </a:lnTo>
                <a:lnTo>
                  <a:pt x="2064267" y="1368601"/>
                </a:lnTo>
                <a:lnTo>
                  <a:pt x="2078379" y="1319157"/>
                </a:lnTo>
                <a:lnTo>
                  <a:pt x="2091119" y="1268321"/>
                </a:lnTo>
                <a:lnTo>
                  <a:pt x="2099743" y="1216055"/>
                </a:lnTo>
                <a:lnTo>
                  <a:pt x="2106799" y="1163789"/>
                </a:lnTo>
                <a:lnTo>
                  <a:pt x="2110915" y="1110131"/>
                </a:lnTo>
                <a:lnTo>
                  <a:pt x="2112287" y="1056454"/>
                </a:lnTo>
                <a:lnTo>
                  <a:pt x="2110915" y="1002777"/>
                </a:lnTo>
                <a:lnTo>
                  <a:pt x="2106799" y="949100"/>
                </a:lnTo>
                <a:lnTo>
                  <a:pt x="2099743" y="895442"/>
                </a:lnTo>
                <a:lnTo>
                  <a:pt x="2091119" y="843176"/>
                </a:lnTo>
                <a:lnTo>
                  <a:pt x="2078379" y="792321"/>
                </a:lnTo>
                <a:lnTo>
                  <a:pt x="2064267" y="742896"/>
                </a:lnTo>
                <a:lnTo>
                  <a:pt x="2048783" y="693452"/>
                </a:lnTo>
                <a:lnTo>
                  <a:pt x="2028987" y="645439"/>
                </a:lnTo>
                <a:lnTo>
                  <a:pt x="2007819" y="598836"/>
                </a:lnTo>
                <a:lnTo>
                  <a:pt x="1985083" y="553625"/>
                </a:lnTo>
                <a:lnTo>
                  <a:pt x="1959681" y="508433"/>
                </a:lnTo>
                <a:lnTo>
                  <a:pt x="1931398" y="466064"/>
                </a:lnTo>
                <a:lnTo>
                  <a:pt x="1901704" y="425105"/>
                </a:lnTo>
                <a:lnTo>
                  <a:pt x="1870599" y="384147"/>
                </a:lnTo>
                <a:lnTo>
                  <a:pt x="1838082" y="346089"/>
                </a:lnTo>
                <a:lnTo>
                  <a:pt x="1802724" y="309246"/>
                </a:lnTo>
                <a:lnTo>
                  <a:pt x="1765973" y="273971"/>
                </a:lnTo>
                <a:lnTo>
                  <a:pt x="1727792" y="241439"/>
                </a:lnTo>
                <a:lnTo>
                  <a:pt x="1686789" y="210475"/>
                </a:lnTo>
                <a:lnTo>
                  <a:pt x="1645786" y="180687"/>
                </a:lnTo>
                <a:lnTo>
                  <a:pt x="1603371" y="152467"/>
                </a:lnTo>
                <a:lnTo>
                  <a:pt x="1558114" y="126990"/>
                </a:lnTo>
                <a:lnTo>
                  <a:pt x="1512877" y="104453"/>
                </a:lnTo>
                <a:lnTo>
                  <a:pt x="1466209" y="83288"/>
                </a:lnTo>
                <a:lnTo>
                  <a:pt x="1418150" y="63495"/>
                </a:lnTo>
                <a:lnTo>
                  <a:pt x="1368660" y="48013"/>
                </a:lnTo>
                <a:lnTo>
                  <a:pt x="1319170" y="33903"/>
                </a:lnTo>
                <a:lnTo>
                  <a:pt x="1268268" y="21165"/>
                </a:lnTo>
                <a:lnTo>
                  <a:pt x="1215955" y="12738"/>
                </a:lnTo>
                <a:lnTo>
                  <a:pt x="1162232" y="5683"/>
                </a:lnTo>
                <a:lnTo>
                  <a:pt x="1108508" y="1371"/>
                </a:lnTo>
                <a:lnTo>
                  <a:pt x="1054764" y="0"/>
                </a:lnTo>
                <a:lnTo>
                  <a:pt x="1001040" y="1371"/>
                </a:lnTo>
                <a:lnTo>
                  <a:pt x="947317" y="5683"/>
                </a:lnTo>
                <a:lnTo>
                  <a:pt x="893593" y="12738"/>
                </a:lnTo>
                <a:lnTo>
                  <a:pt x="842691" y="21165"/>
                </a:lnTo>
                <a:lnTo>
                  <a:pt x="791790" y="33903"/>
                </a:lnTo>
                <a:lnTo>
                  <a:pt x="740888" y="48013"/>
                </a:lnTo>
                <a:lnTo>
                  <a:pt x="692809" y="63495"/>
                </a:lnTo>
                <a:lnTo>
                  <a:pt x="644750" y="83288"/>
                </a:lnTo>
                <a:lnTo>
                  <a:pt x="598082" y="104453"/>
                </a:lnTo>
                <a:lnTo>
                  <a:pt x="551414" y="126990"/>
                </a:lnTo>
                <a:lnTo>
                  <a:pt x="507588" y="152467"/>
                </a:lnTo>
                <a:lnTo>
                  <a:pt x="465174" y="180687"/>
                </a:lnTo>
                <a:lnTo>
                  <a:pt x="424170" y="210475"/>
                </a:lnTo>
                <a:lnTo>
                  <a:pt x="383167" y="241439"/>
                </a:lnTo>
                <a:lnTo>
                  <a:pt x="344986" y="273971"/>
                </a:lnTo>
                <a:lnTo>
                  <a:pt x="309647" y="309246"/>
                </a:lnTo>
                <a:lnTo>
                  <a:pt x="274288" y="346089"/>
                </a:lnTo>
                <a:lnTo>
                  <a:pt x="240361" y="384147"/>
                </a:lnTo>
                <a:lnTo>
                  <a:pt x="209255" y="425105"/>
                </a:lnTo>
                <a:lnTo>
                  <a:pt x="179565" y="466064"/>
                </a:lnTo>
                <a:lnTo>
                  <a:pt x="152701" y="508433"/>
                </a:lnTo>
                <a:lnTo>
                  <a:pt x="127251" y="553625"/>
                </a:lnTo>
                <a:lnTo>
                  <a:pt x="104628" y="598836"/>
                </a:lnTo>
                <a:lnTo>
                  <a:pt x="83421" y="645439"/>
                </a:lnTo>
                <a:lnTo>
                  <a:pt x="63625" y="693452"/>
                </a:lnTo>
                <a:lnTo>
                  <a:pt x="48072" y="742896"/>
                </a:lnTo>
                <a:lnTo>
                  <a:pt x="32519" y="792321"/>
                </a:lnTo>
                <a:lnTo>
                  <a:pt x="21208" y="843176"/>
                </a:lnTo>
                <a:lnTo>
                  <a:pt x="12725" y="895442"/>
                </a:lnTo>
                <a:lnTo>
                  <a:pt x="5655" y="949100"/>
                </a:lnTo>
                <a:lnTo>
                  <a:pt x="1413" y="1002777"/>
                </a:lnTo>
                <a:lnTo>
                  <a:pt x="0" y="1056454"/>
                </a:lnTo>
                <a:close/>
              </a:path>
            </a:pathLst>
          </a:custGeom>
          <a:solidFill>
            <a:srgbClr val="9BFFFF"/>
          </a:solidFill>
        </p:spPr>
        <p:txBody>
          <a:bodyPr wrap="square" lIns="0" tIns="0" rIns="0" bIns="0" rtlCol="0">
            <a:noAutofit/>
          </a:bodyPr>
          <a:lstStyle/>
          <a:p>
            <a:endParaRPr/>
          </a:p>
        </p:txBody>
      </p:sp>
      <p:sp>
        <p:nvSpPr>
          <p:cNvPr id="27" name="object 27"/>
          <p:cNvSpPr/>
          <p:nvPr/>
        </p:nvSpPr>
        <p:spPr>
          <a:xfrm>
            <a:off x="2556272" y="4071378"/>
            <a:ext cx="647567" cy="361590"/>
          </a:xfrm>
          <a:custGeom>
            <a:avLst/>
            <a:gdLst/>
            <a:ahLst/>
            <a:cxnLst/>
            <a:rect l="l" t="t" r="r" b="b"/>
            <a:pathLst>
              <a:path w="647567" h="361590">
                <a:moveTo>
                  <a:pt x="0" y="16951"/>
                </a:moveTo>
                <a:lnTo>
                  <a:pt x="0" y="24026"/>
                </a:lnTo>
                <a:lnTo>
                  <a:pt x="1411" y="28259"/>
                </a:lnTo>
                <a:lnTo>
                  <a:pt x="4253" y="35314"/>
                </a:lnTo>
                <a:lnTo>
                  <a:pt x="8486" y="46622"/>
                </a:lnTo>
                <a:lnTo>
                  <a:pt x="14151" y="60751"/>
                </a:lnTo>
                <a:lnTo>
                  <a:pt x="21207" y="76272"/>
                </a:lnTo>
                <a:lnTo>
                  <a:pt x="29694" y="96046"/>
                </a:lnTo>
                <a:lnTo>
                  <a:pt x="41003" y="115820"/>
                </a:lnTo>
                <a:lnTo>
                  <a:pt x="53743" y="138435"/>
                </a:lnTo>
                <a:lnTo>
                  <a:pt x="69286" y="161031"/>
                </a:lnTo>
                <a:lnTo>
                  <a:pt x="86260" y="185038"/>
                </a:lnTo>
                <a:lnTo>
                  <a:pt x="106056" y="209045"/>
                </a:lnTo>
                <a:lnTo>
                  <a:pt x="127263" y="231640"/>
                </a:lnTo>
                <a:lnTo>
                  <a:pt x="151293" y="254236"/>
                </a:lnTo>
                <a:lnTo>
                  <a:pt x="178164" y="276851"/>
                </a:lnTo>
                <a:lnTo>
                  <a:pt x="207859" y="296625"/>
                </a:lnTo>
                <a:lnTo>
                  <a:pt x="238964" y="314988"/>
                </a:lnTo>
                <a:lnTo>
                  <a:pt x="260171" y="324865"/>
                </a:lnTo>
                <a:lnTo>
                  <a:pt x="281378" y="334762"/>
                </a:lnTo>
                <a:lnTo>
                  <a:pt x="303997" y="341817"/>
                </a:lnTo>
                <a:lnTo>
                  <a:pt x="326615" y="348872"/>
                </a:lnTo>
                <a:lnTo>
                  <a:pt x="349234" y="353105"/>
                </a:lnTo>
                <a:lnTo>
                  <a:pt x="373283" y="357357"/>
                </a:lnTo>
                <a:lnTo>
                  <a:pt x="397313" y="360179"/>
                </a:lnTo>
                <a:lnTo>
                  <a:pt x="421343" y="361590"/>
                </a:lnTo>
                <a:lnTo>
                  <a:pt x="446803" y="361590"/>
                </a:lnTo>
                <a:lnTo>
                  <a:pt x="472244" y="360179"/>
                </a:lnTo>
                <a:lnTo>
                  <a:pt x="497705" y="358768"/>
                </a:lnTo>
                <a:lnTo>
                  <a:pt x="524557" y="354535"/>
                </a:lnTo>
                <a:lnTo>
                  <a:pt x="551429" y="350283"/>
                </a:lnTo>
                <a:lnTo>
                  <a:pt x="578300" y="343228"/>
                </a:lnTo>
                <a:lnTo>
                  <a:pt x="605152" y="336173"/>
                </a:lnTo>
                <a:lnTo>
                  <a:pt x="633435" y="327687"/>
                </a:lnTo>
                <a:lnTo>
                  <a:pt x="640511" y="323454"/>
                </a:lnTo>
                <a:lnTo>
                  <a:pt x="646156" y="317810"/>
                </a:lnTo>
                <a:lnTo>
                  <a:pt x="647567" y="310735"/>
                </a:lnTo>
                <a:lnTo>
                  <a:pt x="646156" y="302269"/>
                </a:lnTo>
                <a:lnTo>
                  <a:pt x="641922" y="295214"/>
                </a:lnTo>
                <a:lnTo>
                  <a:pt x="636258" y="290961"/>
                </a:lnTo>
                <a:lnTo>
                  <a:pt x="629202" y="289550"/>
                </a:lnTo>
                <a:lnTo>
                  <a:pt x="620715" y="289550"/>
                </a:lnTo>
                <a:lnTo>
                  <a:pt x="595254" y="298036"/>
                </a:lnTo>
                <a:lnTo>
                  <a:pt x="568402" y="305091"/>
                </a:lnTo>
                <a:lnTo>
                  <a:pt x="544353" y="310735"/>
                </a:lnTo>
                <a:lnTo>
                  <a:pt x="518912" y="314988"/>
                </a:lnTo>
                <a:lnTo>
                  <a:pt x="494882" y="317810"/>
                </a:lnTo>
                <a:lnTo>
                  <a:pt x="470833" y="320632"/>
                </a:lnTo>
                <a:lnTo>
                  <a:pt x="448214" y="322043"/>
                </a:lnTo>
                <a:lnTo>
                  <a:pt x="425596" y="322043"/>
                </a:lnTo>
                <a:lnTo>
                  <a:pt x="402977" y="320632"/>
                </a:lnTo>
                <a:lnTo>
                  <a:pt x="380339" y="317810"/>
                </a:lnTo>
                <a:lnTo>
                  <a:pt x="359132" y="314988"/>
                </a:lnTo>
                <a:lnTo>
                  <a:pt x="337925" y="309324"/>
                </a:lnTo>
                <a:lnTo>
                  <a:pt x="318129" y="303680"/>
                </a:lnTo>
                <a:lnTo>
                  <a:pt x="296921" y="296625"/>
                </a:lnTo>
                <a:lnTo>
                  <a:pt x="277125" y="289550"/>
                </a:lnTo>
                <a:lnTo>
                  <a:pt x="258760" y="279673"/>
                </a:lnTo>
                <a:lnTo>
                  <a:pt x="202194" y="244359"/>
                </a:lnTo>
                <a:lnTo>
                  <a:pt x="155526" y="203400"/>
                </a:lnTo>
                <a:lnTo>
                  <a:pt x="117365" y="159620"/>
                </a:lnTo>
                <a:lnTo>
                  <a:pt x="87671" y="115820"/>
                </a:lnTo>
                <a:lnTo>
                  <a:pt x="66463" y="76272"/>
                </a:lnTo>
                <a:lnTo>
                  <a:pt x="50901" y="43800"/>
                </a:lnTo>
                <a:lnTo>
                  <a:pt x="42414" y="22615"/>
                </a:lnTo>
                <a:lnTo>
                  <a:pt x="39592" y="14129"/>
                </a:lnTo>
                <a:lnTo>
                  <a:pt x="35358" y="7074"/>
                </a:lnTo>
                <a:lnTo>
                  <a:pt x="29694" y="1430"/>
                </a:lnTo>
                <a:lnTo>
                  <a:pt x="21207" y="0"/>
                </a:lnTo>
                <a:lnTo>
                  <a:pt x="14151" y="0"/>
                </a:lnTo>
                <a:lnTo>
                  <a:pt x="7075" y="4252"/>
                </a:lnTo>
                <a:lnTo>
                  <a:pt x="1411" y="9896"/>
                </a:lnTo>
                <a:lnTo>
                  <a:pt x="0" y="16951"/>
                </a:lnTo>
                <a:close/>
              </a:path>
            </a:pathLst>
          </a:custGeom>
          <a:solidFill>
            <a:srgbClr val="000000"/>
          </a:solidFill>
        </p:spPr>
        <p:txBody>
          <a:bodyPr wrap="square" lIns="0" tIns="0" rIns="0" bIns="0" rtlCol="0">
            <a:noAutofit/>
          </a:bodyPr>
          <a:lstStyle/>
          <a:p>
            <a:endParaRPr/>
          </a:p>
        </p:txBody>
      </p:sp>
      <p:sp>
        <p:nvSpPr>
          <p:cNvPr id="28" name="object 28"/>
          <p:cNvSpPr/>
          <p:nvPr/>
        </p:nvSpPr>
        <p:spPr>
          <a:xfrm>
            <a:off x="2044445" y="3476854"/>
            <a:ext cx="1114157" cy="538045"/>
          </a:xfrm>
          <a:custGeom>
            <a:avLst/>
            <a:gdLst/>
            <a:ahLst/>
            <a:cxnLst/>
            <a:rect l="l" t="t" r="r" b="b"/>
            <a:pathLst>
              <a:path w="1114157" h="538045">
                <a:moveTo>
                  <a:pt x="203595" y="220235"/>
                </a:moveTo>
                <a:lnTo>
                  <a:pt x="193697" y="223076"/>
                </a:lnTo>
                <a:lnTo>
                  <a:pt x="183799" y="224487"/>
                </a:lnTo>
                <a:lnTo>
                  <a:pt x="169668" y="225898"/>
                </a:lnTo>
                <a:lnTo>
                  <a:pt x="152694" y="230131"/>
                </a:lnTo>
                <a:lnTo>
                  <a:pt x="131487" y="235775"/>
                </a:lnTo>
                <a:lnTo>
                  <a:pt x="111691" y="244261"/>
                </a:lnTo>
                <a:lnTo>
                  <a:pt x="91895" y="254138"/>
                </a:lnTo>
                <a:lnTo>
                  <a:pt x="74940" y="268268"/>
                </a:lnTo>
                <a:lnTo>
                  <a:pt x="60789" y="285219"/>
                </a:lnTo>
                <a:lnTo>
                  <a:pt x="56556" y="293686"/>
                </a:lnTo>
                <a:lnTo>
                  <a:pt x="53727" y="302171"/>
                </a:lnTo>
                <a:lnTo>
                  <a:pt x="50901" y="312048"/>
                </a:lnTo>
                <a:lnTo>
                  <a:pt x="49486" y="323356"/>
                </a:lnTo>
                <a:lnTo>
                  <a:pt x="49486" y="330411"/>
                </a:lnTo>
                <a:lnTo>
                  <a:pt x="50901" y="338877"/>
                </a:lnTo>
                <a:lnTo>
                  <a:pt x="53727" y="347363"/>
                </a:lnTo>
                <a:lnTo>
                  <a:pt x="56556" y="355829"/>
                </a:lnTo>
                <a:lnTo>
                  <a:pt x="59378" y="362903"/>
                </a:lnTo>
                <a:lnTo>
                  <a:pt x="60789" y="369958"/>
                </a:lnTo>
                <a:lnTo>
                  <a:pt x="62220" y="375602"/>
                </a:lnTo>
                <a:lnTo>
                  <a:pt x="62220" y="382677"/>
                </a:lnTo>
                <a:lnTo>
                  <a:pt x="60789" y="398198"/>
                </a:lnTo>
                <a:lnTo>
                  <a:pt x="55142" y="410917"/>
                </a:lnTo>
                <a:lnTo>
                  <a:pt x="48073" y="422225"/>
                </a:lnTo>
                <a:lnTo>
                  <a:pt x="39590" y="432102"/>
                </a:lnTo>
                <a:lnTo>
                  <a:pt x="31105" y="440587"/>
                </a:lnTo>
                <a:lnTo>
                  <a:pt x="24035" y="446231"/>
                </a:lnTo>
                <a:lnTo>
                  <a:pt x="16965" y="450464"/>
                </a:lnTo>
                <a:lnTo>
                  <a:pt x="12724" y="453286"/>
                </a:lnTo>
                <a:lnTo>
                  <a:pt x="7069" y="457519"/>
                </a:lnTo>
                <a:lnTo>
                  <a:pt x="2828" y="461772"/>
                </a:lnTo>
                <a:lnTo>
                  <a:pt x="1413" y="468827"/>
                </a:lnTo>
                <a:lnTo>
                  <a:pt x="0" y="475882"/>
                </a:lnTo>
                <a:lnTo>
                  <a:pt x="0" y="480135"/>
                </a:lnTo>
                <a:lnTo>
                  <a:pt x="83427" y="515430"/>
                </a:lnTo>
                <a:lnTo>
                  <a:pt x="147049" y="525326"/>
                </a:lnTo>
                <a:lnTo>
                  <a:pt x="207849" y="532381"/>
                </a:lnTo>
                <a:lnTo>
                  <a:pt x="265806" y="536634"/>
                </a:lnTo>
                <a:lnTo>
                  <a:pt x="322372" y="538045"/>
                </a:lnTo>
                <a:lnTo>
                  <a:pt x="377507" y="536634"/>
                </a:lnTo>
                <a:lnTo>
                  <a:pt x="431231" y="533792"/>
                </a:lnTo>
                <a:lnTo>
                  <a:pt x="482132" y="528148"/>
                </a:lnTo>
                <a:lnTo>
                  <a:pt x="531623" y="521093"/>
                </a:lnTo>
                <a:lnTo>
                  <a:pt x="579702" y="512608"/>
                </a:lnTo>
                <a:lnTo>
                  <a:pt x="624939" y="502731"/>
                </a:lnTo>
                <a:lnTo>
                  <a:pt x="668784" y="491423"/>
                </a:lnTo>
                <a:lnTo>
                  <a:pt x="709788" y="478724"/>
                </a:lnTo>
                <a:lnTo>
                  <a:pt x="749360" y="464594"/>
                </a:lnTo>
                <a:lnTo>
                  <a:pt x="787541" y="450464"/>
                </a:lnTo>
                <a:lnTo>
                  <a:pt x="822900" y="434924"/>
                </a:lnTo>
                <a:lnTo>
                  <a:pt x="856827" y="419403"/>
                </a:lnTo>
                <a:lnTo>
                  <a:pt x="887933" y="403862"/>
                </a:lnTo>
                <a:lnTo>
                  <a:pt x="917627" y="386910"/>
                </a:lnTo>
                <a:lnTo>
                  <a:pt x="969940" y="355829"/>
                </a:lnTo>
                <a:lnTo>
                  <a:pt x="992558" y="340288"/>
                </a:lnTo>
                <a:lnTo>
                  <a:pt x="1013765" y="326178"/>
                </a:lnTo>
                <a:lnTo>
                  <a:pt x="1033562" y="312048"/>
                </a:lnTo>
                <a:lnTo>
                  <a:pt x="1050535" y="297919"/>
                </a:lnTo>
                <a:lnTo>
                  <a:pt x="1064667" y="286630"/>
                </a:lnTo>
                <a:lnTo>
                  <a:pt x="1077387" y="276734"/>
                </a:lnTo>
                <a:lnTo>
                  <a:pt x="1087285" y="266857"/>
                </a:lnTo>
                <a:lnTo>
                  <a:pt x="1095772" y="259782"/>
                </a:lnTo>
                <a:lnTo>
                  <a:pt x="1101437" y="254138"/>
                </a:lnTo>
                <a:lnTo>
                  <a:pt x="1105670" y="249905"/>
                </a:lnTo>
                <a:lnTo>
                  <a:pt x="1107082" y="248494"/>
                </a:lnTo>
                <a:lnTo>
                  <a:pt x="1111335" y="241419"/>
                </a:lnTo>
                <a:lnTo>
                  <a:pt x="1114157" y="232953"/>
                </a:lnTo>
                <a:lnTo>
                  <a:pt x="1112746" y="224487"/>
                </a:lnTo>
                <a:lnTo>
                  <a:pt x="1109924" y="216002"/>
                </a:lnTo>
                <a:lnTo>
                  <a:pt x="1104259" y="210358"/>
                </a:lnTo>
                <a:lnTo>
                  <a:pt x="1095772" y="206125"/>
                </a:lnTo>
                <a:lnTo>
                  <a:pt x="1087285" y="204714"/>
                </a:lnTo>
                <a:lnTo>
                  <a:pt x="1078818" y="206125"/>
                </a:lnTo>
                <a:lnTo>
                  <a:pt x="1073154" y="194817"/>
                </a:lnTo>
                <a:lnTo>
                  <a:pt x="1068920" y="175043"/>
                </a:lnTo>
                <a:lnTo>
                  <a:pt x="1067489" y="149625"/>
                </a:lnTo>
                <a:lnTo>
                  <a:pt x="1066078" y="119935"/>
                </a:lnTo>
                <a:lnTo>
                  <a:pt x="1066078" y="98770"/>
                </a:lnTo>
                <a:lnTo>
                  <a:pt x="1067489" y="76233"/>
                </a:lnTo>
                <a:lnTo>
                  <a:pt x="1068920" y="52128"/>
                </a:lnTo>
                <a:lnTo>
                  <a:pt x="1071743" y="29592"/>
                </a:lnTo>
                <a:lnTo>
                  <a:pt x="1071743" y="26652"/>
                </a:lnTo>
                <a:lnTo>
                  <a:pt x="1070331" y="21165"/>
                </a:lnTo>
                <a:lnTo>
                  <a:pt x="1068920" y="15481"/>
                </a:lnTo>
                <a:lnTo>
                  <a:pt x="1066078" y="9798"/>
                </a:lnTo>
                <a:lnTo>
                  <a:pt x="1061844" y="5487"/>
                </a:lnTo>
                <a:lnTo>
                  <a:pt x="1057591" y="2743"/>
                </a:lnTo>
                <a:lnTo>
                  <a:pt x="1050535" y="0"/>
                </a:lnTo>
                <a:lnTo>
                  <a:pt x="1037815" y="0"/>
                </a:lnTo>
                <a:lnTo>
                  <a:pt x="1027917" y="2743"/>
                </a:lnTo>
                <a:lnTo>
                  <a:pt x="1001045" y="9798"/>
                </a:lnTo>
                <a:lnTo>
                  <a:pt x="960042" y="21165"/>
                </a:lnTo>
                <a:lnTo>
                  <a:pt x="906318" y="35275"/>
                </a:lnTo>
                <a:lnTo>
                  <a:pt x="842696" y="52128"/>
                </a:lnTo>
                <a:lnTo>
                  <a:pt x="771998" y="70550"/>
                </a:lnTo>
                <a:lnTo>
                  <a:pt x="695636" y="90343"/>
                </a:lnTo>
                <a:lnTo>
                  <a:pt x="617883" y="111508"/>
                </a:lnTo>
                <a:lnTo>
                  <a:pt x="538698" y="132674"/>
                </a:lnTo>
                <a:lnTo>
                  <a:pt x="462356" y="152447"/>
                </a:lnTo>
                <a:lnTo>
                  <a:pt x="391658" y="170810"/>
                </a:lnTo>
                <a:lnTo>
                  <a:pt x="328017" y="187762"/>
                </a:lnTo>
                <a:lnTo>
                  <a:pt x="272882" y="201872"/>
                </a:lnTo>
                <a:lnTo>
                  <a:pt x="231878" y="213180"/>
                </a:lnTo>
                <a:lnTo>
                  <a:pt x="203595" y="220235"/>
                </a:lnTo>
                <a:close/>
              </a:path>
            </a:pathLst>
          </a:custGeom>
          <a:solidFill>
            <a:srgbClr val="000000"/>
          </a:solidFill>
        </p:spPr>
        <p:txBody>
          <a:bodyPr wrap="square" lIns="0" tIns="0" rIns="0" bIns="0" rtlCol="0">
            <a:noAutofit/>
          </a:bodyPr>
          <a:lstStyle/>
          <a:p>
            <a:endParaRPr/>
          </a:p>
        </p:txBody>
      </p:sp>
      <p:sp>
        <p:nvSpPr>
          <p:cNvPr id="29" name="object 29"/>
          <p:cNvSpPr/>
          <p:nvPr/>
        </p:nvSpPr>
        <p:spPr>
          <a:xfrm>
            <a:off x="2130696" y="3538977"/>
            <a:ext cx="951565" cy="420833"/>
          </a:xfrm>
          <a:custGeom>
            <a:avLst/>
            <a:gdLst/>
            <a:ahLst/>
            <a:cxnLst/>
            <a:rect l="l" t="t" r="r" b="b"/>
            <a:pathLst>
              <a:path w="951565" h="420833">
                <a:moveTo>
                  <a:pt x="18384" y="266876"/>
                </a:moveTo>
                <a:lnTo>
                  <a:pt x="18384" y="269698"/>
                </a:lnTo>
                <a:lnTo>
                  <a:pt x="19796" y="273931"/>
                </a:lnTo>
                <a:lnTo>
                  <a:pt x="24029" y="285239"/>
                </a:lnTo>
                <a:lnTo>
                  <a:pt x="26871" y="296527"/>
                </a:lnTo>
                <a:lnTo>
                  <a:pt x="29694" y="309246"/>
                </a:lnTo>
                <a:lnTo>
                  <a:pt x="29694" y="320554"/>
                </a:lnTo>
                <a:lnTo>
                  <a:pt x="26871" y="343149"/>
                </a:lnTo>
                <a:lnTo>
                  <a:pt x="21207" y="362923"/>
                </a:lnTo>
                <a:lnTo>
                  <a:pt x="11309" y="382697"/>
                </a:lnTo>
                <a:lnTo>
                  <a:pt x="0" y="398237"/>
                </a:lnTo>
                <a:lnTo>
                  <a:pt x="48079" y="406703"/>
                </a:lnTo>
                <a:lnTo>
                  <a:pt x="96138" y="412348"/>
                </a:lnTo>
                <a:lnTo>
                  <a:pt x="142806" y="416600"/>
                </a:lnTo>
                <a:lnTo>
                  <a:pt x="188043" y="419422"/>
                </a:lnTo>
                <a:lnTo>
                  <a:pt x="231869" y="420833"/>
                </a:lnTo>
                <a:lnTo>
                  <a:pt x="274303" y="420833"/>
                </a:lnTo>
                <a:lnTo>
                  <a:pt x="316717" y="419422"/>
                </a:lnTo>
                <a:lnTo>
                  <a:pt x="357721" y="416600"/>
                </a:lnTo>
                <a:lnTo>
                  <a:pt x="395882" y="412348"/>
                </a:lnTo>
                <a:lnTo>
                  <a:pt x="434063" y="406703"/>
                </a:lnTo>
                <a:lnTo>
                  <a:pt x="470833" y="401059"/>
                </a:lnTo>
                <a:lnTo>
                  <a:pt x="506172" y="392574"/>
                </a:lnTo>
                <a:lnTo>
                  <a:pt x="541531" y="384108"/>
                </a:lnTo>
                <a:lnTo>
                  <a:pt x="574047" y="375622"/>
                </a:lnTo>
                <a:lnTo>
                  <a:pt x="606564" y="365745"/>
                </a:lnTo>
                <a:lnTo>
                  <a:pt x="637669" y="355848"/>
                </a:lnTo>
                <a:lnTo>
                  <a:pt x="665952" y="344560"/>
                </a:lnTo>
                <a:lnTo>
                  <a:pt x="694215" y="333253"/>
                </a:lnTo>
                <a:lnTo>
                  <a:pt x="721087" y="321965"/>
                </a:lnTo>
                <a:lnTo>
                  <a:pt x="746548" y="309246"/>
                </a:lnTo>
                <a:lnTo>
                  <a:pt x="770577" y="296527"/>
                </a:lnTo>
                <a:lnTo>
                  <a:pt x="794607" y="285239"/>
                </a:lnTo>
                <a:lnTo>
                  <a:pt x="815814" y="272520"/>
                </a:lnTo>
                <a:lnTo>
                  <a:pt x="835610" y="261232"/>
                </a:lnTo>
                <a:lnTo>
                  <a:pt x="855406" y="248514"/>
                </a:lnTo>
                <a:lnTo>
                  <a:pt x="873791" y="237206"/>
                </a:lnTo>
                <a:lnTo>
                  <a:pt x="889334" y="225918"/>
                </a:lnTo>
                <a:lnTo>
                  <a:pt x="904897" y="214610"/>
                </a:lnTo>
                <a:lnTo>
                  <a:pt x="919028" y="204733"/>
                </a:lnTo>
                <a:lnTo>
                  <a:pt x="930338" y="194836"/>
                </a:lnTo>
                <a:lnTo>
                  <a:pt x="941666" y="186370"/>
                </a:lnTo>
                <a:lnTo>
                  <a:pt x="951565" y="177885"/>
                </a:lnTo>
                <a:lnTo>
                  <a:pt x="938824" y="155289"/>
                </a:lnTo>
                <a:lnTo>
                  <a:pt x="930338" y="125638"/>
                </a:lnTo>
                <a:lnTo>
                  <a:pt x="926104" y="93146"/>
                </a:lnTo>
                <a:lnTo>
                  <a:pt x="924693" y="57812"/>
                </a:lnTo>
                <a:lnTo>
                  <a:pt x="924693" y="43702"/>
                </a:lnTo>
                <a:lnTo>
                  <a:pt x="926104" y="28220"/>
                </a:lnTo>
                <a:lnTo>
                  <a:pt x="926104" y="14110"/>
                </a:lnTo>
                <a:lnTo>
                  <a:pt x="927515" y="0"/>
                </a:lnTo>
                <a:lnTo>
                  <a:pt x="907719" y="5487"/>
                </a:lnTo>
                <a:lnTo>
                  <a:pt x="873791" y="14110"/>
                </a:lnTo>
                <a:lnTo>
                  <a:pt x="827124" y="26848"/>
                </a:lnTo>
                <a:lnTo>
                  <a:pt x="771988" y="40958"/>
                </a:lnTo>
                <a:lnTo>
                  <a:pt x="709778" y="57812"/>
                </a:lnTo>
                <a:lnTo>
                  <a:pt x="641903" y="74783"/>
                </a:lnTo>
                <a:lnTo>
                  <a:pt x="569794" y="94557"/>
                </a:lnTo>
                <a:lnTo>
                  <a:pt x="497685" y="112919"/>
                </a:lnTo>
                <a:lnTo>
                  <a:pt x="425576" y="132693"/>
                </a:lnTo>
                <a:lnTo>
                  <a:pt x="356310" y="151056"/>
                </a:lnTo>
                <a:lnTo>
                  <a:pt x="292668" y="168008"/>
                </a:lnTo>
                <a:lnTo>
                  <a:pt x="236122" y="182137"/>
                </a:lnTo>
                <a:lnTo>
                  <a:pt x="188043" y="194836"/>
                </a:lnTo>
                <a:lnTo>
                  <a:pt x="151293" y="204733"/>
                </a:lnTo>
                <a:lnTo>
                  <a:pt x="127243" y="210377"/>
                </a:lnTo>
                <a:lnTo>
                  <a:pt x="118756" y="213199"/>
                </a:lnTo>
                <a:lnTo>
                  <a:pt x="117345" y="214610"/>
                </a:lnTo>
                <a:lnTo>
                  <a:pt x="114523" y="214610"/>
                </a:lnTo>
                <a:lnTo>
                  <a:pt x="101802" y="216021"/>
                </a:lnTo>
                <a:lnTo>
                  <a:pt x="89082" y="218843"/>
                </a:lnTo>
                <a:lnTo>
                  <a:pt x="74931" y="221685"/>
                </a:lnTo>
                <a:lnTo>
                  <a:pt x="60799" y="225918"/>
                </a:lnTo>
                <a:lnTo>
                  <a:pt x="46648" y="231562"/>
                </a:lnTo>
                <a:lnTo>
                  <a:pt x="35338" y="237206"/>
                </a:lnTo>
                <a:lnTo>
                  <a:pt x="26871" y="244281"/>
                </a:lnTo>
                <a:lnTo>
                  <a:pt x="19796" y="251336"/>
                </a:lnTo>
                <a:lnTo>
                  <a:pt x="18384" y="254158"/>
                </a:lnTo>
                <a:lnTo>
                  <a:pt x="18384" y="255569"/>
                </a:lnTo>
                <a:lnTo>
                  <a:pt x="16973" y="258391"/>
                </a:lnTo>
                <a:lnTo>
                  <a:pt x="16973" y="264054"/>
                </a:lnTo>
                <a:lnTo>
                  <a:pt x="18384" y="266876"/>
                </a:lnTo>
                <a:close/>
              </a:path>
            </a:pathLst>
          </a:custGeom>
          <a:solidFill>
            <a:srgbClr val="6B0000"/>
          </a:solidFill>
        </p:spPr>
        <p:txBody>
          <a:bodyPr wrap="square" lIns="0" tIns="0" rIns="0" bIns="0" rtlCol="0">
            <a:noAutofit/>
          </a:bodyPr>
          <a:lstStyle/>
          <a:p>
            <a:endParaRPr/>
          </a:p>
        </p:txBody>
      </p:sp>
      <p:sp>
        <p:nvSpPr>
          <p:cNvPr id="30" name="object 30"/>
          <p:cNvSpPr/>
          <p:nvPr/>
        </p:nvSpPr>
        <p:spPr>
          <a:xfrm>
            <a:off x="2150492" y="4918846"/>
            <a:ext cx="632005" cy="348872"/>
          </a:xfrm>
          <a:custGeom>
            <a:avLst/>
            <a:gdLst/>
            <a:ahLst/>
            <a:cxnLst/>
            <a:rect l="l" t="t" r="r" b="b"/>
            <a:pathLst>
              <a:path w="632005" h="348872">
                <a:moveTo>
                  <a:pt x="561307" y="0"/>
                </a:moveTo>
                <a:lnTo>
                  <a:pt x="554251" y="0"/>
                </a:lnTo>
                <a:lnTo>
                  <a:pt x="548587" y="2822"/>
                </a:lnTo>
                <a:lnTo>
                  <a:pt x="542942" y="7055"/>
                </a:lnTo>
                <a:lnTo>
                  <a:pt x="540100" y="14110"/>
                </a:lnTo>
                <a:lnTo>
                  <a:pt x="538689" y="19773"/>
                </a:lnTo>
                <a:lnTo>
                  <a:pt x="540100" y="22595"/>
                </a:lnTo>
                <a:lnTo>
                  <a:pt x="540100" y="25417"/>
                </a:lnTo>
                <a:lnTo>
                  <a:pt x="542942" y="32472"/>
                </a:lnTo>
                <a:lnTo>
                  <a:pt x="548587" y="53657"/>
                </a:lnTo>
                <a:lnTo>
                  <a:pt x="555662" y="83327"/>
                </a:lnTo>
                <a:lnTo>
                  <a:pt x="565560" y="115820"/>
                </a:lnTo>
                <a:lnTo>
                  <a:pt x="574047" y="151115"/>
                </a:lnTo>
                <a:lnTo>
                  <a:pt x="582534" y="180785"/>
                </a:lnTo>
                <a:lnTo>
                  <a:pt x="589590" y="203381"/>
                </a:lnTo>
                <a:lnTo>
                  <a:pt x="592412" y="214689"/>
                </a:lnTo>
                <a:lnTo>
                  <a:pt x="588179" y="228799"/>
                </a:lnTo>
                <a:lnTo>
                  <a:pt x="582534" y="255647"/>
                </a:lnTo>
                <a:lnTo>
                  <a:pt x="575458" y="285298"/>
                </a:lnTo>
                <a:lnTo>
                  <a:pt x="569794" y="309305"/>
                </a:lnTo>
                <a:lnTo>
                  <a:pt x="60799" y="309305"/>
                </a:lnTo>
                <a:lnTo>
                  <a:pt x="56546" y="289531"/>
                </a:lnTo>
                <a:lnTo>
                  <a:pt x="49490" y="266935"/>
                </a:lnTo>
                <a:lnTo>
                  <a:pt x="43825" y="245750"/>
                </a:lnTo>
                <a:lnTo>
                  <a:pt x="41003" y="233051"/>
                </a:lnTo>
                <a:lnTo>
                  <a:pt x="45237" y="220333"/>
                </a:lnTo>
                <a:lnTo>
                  <a:pt x="55135" y="196326"/>
                </a:lnTo>
                <a:lnTo>
                  <a:pt x="66444" y="162422"/>
                </a:lnTo>
                <a:lnTo>
                  <a:pt x="80595" y="125697"/>
                </a:lnTo>
                <a:lnTo>
                  <a:pt x="94727" y="88972"/>
                </a:lnTo>
                <a:lnTo>
                  <a:pt x="106036" y="57910"/>
                </a:lnTo>
                <a:lnTo>
                  <a:pt x="114523" y="35314"/>
                </a:lnTo>
                <a:lnTo>
                  <a:pt x="117345" y="26828"/>
                </a:lnTo>
                <a:lnTo>
                  <a:pt x="118756" y="25417"/>
                </a:lnTo>
                <a:lnTo>
                  <a:pt x="118756" y="19773"/>
                </a:lnTo>
                <a:lnTo>
                  <a:pt x="115934" y="8466"/>
                </a:lnTo>
                <a:lnTo>
                  <a:pt x="106036" y="1411"/>
                </a:lnTo>
                <a:lnTo>
                  <a:pt x="98960" y="0"/>
                </a:lnTo>
                <a:lnTo>
                  <a:pt x="91904" y="1411"/>
                </a:lnTo>
                <a:lnTo>
                  <a:pt x="84829" y="5644"/>
                </a:lnTo>
                <a:lnTo>
                  <a:pt x="80595" y="12699"/>
                </a:lnTo>
                <a:lnTo>
                  <a:pt x="1411" y="224566"/>
                </a:lnTo>
                <a:lnTo>
                  <a:pt x="0" y="227388"/>
                </a:lnTo>
                <a:lnTo>
                  <a:pt x="0" y="237284"/>
                </a:lnTo>
                <a:lnTo>
                  <a:pt x="26852" y="334742"/>
                </a:lnTo>
                <a:lnTo>
                  <a:pt x="29694" y="340386"/>
                </a:lnTo>
                <a:lnTo>
                  <a:pt x="33927" y="344619"/>
                </a:lnTo>
                <a:lnTo>
                  <a:pt x="39592" y="347441"/>
                </a:lnTo>
                <a:lnTo>
                  <a:pt x="46648" y="348872"/>
                </a:lnTo>
                <a:lnTo>
                  <a:pt x="585356" y="348872"/>
                </a:lnTo>
                <a:lnTo>
                  <a:pt x="605152" y="333331"/>
                </a:lnTo>
                <a:lnTo>
                  <a:pt x="632005" y="218922"/>
                </a:lnTo>
                <a:lnTo>
                  <a:pt x="632005" y="209025"/>
                </a:lnTo>
                <a:lnTo>
                  <a:pt x="578281" y="14110"/>
                </a:lnTo>
                <a:lnTo>
                  <a:pt x="574047" y="7055"/>
                </a:lnTo>
                <a:lnTo>
                  <a:pt x="568383" y="2822"/>
                </a:lnTo>
                <a:lnTo>
                  <a:pt x="561307" y="0"/>
                </a:lnTo>
                <a:close/>
              </a:path>
            </a:pathLst>
          </a:custGeom>
          <a:solidFill>
            <a:srgbClr val="000000"/>
          </a:solidFill>
        </p:spPr>
        <p:txBody>
          <a:bodyPr wrap="square" lIns="0" tIns="0" rIns="0" bIns="0" rtlCol="0">
            <a:noAutofit/>
          </a:bodyPr>
          <a:lstStyle/>
          <a:p>
            <a:endParaRPr/>
          </a:p>
        </p:txBody>
      </p:sp>
      <p:sp>
        <p:nvSpPr>
          <p:cNvPr id="31" name="object 31"/>
          <p:cNvSpPr/>
          <p:nvPr/>
        </p:nvSpPr>
        <p:spPr>
          <a:xfrm>
            <a:off x="2082619" y="5471098"/>
            <a:ext cx="118772" cy="86157"/>
          </a:xfrm>
          <a:custGeom>
            <a:avLst/>
            <a:gdLst/>
            <a:ahLst/>
            <a:cxnLst/>
            <a:rect l="l" t="t" r="r" b="b"/>
            <a:pathLst>
              <a:path w="118772" h="86157">
                <a:moveTo>
                  <a:pt x="56561" y="0"/>
                </a:moveTo>
                <a:lnTo>
                  <a:pt x="43821" y="1412"/>
                </a:lnTo>
                <a:lnTo>
                  <a:pt x="32512" y="5649"/>
                </a:lnTo>
                <a:lnTo>
                  <a:pt x="24045" y="9886"/>
                </a:lnTo>
                <a:lnTo>
                  <a:pt x="15552" y="15536"/>
                </a:lnTo>
                <a:lnTo>
                  <a:pt x="8482" y="22597"/>
                </a:lnTo>
                <a:lnTo>
                  <a:pt x="2828" y="29660"/>
                </a:lnTo>
                <a:lnTo>
                  <a:pt x="0" y="38134"/>
                </a:lnTo>
                <a:lnTo>
                  <a:pt x="0" y="46610"/>
                </a:lnTo>
                <a:lnTo>
                  <a:pt x="1415" y="53671"/>
                </a:lnTo>
                <a:lnTo>
                  <a:pt x="4241" y="60734"/>
                </a:lnTo>
                <a:lnTo>
                  <a:pt x="8482" y="66384"/>
                </a:lnTo>
                <a:lnTo>
                  <a:pt x="12726" y="72033"/>
                </a:lnTo>
                <a:lnTo>
                  <a:pt x="18380" y="74858"/>
                </a:lnTo>
                <a:lnTo>
                  <a:pt x="22614" y="79095"/>
                </a:lnTo>
                <a:lnTo>
                  <a:pt x="29690" y="81920"/>
                </a:lnTo>
                <a:lnTo>
                  <a:pt x="35354" y="83332"/>
                </a:lnTo>
                <a:lnTo>
                  <a:pt x="42410" y="84745"/>
                </a:lnTo>
                <a:lnTo>
                  <a:pt x="48075" y="86157"/>
                </a:lnTo>
                <a:lnTo>
                  <a:pt x="62206" y="86157"/>
                </a:lnTo>
                <a:lnTo>
                  <a:pt x="74946" y="84745"/>
                </a:lnTo>
                <a:lnTo>
                  <a:pt x="86256" y="80507"/>
                </a:lnTo>
                <a:lnTo>
                  <a:pt x="96154" y="76270"/>
                </a:lnTo>
                <a:lnTo>
                  <a:pt x="104621" y="70621"/>
                </a:lnTo>
                <a:lnTo>
                  <a:pt x="111697" y="63558"/>
                </a:lnTo>
                <a:lnTo>
                  <a:pt x="115950" y="56497"/>
                </a:lnTo>
                <a:lnTo>
                  <a:pt x="118772" y="48021"/>
                </a:lnTo>
                <a:lnTo>
                  <a:pt x="118772" y="38134"/>
                </a:lnTo>
                <a:lnTo>
                  <a:pt x="117361" y="29660"/>
                </a:lnTo>
                <a:lnTo>
                  <a:pt x="113108" y="21186"/>
                </a:lnTo>
                <a:lnTo>
                  <a:pt x="107463" y="14123"/>
                </a:lnTo>
                <a:lnTo>
                  <a:pt x="100387" y="8473"/>
                </a:lnTo>
                <a:lnTo>
                  <a:pt x="90489" y="4236"/>
                </a:lnTo>
                <a:lnTo>
                  <a:pt x="80591" y="1412"/>
                </a:lnTo>
                <a:lnTo>
                  <a:pt x="69282" y="0"/>
                </a:lnTo>
                <a:lnTo>
                  <a:pt x="56561" y="0"/>
                </a:lnTo>
                <a:close/>
              </a:path>
            </a:pathLst>
          </a:custGeom>
          <a:solidFill>
            <a:srgbClr val="000000"/>
          </a:solidFill>
        </p:spPr>
        <p:txBody>
          <a:bodyPr wrap="square" lIns="0" tIns="0" rIns="0" bIns="0" rtlCol="0">
            <a:noAutofit/>
          </a:bodyPr>
          <a:lstStyle/>
          <a:p>
            <a:endParaRPr/>
          </a:p>
        </p:txBody>
      </p:sp>
      <p:sp>
        <p:nvSpPr>
          <p:cNvPr id="32" name="object 32"/>
          <p:cNvSpPr/>
          <p:nvPr/>
        </p:nvSpPr>
        <p:spPr>
          <a:xfrm>
            <a:off x="2127873" y="4927312"/>
            <a:ext cx="168247" cy="608756"/>
          </a:xfrm>
          <a:custGeom>
            <a:avLst/>
            <a:gdLst/>
            <a:ahLst/>
            <a:cxnLst/>
            <a:rect l="l" t="t" r="r" b="b"/>
            <a:pathLst>
              <a:path w="168247" h="608756">
                <a:moveTo>
                  <a:pt x="128655" y="15540"/>
                </a:moveTo>
                <a:lnTo>
                  <a:pt x="0" y="584746"/>
                </a:lnTo>
                <a:lnTo>
                  <a:pt x="0" y="593219"/>
                </a:lnTo>
                <a:lnTo>
                  <a:pt x="2822" y="600282"/>
                </a:lnTo>
                <a:lnTo>
                  <a:pt x="7056" y="605932"/>
                </a:lnTo>
                <a:lnTo>
                  <a:pt x="14131" y="608756"/>
                </a:lnTo>
                <a:lnTo>
                  <a:pt x="22618" y="608756"/>
                </a:lnTo>
                <a:lnTo>
                  <a:pt x="29694" y="605932"/>
                </a:lnTo>
                <a:lnTo>
                  <a:pt x="35338" y="601693"/>
                </a:lnTo>
                <a:lnTo>
                  <a:pt x="38161" y="594632"/>
                </a:lnTo>
                <a:lnTo>
                  <a:pt x="168247" y="24006"/>
                </a:lnTo>
                <a:lnTo>
                  <a:pt x="168247" y="16951"/>
                </a:lnTo>
                <a:lnTo>
                  <a:pt x="165424" y="9896"/>
                </a:lnTo>
                <a:lnTo>
                  <a:pt x="159760" y="4233"/>
                </a:lnTo>
                <a:lnTo>
                  <a:pt x="152684" y="0"/>
                </a:lnTo>
                <a:lnTo>
                  <a:pt x="144217" y="0"/>
                </a:lnTo>
                <a:lnTo>
                  <a:pt x="137141" y="2822"/>
                </a:lnTo>
                <a:lnTo>
                  <a:pt x="131477" y="8485"/>
                </a:lnTo>
                <a:lnTo>
                  <a:pt x="128655" y="15540"/>
                </a:lnTo>
                <a:close/>
              </a:path>
            </a:pathLst>
          </a:custGeom>
          <a:solidFill>
            <a:srgbClr val="000000"/>
          </a:solidFill>
        </p:spPr>
        <p:txBody>
          <a:bodyPr wrap="square" lIns="0" tIns="0" rIns="0" bIns="0" rtlCol="0">
            <a:noAutofit/>
          </a:bodyPr>
          <a:lstStyle/>
          <a:p>
            <a:endParaRPr/>
          </a:p>
        </p:txBody>
      </p:sp>
      <p:sp>
        <p:nvSpPr>
          <p:cNvPr id="33" name="object 33"/>
          <p:cNvSpPr/>
          <p:nvPr/>
        </p:nvSpPr>
        <p:spPr>
          <a:xfrm>
            <a:off x="1938402" y="4060091"/>
            <a:ext cx="903482" cy="903947"/>
          </a:xfrm>
          <a:custGeom>
            <a:avLst/>
            <a:gdLst/>
            <a:ahLst/>
            <a:cxnLst/>
            <a:rect l="l" t="t" r="r" b="b"/>
            <a:pathLst>
              <a:path w="903482" h="903947">
                <a:moveTo>
                  <a:pt x="151287" y="242928"/>
                </a:moveTo>
                <a:lnTo>
                  <a:pt x="124423" y="135594"/>
                </a:lnTo>
                <a:lnTo>
                  <a:pt x="106042" y="60732"/>
                </a:lnTo>
                <a:lnTo>
                  <a:pt x="98972" y="32492"/>
                </a:lnTo>
                <a:lnTo>
                  <a:pt x="96144" y="29650"/>
                </a:lnTo>
                <a:lnTo>
                  <a:pt x="94731" y="26828"/>
                </a:lnTo>
                <a:lnTo>
                  <a:pt x="91902" y="22595"/>
                </a:lnTo>
                <a:lnTo>
                  <a:pt x="87661" y="18362"/>
                </a:lnTo>
                <a:lnTo>
                  <a:pt x="82006" y="12718"/>
                </a:lnTo>
                <a:lnTo>
                  <a:pt x="74937" y="7055"/>
                </a:lnTo>
                <a:lnTo>
                  <a:pt x="66452" y="2822"/>
                </a:lnTo>
                <a:lnTo>
                  <a:pt x="56556" y="0"/>
                </a:lnTo>
                <a:lnTo>
                  <a:pt x="46658" y="0"/>
                </a:lnTo>
                <a:lnTo>
                  <a:pt x="41003" y="1411"/>
                </a:lnTo>
                <a:lnTo>
                  <a:pt x="36761" y="1411"/>
                </a:lnTo>
                <a:lnTo>
                  <a:pt x="31105" y="4233"/>
                </a:lnTo>
                <a:lnTo>
                  <a:pt x="25450" y="7055"/>
                </a:lnTo>
                <a:lnTo>
                  <a:pt x="19794" y="11288"/>
                </a:lnTo>
                <a:lnTo>
                  <a:pt x="14139" y="16951"/>
                </a:lnTo>
                <a:lnTo>
                  <a:pt x="9896" y="22595"/>
                </a:lnTo>
                <a:lnTo>
                  <a:pt x="4241" y="31061"/>
                </a:lnTo>
                <a:lnTo>
                  <a:pt x="0" y="35314"/>
                </a:lnTo>
                <a:lnTo>
                  <a:pt x="132906" y="795182"/>
                </a:lnTo>
                <a:lnTo>
                  <a:pt x="132906" y="790949"/>
                </a:lnTo>
                <a:lnTo>
                  <a:pt x="134321" y="805079"/>
                </a:lnTo>
                <a:lnTo>
                  <a:pt x="145632" y="837571"/>
                </a:lnTo>
                <a:lnTo>
                  <a:pt x="173907" y="871455"/>
                </a:lnTo>
                <a:lnTo>
                  <a:pt x="221986" y="896892"/>
                </a:lnTo>
                <a:lnTo>
                  <a:pt x="255914" y="903947"/>
                </a:lnTo>
                <a:lnTo>
                  <a:pt x="892172" y="903947"/>
                </a:lnTo>
                <a:lnTo>
                  <a:pt x="897837" y="891229"/>
                </a:lnTo>
                <a:lnTo>
                  <a:pt x="900659" y="882763"/>
                </a:lnTo>
                <a:lnTo>
                  <a:pt x="903482" y="871455"/>
                </a:lnTo>
                <a:lnTo>
                  <a:pt x="903482" y="858756"/>
                </a:lnTo>
                <a:lnTo>
                  <a:pt x="899248" y="833318"/>
                </a:lnTo>
                <a:lnTo>
                  <a:pt x="882274" y="809312"/>
                </a:lnTo>
                <a:lnTo>
                  <a:pt x="856833" y="795182"/>
                </a:lnTo>
                <a:lnTo>
                  <a:pt x="812988" y="789538"/>
                </a:lnTo>
                <a:lnTo>
                  <a:pt x="783294" y="786716"/>
                </a:lnTo>
                <a:lnTo>
                  <a:pt x="747955" y="783894"/>
                </a:lnTo>
                <a:lnTo>
                  <a:pt x="709774" y="781072"/>
                </a:lnTo>
                <a:lnTo>
                  <a:pt x="668770" y="778250"/>
                </a:lnTo>
                <a:lnTo>
                  <a:pt x="626356" y="775408"/>
                </a:lnTo>
                <a:lnTo>
                  <a:pt x="582530" y="773997"/>
                </a:lnTo>
                <a:lnTo>
                  <a:pt x="538704" y="772586"/>
                </a:lnTo>
                <a:lnTo>
                  <a:pt x="494859" y="769764"/>
                </a:lnTo>
                <a:lnTo>
                  <a:pt x="453855" y="768353"/>
                </a:lnTo>
                <a:lnTo>
                  <a:pt x="415694" y="766942"/>
                </a:lnTo>
                <a:lnTo>
                  <a:pt x="380335" y="765531"/>
                </a:lnTo>
                <a:lnTo>
                  <a:pt x="350641" y="765531"/>
                </a:lnTo>
                <a:lnTo>
                  <a:pt x="325200" y="764120"/>
                </a:lnTo>
                <a:lnTo>
                  <a:pt x="319536" y="764120"/>
                </a:lnTo>
                <a:lnTo>
                  <a:pt x="316714" y="766942"/>
                </a:lnTo>
                <a:lnTo>
                  <a:pt x="308227" y="766942"/>
                </a:lnTo>
                <a:lnTo>
                  <a:pt x="301151" y="762709"/>
                </a:lnTo>
                <a:lnTo>
                  <a:pt x="296917" y="758476"/>
                </a:lnTo>
                <a:lnTo>
                  <a:pt x="291273" y="751401"/>
                </a:lnTo>
                <a:lnTo>
                  <a:pt x="285608" y="742935"/>
                </a:lnTo>
                <a:lnTo>
                  <a:pt x="278533" y="731628"/>
                </a:lnTo>
                <a:lnTo>
                  <a:pt x="271477" y="717498"/>
                </a:lnTo>
                <a:lnTo>
                  <a:pt x="264401" y="699155"/>
                </a:lnTo>
                <a:lnTo>
                  <a:pt x="257325" y="669484"/>
                </a:lnTo>
                <a:lnTo>
                  <a:pt x="238940" y="593212"/>
                </a:lnTo>
                <a:lnTo>
                  <a:pt x="212088" y="487288"/>
                </a:lnTo>
                <a:lnTo>
                  <a:pt x="182394" y="364393"/>
                </a:lnTo>
                <a:lnTo>
                  <a:pt x="151287" y="242928"/>
                </a:lnTo>
                <a:close/>
              </a:path>
            </a:pathLst>
          </a:custGeom>
          <a:solidFill>
            <a:srgbClr val="000000"/>
          </a:solidFill>
        </p:spPr>
        <p:txBody>
          <a:bodyPr wrap="square" lIns="0" tIns="0" rIns="0" bIns="0" rtlCol="0">
            <a:noAutofit/>
          </a:bodyPr>
          <a:lstStyle/>
          <a:p>
            <a:endParaRPr/>
          </a:p>
        </p:txBody>
      </p:sp>
      <p:sp>
        <p:nvSpPr>
          <p:cNvPr id="34" name="object 34"/>
          <p:cNvSpPr/>
          <p:nvPr/>
        </p:nvSpPr>
        <p:spPr>
          <a:xfrm>
            <a:off x="1980819" y="4098226"/>
            <a:ext cx="822884" cy="824852"/>
          </a:xfrm>
          <a:custGeom>
            <a:avLst/>
            <a:gdLst/>
            <a:ahLst/>
            <a:cxnLst/>
            <a:rect l="l" t="t" r="r" b="b"/>
            <a:pathLst>
              <a:path w="822884" h="824852">
                <a:moveTo>
                  <a:pt x="7069" y="42369"/>
                </a:moveTo>
                <a:lnTo>
                  <a:pt x="21209" y="128519"/>
                </a:lnTo>
                <a:lnTo>
                  <a:pt x="42416" y="248592"/>
                </a:lnTo>
                <a:lnTo>
                  <a:pt x="66454" y="384167"/>
                </a:lnTo>
                <a:lnTo>
                  <a:pt x="89076" y="518350"/>
                </a:lnTo>
                <a:lnTo>
                  <a:pt x="110283" y="635581"/>
                </a:lnTo>
                <a:lnTo>
                  <a:pt x="124415" y="718929"/>
                </a:lnTo>
                <a:lnTo>
                  <a:pt x="130079" y="749990"/>
                </a:lnTo>
                <a:lnTo>
                  <a:pt x="130079" y="752812"/>
                </a:lnTo>
                <a:lnTo>
                  <a:pt x="131491" y="757045"/>
                </a:lnTo>
                <a:lnTo>
                  <a:pt x="132902" y="765531"/>
                </a:lnTo>
                <a:lnTo>
                  <a:pt x="142800" y="788127"/>
                </a:lnTo>
                <a:lnTo>
                  <a:pt x="169672" y="810723"/>
                </a:lnTo>
                <a:lnTo>
                  <a:pt x="217751" y="824852"/>
                </a:lnTo>
                <a:lnTo>
                  <a:pt x="821473" y="824852"/>
                </a:lnTo>
                <a:lnTo>
                  <a:pt x="821473" y="823441"/>
                </a:lnTo>
                <a:lnTo>
                  <a:pt x="822884" y="820619"/>
                </a:lnTo>
                <a:lnTo>
                  <a:pt x="822884" y="813545"/>
                </a:lnTo>
                <a:lnTo>
                  <a:pt x="820062" y="807901"/>
                </a:lnTo>
                <a:lnTo>
                  <a:pt x="815828" y="802257"/>
                </a:lnTo>
                <a:lnTo>
                  <a:pt x="808752" y="798024"/>
                </a:lnTo>
                <a:lnTo>
                  <a:pt x="801677" y="795182"/>
                </a:lnTo>
                <a:lnTo>
                  <a:pt x="787545" y="793771"/>
                </a:lnTo>
                <a:lnTo>
                  <a:pt x="770571" y="790949"/>
                </a:lnTo>
                <a:lnTo>
                  <a:pt x="749364" y="788127"/>
                </a:lnTo>
                <a:lnTo>
                  <a:pt x="722512" y="786716"/>
                </a:lnTo>
                <a:lnTo>
                  <a:pt x="692818" y="783894"/>
                </a:lnTo>
                <a:lnTo>
                  <a:pt x="660301" y="782483"/>
                </a:lnTo>
                <a:lnTo>
                  <a:pt x="624943" y="779661"/>
                </a:lnTo>
                <a:lnTo>
                  <a:pt x="586762" y="778250"/>
                </a:lnTo>
                <a:lnTo>
                  <a:pt x="547189" y="775408"/>
                </a:lnTo>
                <a:lnTo>
                  <a:pt x="506186" y="773997"/>
                </a:lnTo>
                <a:lnTo>
                  <a:pt x="463751" y="772586"/>
                </a:lnTo>
                <a:lnTo>
                  <a:pt x="419926" y="771175"/>
                </a:lnTo>
                <a:lnTo>
                  <a:pt x="374689" y="769764"/>
                </a:lnTo>
                <a:lnTo>
                  <a:pt x="330863" y="768353"/>
                </a:lnTo>
                <a:lnTo>
                  <a:pt x="287017" y="766942"/>
                </a:lnTo>
                <a:lnTo>
                  <a:pt x="281373" y="768353"/>
                </a:lnTo>
                <a:lnTo>
                  <a:pt x="272886" y="769764"/>
                </a:lnTo>
                <a:lnTo>
                  <a:pt x="264399" y="769764"/>
                </a:lnTo>
                <a:lnTo>
                  <a:pt x="254501" y="766942"/>
                </a:lnTo>
                <a:lnTo>
                  <a:pt x="244603" y="762709"/>
                </a:lnTo>
                <a:lnTo>
                  <a:pt x="234705" y="757045"/>
                </a:lnTo>
                <a:lnTo>
                  <a:pt x="226218" y="748579"/>
                </a:lnTo>
                <a:lnTo>
                  <a:pt x="216320" y="737272"/>
                </a:lnTo>
                <a:lnTo>
                  <a:pt x="207853" y="724573"/>
                </a:lnTo>
                <a:lnTo>
                  <a:pt x="199366" y="710443"/>
                </a:lnTo>
                <a:lnTo>
                  <a:pt x="190879" y="693491"/>
                </a:lnTo>
                <a:lnTo>
                  <a:pt x="183803" y="675129"/>
                </a:lnTo>
                <a:lnTo>
                  <a:pt x="183803" y="673718"/>
                </a:lnTo>
                <a:lnTo>
                  <a:pt x="176747" y="645478"/>
                </a:lnTo>
                <a:lnTo>
                  <a:pt x="158362" y="572027"/>
                </a:lnTo>
                <a:lnTo>
                  <a:pt x="132902" y="466103"/>
                </a:lnTo>
                <a:lnTo>
                  <a:pt x="103216" y="346030"/>
                </a:lnTo>
                <a:lnTo>
                  <a:pt x="73523" y="224566"/>
                </a:lnTo>
                <a:lnTo>
                  <a:pt x="46658" y="118642"/>
                </a:lnTo>
                <a:lnTo>
                  <a:pt x="28279" y="42369"/>
                </a:lnTo>
                <a:lnTo>
                  <a:pt x="19794" y="11288"/>
                </a:lnTo>
                <a:lnTo>
                  <a:pt x="15552" y="7055"/>
                </a:lnTo>
                <a:lnTo>
                  <a:pt x="12724" y="2822"/>
                </a:lnTo>
                <a:lnTo>
                  <a:pt x="8482" y="1411"/>
                </a:lnTo>
                <a:lnTo>
                  <a:pt x="5656" y="0"/>
                </a:lnTo>
                <a:lnTo>
                  <a:pt x="2828" y="2822"/>
                </a:lnTo>
                <a:lnTo>
                  <a:pt x="0" y="5644"/>
                </a:lnTo>
                <a:lnTo>
                  <a:pt x="7069" y="42369"/>
                </a:lnTo>
                <a:close/>
              </a:path>
            </a:pathLst>
          </a:custGeom>
          <a:solidFill>
            <a:srgbClr val="D5CCB1"/>
          </a:solidFill>
        </p:spPr>
        <p:txBody>
          <a:bodyPr wrap="square" lIns="0" tIns="0" rIns="0" bIns="0" rtlCol="0">
            <a:noAutofit/>
          </a:bodyPr>
          <a:lstStyle/>
          <a:p>
            <a:endParaRPr/>
          </a:p>
        </p:txBody>
      </p:sp>
      <p:sp>
        <p:nvSpPr>
          <p:cNvPr id="35" name="object 35"/>
          <p:cNvSpPr/>
          <p:nvPr/>
        </p:nvSpPr>
        <p:spPr>
          <a:xfrm>
            <a:off x="3687393" y="4373647"/>
            <a:ext cx="309720" cy="1155358"/>
          </a:xfrm>
          <a:custGeom>
            <a:avLst/>
            <a:gdLst/>
            <a:ahLst/>
            <a:cxnLst/>
            <a:rect l="l" t="t" r="r" b="b"/>
            <a:pathLst>
              <a:path w="309720" h="1155358">
                <a:moveTo>
                  <a:pt x="5664" y="5644"/>
                </a:moveTo>
                <a:lnTo>
                  <a:pt x="1430" y="12718"/>
                </a:lnTo>
                <a:lnTo>
                  <a:pt x="0" y="21184"/>
                </a:lnTo>
                <a:lnTo>
                  <a:pt x="1430" y="28239"/>
                </a:lnTo>
                <a:lnTo>
                  <a:pt x="7075" y="33903"/>
                </a:lnTo>
                <a:lnTo>
                  <a:pt x="14151" y="38136"/>
                </a:lnTo>
                <a:lnTo>
                  <a:pt x="29694" y="43780"/>
                </a:lnTo>
                <a:lnTo>
                  <a:pt x="46667" y="50835"/>
                </a:lnTo>
                <a:lnTo>
                  <a:pt x="63641" y="57910"/>
                </a:lnTo>
                <a:lnTo>
                  <a:pt x="80595" y="66376"/>
                </a:lnTo>
                <a:lnTo>
                  <a:pt x="96158" y="76272"/>
                </a:lnTo>
                <a:lnTo>
                  <a:pt x="107467" y="84738"/>
                </a:lnTo>
                <a:lnTo>
                  <a:pt x="117365" y="94635"/>
                </a:lnTo>
                <a:lnTo>
                  <a:pt x="128674" y="139827"/>
                </a:lnTo>
                <a:lnTo>
                  <a:pt x="141395" y="221744"/>
                </a:lnTo>
                <a:lnTo>
                  <a:pt x="158368" y="338975"/>
                </a:lnTo>
                <a:lnTo>
                  <a:pt x="179576" y="481624"/>
                </a:lnTo>
                <a:lnTo>
                  <a:pt x="200744" y="642656"/>
                </a:lnTo>
                <a:lnTo>
                  <a:pt x="224852" y="812134"/>
                </a:lnTo>
                <a:lnTo>
                  <a:pt x="248764" y="980220"/>
                </a:lnTo>
                <a:lnTo>
                  <a:pt x="270128" y="1138410"/>
                </a:lnTo>
                <a:lnTo>
                  <a:pt x="272872" y="1145471"/>
                </a:lnTo>
                <a:lnTo>
                  <a:pt x="277184" y="1151121"/>
                </a:lnTo>
                <a:lnTo>
                  <a:pt x="284240" y="1155358"/>
                </a:lnTo>
                <a:lnTo>
                  <a:pt x="292668" y="1155358"/>
                </a:lnTo>
                <a:lnTo>
                  <a:pt x="299724" y="1152534"/>
                </a:lnTo>
                <a:lnTo>
                  <a:pt x="305408" y="1148297"/>
                </a:lnTo>
                <a:lnTo>
                  <a:pt x="309720" y="1141234"/>
                </a:lnTo>
                <a:lnTo>
                  <a:pt x="309720" y="1132760"/>
                </a:lnTo>
                <a:lnTo>
                  <a:pt x="299724" y="1060726"/>
                </a:lnTo>
                <a:lnTo>
                  <a:pt x="282868" y="933618"/>
                </a:lnTo>
                <a:lnTo>
                  <a:pt x="258760" y="769764"/>
                </a:lnTo>
                <a:lnTo>
                  <a:pt x="234652" y="590390"/>
                </a:lnTo>
                <a:lnTo>
                  <a:pt x="209172" y="412426"/>
                </a:lnTo>
                <a:lnTo>
                  <a:pt x="186632" y="258469"/>
                </a:lnTo>
                <a:lnTo>
                  <a:pt x="169678" y="144060"/>
                </a:lnTo>
                <a:lnTo>
                  <a:pt x="161191" y="91813"/>
                </a:lnTo>
                <a:lnTo>
                  <a:pt x="151293" y="73450"/>
                </a:lnTo>
                <a:lnTo>
                  <a:pt x="135750" y="56499"/>
                </a:lnTo>
                <a:lnTo>
                  <a:pt x="117365" y="42369"/>
                </a:lnTo>
                <a:lnTo>
                  <a:pt x="96158" y="29650"/>
                </a:lnTo>
                <a:lnTo>
                  <a:pt x="73539" y="18362"/>
                </a:lnTo>
                <a:lnTo>
                  <a:pt x="53743" y="9877"/>
                </a:lnTo>
                <a:lnTo>
                  <a:pt x="38180" y="4233"/>
                </a:lnTo>
                <a:lnTo>
                  <a:pt x="26871" y="0"/>
                </a:lnTo>
                <a:lnTo>
                  <a:pt x="18384" y="0"/>
                </a:lnTo>
                <a:lnTo>
                  <a:pt x="11328" y="1411"/>
                </a:lnTo>
                <a:lnTo>
                  <a:pt x="5664" y="5644"/>
                </a:lnTo>
                <a:close/>
              </a:path>
            </a:pathLst>
          </a:custGeom>
          <a:solidFill>
            <a:srgbClr val="000000"/>
          </a:solidFill>
        </p:spPr>
        <p:txBody>
          <a:bodyPr wrap="square" lIns="0" tIns="0" rIns="0" bIns="0" rtlCol="0">
            <a:noAutofit/>
          </a:bodyPr>
          <a:lstStyle/>
          <a:p>
            <a:endParaRPr/>
          </a:p>
        </p:txBody>
      </p:sp>
      <p:sp>
        <p:nvSpPr>
          <p:cNvPr id="36" name="object 36"/>
          <p:cNvSpPr/>
          <p:nvPr/>
        </p:nvSpPr>
        <p:spPr>
          <a:xfrm>
            <a:off x="3444216" y="4375058"/>
            <a:ext cx="151293" cy="1146886"/>
          </a:xfrm>
          <a:custGeom>
            <a:avLst/>
            <a:gdLst/>
            <a:ahLst/>
            <a:cxnLst/>
            <a:rect l="l" t="t" r="r" b="b"/>
            <a:pathLst>
              <a:path w="151293" h="1146886">
                <a:moveTo>
                  <a:pt x="28282" y="1145473"/>
                </a:moveTo>
                <a:lnTo>
                  <a:pt x="33927" y="1141236"/>
                </a:lnTo>
                <a:lnTo>
                  <a:pt x="38161" y="1135586"/>
                </a:lnTo>
                <a:lnTo>
                  <a:pt x="39592" y="1127112"/>
                </a:lnTo>
                <a:lnTo>
                  <a:pt x="39592" y="834749"/>
                </a:lnTo>
                <a:lnTo>
                  <a:pt x="41003" y="511295"/>
                </a:lnTo>
                <a:lnTo>
                  <a:pt x="43825" y="245750"/>
                </a:lnTo>
                <a:lnTo>
                  <a:pt x="45237" y="120053"/>
                </a:lnTo>
                <a:lnTo>
                  <a:pt x="56546" y="100279"/>
                </a:lnTo>
                <a:lnTo>
                  <a:pt x="66444" y="88972"/>
                </a:lnTo>
                <a:lnTo>
                  <a:pt x="80595" y="77683"/>
                </a:lnTo>
                <a:lnTo>
                  <a:pt x="94727" y="66376"/>
                </a:lnTo>
                <a:lnTo>
                  <a:pt x="110289" y="56499"/>
                </a:lnTo>
                <a:lnTo>
                  <a:pt x="125832" y="46602"/>
                </a:lnTo>
                <a:lnTo>
                  <a:pt x="139964" y="38136"/>
                </a:lnTo>
                <a:lnTo>
                  <a:pt x="145628" y="32492"/>
                </a:lnTo>
                <a:lnTo>
                  <a:pt x="149862" y="25417"/>
                </a:lnTo>
                <a:lnTo>
                  <a:pt x="151293" y="18362"/>
                </a:lnTo>
                <a:lnTo>
                  <a:pt x="148451" y="9877"/>
                </a:lnTo>
                <a:lnTo>
                  <a:pt x="142806" y="4233"/>
                </a:lnTo>
                <a:lnTo>
                  <a:pt x="137141" y="1411"/>
                </a:lnTo>
                <a:lnTo>
                  <a:pt x="128655" y="0"/>
                </a:lnTo>
                <a:lnTo>
                  <a:pt x="121598" y="2822"/>
                </a:lnTo>
                <a:lnTo>
                  <a:pt x="111700" y="8466"/>
                </a:lnTo>
                <a:lnTo>
                  <a:pt x="96138" y="16951"/>
                </a:lnTo>
                <a:lnTo>
                  <a:pt x="77753" y="29650"/>
                </a:lnTo>
                <a:lnTo>
                  <a:pt x="59388" y="43780"/>
                </a:lnTo>
                <a:lnTo>
                  <a:pt x="39592" y="60732"/>
                </a:lnTo>
                <a:lnTo>
                  <a:pt x="24029" y="77683"/>
                </a:lnTo>
                <a:lnTo>
                  <a:pt x="11309" y="97457"/>
                </a:lnTo>
                <a:lnTo>
                  <a:pt x="5644" y="117231"/>
                </a:lnTo>
                <a:lnTo>
                  <a:pt x="2822" y="288139"/>
                </a:lnTo>
                <a:lnTo>
                  <a:pt x="1411" y="624293"/>
                </a:lnTo>
                <a:lnTo>
                  <a:pt x="0" y="959035"/>
                </a:lnTo>
                <a:lnTo>
                  <a:pt x="0" y="1127112"/>
                </a:lnTo>
                <a:lnTo>
                  <a:pt x="1411" y="1135586"/>
                </a:lnTo>
                <a:lnTo>
                  <a:pt x="5644" y="1141236"/>
                </a:lnTo>
                <a:lnTo>
                  <a:pt x="11309" y="1145473"/>
                </a:lnTo>
                <a:lnTo>
                  <a:pt x="19796" y="1146886"/>
                </a:lnTo>
                <a:lnTo>
                  <a:pt x="28282" y="1145473"/>
                </a:lnTo>
                <a:close/>
              </a:path>
            </a:pathLst>
          </a:custGeom>
          <a:solidFill>
            <a:srgbClr val="000000"/>
          </a:solidFill>
        </p:spPr>
        <p:txBody>
          <a:bodyPr wrap="square" lIns="0" tIns="0" rIns="0" bIns="0" rtlCol="0">
            <a:noAutofit/>
          </a:bodyPr>
          <a:lstStyle/>
          <a:p>
            <a:endParaRPr/>
          </a:p>
        </p:txBody>
      </p:sp>
      <p:sp>
        <p:nvSpPr>
          <p:cNvPr id="37" name="object 37"/>
          <p:cNvSpPr/>
          <p:nvPr/>
        </p:nvSpPr>
        <p:spPr>
          <a:xfrm>
            <a:off x="2593041" y="4293141"/>
            <a:ext cx="1382708" cy="312146"/>
          </a:xfrm>
          <a:custGeom>
            <a:avLst/>
            <a:gdLst/>
            <a:ahLst/>
            <a:cxnLst/>
            <a:rect l="l" t="t" r="r" b="b"/>
            <a:pathLst>
              <a:path w="1382708" h="312146">
                <a:moveTo>
                  <a:pt x="1326260" y="1411"/>
                </a:moveTo>
                <a:lnTo>
                  <a:pt x="41003" y="201970"/>
                </a:lnTo>
                <a:lnTo>
                  <a:pt x="38180" y="203381"/>
                </a:lnTo>
                <a:lnTo>
                  <a:pt x="35338" y="204792"/>
                </a:lnTo>
                <a:lnTo>
                  <a:pt x="32516" y="206203"/>
                </a:lnTo>
                <a:lnTo>
                  <a:pt x="29694" y="207614"/>
                </a:lnTo>
                <a:lnTo>
                  <a:pt x="14131" y="225977"/>
                </a:lnTo>
                <a:lnTo>
                  <a:pt x="4233" y="244339"/>
                </a:lnTo>
                <a:lnTo>
                  <a:pt x="0" y="261291"/>
                </a:lnTo>
                <a:lnTo>
                  <a:pt x="2822" y="276832"/>
                </a:lnTo>
                <a:lnTo>
                  <a:pt x="8486" y="286709"/>
                </a:lnTo>
                <a:lnTo>
                  <a:pt x="15542" y="295195"/>
                </a:lnTo>
                <a:lnTo>
                  <a:pt x="24029" y="300839"/>
                </a:lnTo>
                <a:lnTo>
                  <a:pt x="33927" y="305072"/>
                </a:lnTo>
                <a:lnTo>
                  <a:pt x="42414" y="309324"/>
                </a:lnTo>
                <a:lnTo>
                  <a:pt x="50901" y="310735"/>
                </a:lnTo>
                <a:lnTo>
                  <a:pt x="56546" y="312146"/>
                </a:lnTo>
                <a:lnTo>
                  <a:pt x="65033" y="312146"/>
                </a:lnTo>
                <a:lnTo>
                  <a:pt x="1348800" y="101690"/>
                </a:lnTo>
                <a:lnTo>
                  <a:pt x="1351740" y="100279"/>
                </a:lnTo>
                <a:lnTo>
                  <a:pt x="1354484" y="98868"/>
                </a:lnTo>
                <a:lnTo>
                  <a:pt x="1357424" y="97457"/>
                </a:lnTo>
                <a:lnTo>
                  <a:pt x="1360168" y="96046"/>
                </a:lnTo>
                <a:lnTo>
                  <a:pt x="1371536" y="81916"/>
                </a:lnTo>
                <a:lnTo>
                  <a:pt x="1379964" y="67787"/>
                </a:lnTo>
                <a:lnTo>
                  <a:pt x="1382708" y="55088"/>
                </a:lnTo>
                <a:lnTo>
                  <a:pt x="1381336" y="40958"/>
                </a:lnTo>
                <a:lnTo>
                  <a:pt x="1377220" y="31061"/>
                </a:lnTo>
                <a:lnTo>
                  <a:pt x="1371536" y="22595"/>
                </a:lnTo>
                <a:lnTo>
                  <a:pt x="1362912" y="16951"/>
                </a:lnTo>
                <a:lnTo>
                  <a:pt x="1355856" y="11288"/>
                </a:lnTo>
                <a:lnTo>
                  <a:pt x="1348800" y="7055"/>
                </a:lnTo>
                <a:lnTo>
                  <a:pt x="1341744" y="4233"/>
                </a:lnTo>
                <a:lnTo>
                  <a:pt x="1337628" y="2822"/>
                </a:lnTo>
                <a:lnTo>
                  <a:pt x="1334688" y="1411"/>
                </a:lnTo>
                <a:lnTo>
                  <a:pt x="1333316" y="0"/>
                </a:lnTo>
                <a:lnTo>
                  <a:pt x="1329004" y="0"/>
                </a:lnTo>
                <a:lnTo>
                  <a:pt x="1326260" y="1411"/>
                </a:lnTo>
                <a:close/>
              </a:path>
            </a:pathLst>
          </a:custGeom>
          <a:solidFill>
            <a:srgbClr val="000000"/>
          </a:solidFill>
        </p:spPr>
        <p:txBody>
          <a:bodyPr wrap="square" lIns="0" tIns="0" rIns="0" bIns="0" rtlCol="0">
            <a:noAutofit/>
          </a:bodyPr>
          <a:lstStyle/>
          <a:p>
            <a:endParaRPr/>
          </a:p>
        </p:txBody>
      </p:sp>
      <p:sp>
        <p:nvSpPr>
          <p:cNvPr id="38" name="object 38"/>
          <p:cNvSpPr/>
          <p:nvPr/>
        </p:nvSpPr>
        <p:spPr>
          <a:xfrm>
            <a:off x="2634045" y="4334100"/>
            <a:ext cx="1300740" cy="231640"/>
          </a:xfrm>
          <a:custGeom>
            <a:avLst/>
            <a:gdLst/>
            <a:ahLst/>
            <a:cxnLst/>
            <a:rect l="l" t="t" r="r" b="b"/>
            <a:pathLst>
              <a:path w="1300740" h="231640">
                <a:moveTo>
                  <a:pt x="21207" y="231640"/>
                </a:moveTo>
                <a:lnTo>
                  <a:pt x="25440" y="230229"/>
                </a:lnTo>
                <a:lnTo>
                  <a:pt x="36750" y="228818"/>
                </a:lnTo>
                <a:lnTo>
                  <a:pt x="53723" y="225977"/>
                </a:lnTo>
                <a:lnTo>
                  <a:pt x="77753" y="221744"/>
                </a:lnTo>
                <a:lnTo>
                  <a:pt x="106036" y="217511"/>
                </a:lnTo>
                <a:lnTo>
                  <a:pt x="139983" y="211867"/>
                </a:lnTo>
                <a:lnTo>
                  <a:pt x="179556" y="206203"/>
                </a:lnTo>
                <a:lnTo>
                  <a:pt x="221990" y="199148"/>
                </a:lnTo>
                <a:lnTo>
                  <a:pt x="267227" y="190682"/>
                </a:lnTo>
                <a:lnTo>
                  <a:pt x="316717" y="182196"/>
                </a:lnTo>
                <a:lnTo>
                  <a:pt x="369030" y="173730"/>
                </a:lnTo>
                <a:lnTo>
                  <a:pt x="424165" y="165244"/>
                </a:lnTo>
                <a:lnTo>
                  <a:pt x="480731" y="155367"/>
                </a:lnTo>
                <a:lnTo>
                  <a:pt x="537277" y="146882"/>
                </a:lnTo>
                <a:lnTo>
                  <a:pt x="596666" y="137005"/>
                </a:lnTo>
                <a:lnTo>
                  <a:pt x="656054" y="127108"/>
                </a:lnTo>
                <a:lnTo>
                  <a:pt x="714011" y="117231"/>
                </a:lnTo>
                <a:lnTo>
                  <a:pt x="773400" y="107334"/>
                </a:lnTo>
                <a:lnTo>
                  <a:pt x="831377" y="98868"/>
                </a:lnTo>
                <a:lnTo>
                  <a:pt x="887923" y="88972"/>
                </a:lnTo>
                <a:lnTo>
                  <a:pt x="941666" y="80505"/>
                </a:lnTo>
                <a:lnTo>
                  <a:pt x="993979" y="72039"/>
                </a:lnTo>
                <a:lnTo>
                  <a:pt x="1044881" y="63554"/>
                </a:lnTo>
                <a:lnTo>
                  <a:pt x="1090118" y="55088"/>
                </a:lnTo>
                <a:lnTo>
                  <a:pt x="1133943" y="48013"/>
                </a:lnTo>
                <a:lnTo>
                  <a:pt x="1172124" y="42369"/>
                </a:lnTo>
                <a:lnTo>
                  <a:pt x="1207463" y="36725"/>
                </a:lnTo>
                <a:lnTo>
                  <a:pt x="1235668" y="32492"/>
                </a:lnTo>
                <a:lnTo>
                  <a:pt x="1259776" y="28239"/>
                </a:lnTo>
                <a:lnTo>
                  <a:pt x="1278200" y="25417"/>
                </a:lnTo>
                <a:lnTo>
                  <a:pt x="1289568" y="24006"/>
                </a:lnTo>
                <a:lnTo>
                  <a:pt x="1295056" y="22595"/>
                </a:lnTo>
                <a:lnTo>
                  <a:pt x="1297996" y="18362"/>
                </a:lnTo>
                <a:lnTo>
                  <a:pt x="1299368" y="15540"/>
                </a:lnTo>
                <a:lnTo>
                  <a:pt x="1300740" y="12718"/>
                </a:lnTo>
                <a:lnTo>
                  <a:pt x="1300740" y="11288"/>
                </a:lnTo>
                <a:lnTo>
                  <a:pt x="1299368" y="8466"/>
                </a:lnTo>
                <a:lnTo>
                  <a:pt x="1295056" y="5644"/>
                </a:lnTo>
                <a:lnTo>
                  <a:pt x="1290940" y="2822"/>
                </a:lnTo>
                <a:lnTo>
                  <a:pt x="1285256" y="0"/>
                </a:lnTo>
                <a:lnTo>
                  <a:pt x="1280944" y="0"/>
                </a:lnTo>
                <a:lnTo>
                  <a:pt x="1269772" y="2822"/>
                </a:lnTo>
                <a:lnTo>
                  <a:pt x="1251348" y="5644"/>
                </a:lnTo>
                <a:lnTo>
                  <a:pt x="1227259" y="8466"/>
                </a:lnTo>
                <a:lnTo>
                  <a:pt x="1198996" y="14129"/>
                </a:lnTo>
                <a:lnTo>
                  <a:pt x="1165049" y="18362"/>
                </a:lnTo>
                <a:lnTo>
                  <a:pt x="1126887" y="25417"/>
                </a:lnTo>
                <a:lnTo>
                  <a:pt x="1083042" y="31061"/>
                </a:lnTo>
                <a:lnTo>
                  <a:pt x="1037805" y="38136"/>
                </a:lnTo>
                <a:lnTo>
                  <a:pt x="988315" y="46602"/>
                </a:lnTo>
                <a:lnTo>
                  <a:pt x="936002" y="55088"/>
                </a:lnTo>
                <a:lnTo>
                  <a:pt x="880867" y="63554"/>
                </a:lnTo>
                <a:lnTo>
                  <a:pt x="825712" y="72039"/>
                </a:lnTo>
                <a:lnTo>
                  <a:pt x="767755" y="80505"/>
                </a:lnTo>
                <a:lnTo>
                  <a:pt x="709778" y="90383"/>
                </a:lnTo>
                <a:lnTo>
                  <a:pt x="650389" y="98868"/>
                </a:lnTo>
                <a:lnTo>
                  <a:pt x="591001" y="108745"/>
                </a:lnTo>
                <a:lnTo>
                  <a:pt x="533044" y="118642"/>
                </a:lnTo>
                <a:lnTo>
                  <a:pt x="475067" y="127108"/>
                </a:lnTo>
                <a:lnTo>
                  <a:pt x="418520" y="135594"/>
                </a:lnTo>
                <a:lnTo>
                  <a:pt x="364777" y="144060"/>
                </a:lnTo>
                <a:lnTo>
                  <a:pt x="312464" y="152545"/>
                </a:lnTo>
                <a:lnTo>
                  <a:pt x="262994" y="161011"/>
                </a:lnTo>
                <a:lnTo>
                  <a:pt x="216326" y="168066"/>
                </a:lnTo>
                <a:lnTo>
                  <a:pt x="173911" y="173730"/>
                </a:lnTo>
                <a:lnTo>
                  <a:pt x="135730" y="180785"/>
                </a:lnTo>
                <a:lnTo>
                  <a:pt x="100391" y="185018"/>
                </a:lnTo>
                <a:lnTo>
                  <a:pt x="72108" y="190682"/>
                </a:lnTo>
                <a:lnTo>
                  <a:pt x="48079" y="193504"/>
                </a:lnTo>
                <a:lnTo>
                  <a:pt x="29694" y="196326"/>
                </a:lnTo>
                <a:lnTo>
                  <a:pt x="18384" y="199148"/>
                </a:lnTo>
                <a:lnTo>
                  <a:pt x="14131" y="199148"/>
                </a:lnTo>
                <a:lnTo>
                  <a:pt x="7075" y="207614"/>
                </a:lnTo>
                <a:lnTo>
                  <a:pt x="2822" y="214689"/>
                </a:lnTo>
                <a:lnTo>
                  <a:pt x="0" y="218922"/>
                </a:lnTo>
                <a:lnTo>
                  <a:pt x="0" y="221744"/>
                </a:lnTo>
                <a:lnTo>
                  <a:pt x="2822" y="224566"/>
                </a:lnTo>
                <a:lnTo>
                  <a:pt x="7075" y="227388"/>
                </a:lnTo>
                <a:lnTo>
                  <a:pt x="14131" y="230229"/>
                </a:lnTo>
                <a:lnTo>
                  <a:pt x="21207" y="231640"/>
                </a:lnTo>
                <a:close/>
              </a:path>
            </a:pathLst>
          </a:custGeom>
          <a:solidFill>
            <a:srgbClr val="F4CE9E"/>
          </a:solidFill>
        </p:spPr>
        <p:txBody>
          <a:bodyPr wrap="square" lIns="0" tIns="0" rIns="0" bIns="0" rtlCol="0">
            <a:noAutofit/>
          </a:bodyPr>
          <a:lstStyle/>
          <a:p>
            <a:endParaRPr/>
          </a:p>
        </p:txBody>
      </p:sp>
      <p:sp>
        <p:nvSpPr>
          <p:cNvPr id="39" name="object 39"/>
          <p:cNvSpPr/>
          <p:nvPr/>
        </p:nvSpPr>
        <p:spPr>
          <a:xfrm>
            <a:off x="2601528" y="4490879"/>
            <a:ext cx="339336" cy="475980"/>
          </a:xfrm>
          <a:custGeom>
            <a:avLst/>
            <a:gdLst/>
            <a:ahLst/>
            <a:cxnLst/>
            <a:rect l="l" t="t" r="r" b="b"/>
            <a:pathLst>
              <a:path w="339336" h="475980">
                <a:moveTo>
                  <a:pt x="303977" y="8466"/>
                </a:moveTo>
                <a:lnTo>
                  <a:pt x="2822" y="444918"/>
                </a:lnTo>
                <a:lnTo>
                  <a:pt x="0" y="451973"/>
                </a:lnTo>
                <a:lnTo>
                  <a:pt x="0" y="460439"/>
                </a:lnTo>
                <a:lnTo>
                  <a:pt x="2822" y="467514"/>
                </a:lnTo>
                <a:lnTo>
                  <a:pt x="8486" y="473158"/>
                </a:lnTo>
                <a:lnTo>
                  <a:pt x="15542" y="475980"/>
                </a:lnTo>
                <a:lnTo>
                  <a:pt x="22618" y="475980"/>
                </a:lnTo>
                <a:lnTo>
                  <a:pt x="31105" y="473158"/>
                </a:lnTo>
                <a:lnTo>
                  <a:pt x="36750" y="467514"/>
                </a:lnTo>
                <a:lnTo>
                  <a:pt x="336494" y="31061"/>
                </a:lnTo>
                <a:lnTo>
                  <a:pt x="339336" y="24006"/>
                </a:lnTo>
                <a:lnTo>
                  <a:pt x="339336" y="15540"/>
                </a:lnTo>
                <a:lnTo>
                  <a:pt x="336494" y="8466"/>
                </a:lnTo>
                <a:lnTo>
                  <a:pt x="330849" y="2822"/>
                </a:lnTo>
                <a:lnTo>
                  <a:pt x="323773" y="0"/>
                </a:lnTo>
                <a:lnTo>
                  <a:pt x="315287" y="0"/>
                </a:lnTo>
                <a:lnTo>
                  <a:pt x="309642" y="2822"/>
                </a:lnTo>
                <a:lnTo>
                  <a:pt x="303977" y="8466"/>
                </a:lnTo>
                <a:close/>
              </a:path>
            </a:pathLst>
          </a:custGeom>
          <a:solidFill>
            <a:srgbClr val="000000"/>
          </a:solidFill>
        </p:spPr>
        <p:txBody>
          <a:bodyPr wrap="square" lIns="0" tIns="0" rIns="0" bIns="0" rtlCol="0">
            <a:noAutofit/>
          </a:bodyPr>
          <a:lstStyle/>
          <a:p>
            <a:endParaRPr/>
          </a:p>
        </p:txBody>
      </p:sp>
      <p:sp>
        <p:nvSpPr>
          <p:cNvPr id="40" name="object 40"/>
          <p:cNvSpPr/>
          <p:nvPr/>
        </p:nvSpPr>
        <p:spPr>
          <a:xfrm>
            <a:off x="3406034" y="5468272"/>
            <a:ext cx="118776" cy="86158"/>
          </a:xfrm>
          <a:custGeom>
            <a:avLst/>
            <a:gdLst/>
            <a:ahLst/>
            <a:cxnLst/>
            <a:rect l="l" t="t" r="r" b="b"/>
            <a:pathLst>
              <a:path w="118776" h="86158">
                <a:moveTo>
                  <a:pt x="0" y="42373"/>
                </a:moveTo>
                <a:lnTo>
                  <a:pt x="1411" y="50847"/>
                </a:lnTo>
                <a:lnTo>
                  <a:pt x="4233" y="59323"/>
                </a:lnTo>
                <a:lnTo>
                  <a:pt x="9898" y="67797"/>
                </a:lnTo>
                <a:lnTo>
                  <a:pt x="16973" y="73446"/>
                </a:lnTo>
                <a:lnTo>
                  <a:pt x="25460" y="79096"/>
                </a:lnTo>
                <a:lnTo>
                  <a:pt x="35358" y="83333"/>
                </a:lnTo>
                <a:lnTo>
                  <a:pt x="46667" y="84746"/>
                </a:lnTo>
                <a:lnTo>
                  <a:pt x="59388" y="86158"/>
                </a:lnTo>
                <a:lnTo>
                  <a:pt x="72108" y="84746"/>
                </a:lnTo>
                <a:lnTo>
                  <a:pt x="83418" y="83333"/>
                </a:lnTo>
                <a:lnTo>
                  <a:pt x="93316" y="79096"/>
                </a:lnTo>
                <a:lnTo>
                  <a:pt x="101802" y="73446"/>
                </a:lnTo>
                <a:lnTo>
                  <a:pt x="108878" y="67797"/>
                </a:lnTo>
                <a:lnTo>
                  <a:pt x="114523" y="59323"/>
                </a:lnTo>
                <a:lnTo>
                  <a:pt x="117345" y="50847"/>
                </a:lnTo>
                <a:lnTo>
                  <a:pt x="118776" y="42373"/>
                </a:lnTo>
                <a:lnTo>
                  <a:pt x="117345" y="33899"/>
                </a:lnTo>
                <a:lnTo>
                  <a:pt x="114523" y="25423"/>
                </a:lnTo>
                <a:lnTo>
                  <a:pt x="108878" y="18362"/>
                </a:lnTo>
                <a:lnTo>
                  <a:pt x="101802" y="12712"/>
                </a:lnTo>
                <a:lnTo>
                  <a:pt x="93316" y="7062"/>
                </a:lnTo>
                <a:lnTo>
                  <a:pt x="83418" y="2825"/>
                </a:lnTo>
                <a:lnTo>
                  <a:pt x="72108" y="1412"/>
                </a:lnTo>
                <a:lnTo>
                  <a:pt x="59388" y="0"/>
                </a:lnTo>
                <a:lnTo>
                  <a:pt x="46667" y="1412"/>
                </a:lnTo>
                <a:lnTo>
                  <a:pt x="35358" y="2825"/>
                </a:lnTo>
                <a:lnTo>
                  <a:pt x="25460" y="7062"/>
                </a:lnTo>
                <a:lnTo>
                  <a:pt x="16973" y="12712"/>
                </a:lnTo>
                <a:lnTo>
                  <a:pt x="9898" y="18362"/>
                </a:lnTo>
                <a:lnTo>
                  <a:pt x="4233" y="25423"/>
                </a:lnTo>
                <a:lnTo>
                  <a:pt x="1411" y="33899"/>
                </a:lnTo>
                <a:lnTo>
                  <a:pt x="0" y="42373"/>
                </a:lnTo>
                <a:close/>
              </a:path>
            </a:pathLst>
          </a:custGeom>
          <a:solidFill>
            <a:srgbClr val="000000"/>
          </a:solidFill>
        </p:spPr>
        <p:txBody>
          <a:bodyPr wrap="square" lIns="0" tIns="0" rIns="0" bIns="0" rtlCol="0">
            <a:noAutofit/>
          </a:bodyPr>
          <a:lstStyle/>
          <a:p>
            <a:endParaRPr/>
          </a:p>
        </p:txBody>
      </p:sp>
      <p:sp>
        <p:nvSpPr>
          <p:cNvPr id="41" name="object 41"/>
          <p:cNvSpPr/>
          <p:nvPr/>
        </p:nvSpPr>
        <p:spPr>
          <a:xfrm>
            <a:off x="2000613" y="5466862"/>
            <a:ext cx="118772" cy="86157"/>
          </a:xfrm>
          <a:custGeom>
            <a:avLst/>
            <a:gdLst/>
            <a:ahLst/>
            <a:cxnLst/>
            <a:rect l="l" t="t" r="r" b="b"/>
            <a:pathLst>
              <a:path w="118772" h="86157">
                <a:moveTo>
                  <a:pt x="0" y="43784"/>
                </a:moveTo>
                <a:lnTo>
                  <a:pt x="1415" y="52258"/>
                </a:lnTo>
                <a:lnTo>
                  <a:pt x="4241" y="60734"/>
                </a:lnTo>
                <a:lnTo>
                  <a:pt x="9898" y="67795"/>
                </a:lnTo>
                <a:lnTo>
                  <a:pt x="16967" y="73445"/>
                </a:lnTo>
                <a:lnTo>
                  <a:pt x="25450" y="79095"/>
                </a:lnTo>
                <a:lnTo>
                  <a:pt x="35348" y="83332"/>
                </a:lnTo>
                <a:lnTo>
                  <a:pt x="46659" y="84744"/>
                </a:lnTo>
                <a:lnTo>
                  <a:pt x="59384" y="86157"/>
                </a:lnTo>
                <a:lnTo>
                  <a:pt x="72110" y="84744"/>
                </a:lnTo>
                <a:lnTo>
                  <a:pt x="83421" y="83332"/>
                </a:lnTo>
                <a:lnTo>
                  <a:pt x="93318" y="79095"/>
                </a:lnTo>
                <a:lnTo>
                  <a:pt x="101798" y="73445"/>
                </a:lnTo>
                <a:lnTo>
                  <a:pt x="108874" y="67795"/>
                </a:lnTo>
                <a:lnTo>
                  <a:pt x="114519" y="60734"/>
                </a:lnTo>
                <a:lnTo>
                  <a:pt x="117361" y="52258"/>
                </a:lnTo>
                <a:lnTo>
                  <a:pt x="118772" y="43784"/>
                </a:lnTo>
                <a:lnTo>
                  <a:pt x="117361" y="33897"/>
                </a:lnTo>
                <a:lnTo>
                  <a:pt x="114519" y="26834"/>
                </a:lnTo>
                <a:lnTo>
                  <a:pt x="108874" y="18360"/>
                </a:lnTo>
                <a:lnTo>
                  <a:pt x="101798" y="12710"/>
                </a:lnTo>
                <a:lnTo>
                  <a:pt x="93318" y="7060"/>
                </a:lnTo>
                <a:lnTo>
                  <a:pt x="83421" y="2823"/>
                </a:lnTo>
                <a:lnTo>
                  <a:pt x="72110" y="1411"/>
                </a:lnTo>
                <a:lnTo>
                  <a:pt x="59384" y="0"/>
                </a:lnTo>
                <a:lnTo>
                  <a:pt x="46659" y="1411"/>
                </a:lnTo>
                <a:lnTo>
                  <a:pt x="35348" y="2823"/>
                </a:lnTo>
                <a:lnTo>
                  <a:pt x="25450" y="7060"/>
                </a:lnTo>
                <a:lnTo>
                  <a:pt x="16967" y="12710"/>
                </a:lnTo>
                <a:lnTo>
                  <a:pt x="9898" y="18360"/>
                </a:lnTo>
                <a:lnTo>
                  <a:pt x="4241" y="26834"/>
                </a:lnTo>
                <a:lnTo>
                  <a:pt x="1415" y="33897"/>
                </a:lnTo>
                <a:lnTo>
                  <a:pt x="0" y="43784"/>
                </a:lnTo>
                <a:close/>
              </a:path>
            </a:pathLst>
          </a:custGeom>
          <a:solidFill>
            <a:srgbClr val="000000"/>
          </a:solidFill>
        </p:spPr>
        <p:txBody>
          <a:bodyPr wrap="square" lIns="0" tIns="0" rIns="0" bIns="0" rtlCol="0">
            <a:noAutofit/>
          </a:bodyPr>
          <a:lstStyle/>
          <a:p>
            <a:endParaRPr/>
          </a:p>
        </p:txBody>
      </p:sp>
      <p:sp>
        <p:nvSpPr>
          <p:cNvPr id="42" name="object 42"/>
          <p:cNvSpPr/>
          <p:nvPr/>
        </p:nvSpPr>
        <p:spPr>
          <a:xfrm>
            <a:off x="3920673" y="5471098"/>
            <a:ext cx="118776" cy="86157"/>
          </a:xfrm>
          <a:custGeom>
            <a:avLst/>
            <a:gdLst/>
            <a:ahLst/>
            <a:cxnLst/>
            <a:rect l="l" t="t" r="r" b="b"/>
            <a:pathLst>
              <a:path w="118776" h="86157">
                <a:moveTo>
                  <a:pt x="0" y="42373"/>
                </a:moveTo>
                <a:lnTo>
                  <a:pt x="1372" y="50847"/>
                </a:lnTo>
                <a:lnTo>
                  <a:pt x="4312" y="59321"/>
                </a:lnTo>
                <a:lnTo>
                  <a:pt x="9996" y="67795"/>
                </a:lnTo>
                <a:lnTo>
                  <a:pt x="17052" y="73445"/>
                </a:lnTo>
                <a:lnTo>
                  <a:pt x="25480" y="79095"/>
                </a:lnTo>
                <a:lnTo>
                  <a:pt x="35280" y="83332"/>
                </a:lnTo>
                <a:lnTo>
                  <a:pt x="46648" y="84745"/>
                </a:lnTo>
                <a:lnTo>
                  <a:pt x="59388" y="86157"/>
                </a:lnTo>
                <a:lnTo>
                  <a:pt x="72128" y="84745"/>
                </a:lnTo>
                <a:lnTo>
                  <a:pt x="83496" y="83332"/>
                </a:lnTo>
                <a:lnTo>
                  <a:pt x="93296" y="79095"/>
                </a:lnTo>
                <a:lnTo>
                  <a:pt x="101920" y="73445"/>
                </a:lnTo>
                <a:lnTo>
                  <a:pt x="108976" y="67795"/>
                </a:lnTo>
                <a:lnTo>
                  <a:pt x="114464" y="59321"/>
                </a:lnTo>
                <a:lnTo>
                  <a:pt x="117404" y="50847"/>
                </a:lnTo>
                <a:lnTo>
                  <a:pt x="118776" y="42373"/>
                </a:lnTo>
                <a:lnTo>
                  <a:pt x="117404" y="33897"/>
                </a:lnTo>
                <a:lnTo>
                  <a:pt x="114464" y="25423"/>
                </a:lnTo>
                <a:lnTo>
                  <a:pt x="108976" y="18360"/>
                </a:lnTo>
                <a:lnTo>
                  <a:pt x="101920" y="12710"/>
                </a:lnTo>
                <a:lnTo>
                  <a:pt x="93296" y="7062"/>
                </a:lnTo>
                <a:lnTo>
                  <a:pt x="83496" y="2823"/>
                </a:lnTo>
                <a:lnTo>
                  <a:pt x="72128" y="1412"/>
                </a:lnTo>
                <a:lnTo>
                  <a:pt x="59388" y="0"/>
                </a:lnTo>
                <a:lnTo>
                  <a:pt x="46648" y="1412"/>
                </a:lnTo>
                <a:lnTo>
                  <a:pt x="35280" y="2823"/>
                </a:lnTo>
                <a:lnTo>
                  <a:pt x="25480" y="7062"/>
                </a:lnTo>
                <a:lnTo>
                  <a:pt x="17052" y="12710"/>
                </a:lnTo>
                <a:lnTo>
                  <a:pt x="9996" y="18360"/>
                </a:lnTo>
                <a:lnTo>
                  <a:pt x="4312" y="25423"/>
                </a:lnTo>
                <a:lnTo>
                  <a:pt x="1372" y="33897"/>
                </a:lnTo>
                <a:lnTo>
                  <a:pt x="0" y="42373"/>
                </a:lnTo>
                <a:close/>
              </a:path>
            </a:pathLst>
          </a:custGeom>
          <a:solidFill>
            <a:srgbClr val="000000"/>
          </a:solidFill>
        </p:spPr>
        <p:txBody>
          <a:bodyPr wrap="square" lIns="0" tIns="0" rIns="0" bIns="0" rtlCol="0">
            <a:noAutofit/>
          </a:bodyPr>
          <a:lstStyle/>
          <a:p>
            <a:endParaRPr/>
          </a:p>
        </p:txBody>
      </p:sp>
      <p:sp>
        <p:nvSpPr>
          <p:cNvPr id="43" name="object 43"/>
          <p:cNvSpPr/>
          <p:nvPr/>
        </p:nvSpPr>
        <p:spPr>
          <a:xfrm>
            <a:off x="2044444" y="5003586"/>
            <a:ext cx="199362" cy="529659"/>
          </a:xfrm>
          <a:custGeom>
            <a:avLst/>
            <a:gdLst/>
            <a:ahLst/>
            <a:cxnLst/>
            <a:rect l="l" t="t" r="r" b="b"/>
            <a:pathLst>
              <a:path w="199362" h="529659">
                <a:moveTo>
                  <a:pt x="159770" y="14129"/>
                </a:moveTo>
                <a:lnTo>
                  <a:pt x="0" y="504236"/>
                </a:lnTo>
                <a:lnTo>
                  <a:pt x="0" y="511297"/>
                </a:lnTo>
                <a:lnTo>
                  <a:pt x="1413" y="518359"/>
                </a:lnTo>
                <a:lnTo>
                  <a:pt x="5654" y="525420"/>
                </a:lnTo>
                <a:lnTo>
                  <a:pt x="12724" y="529659"/>
                </a:lnTo>
                <a:lnTo>
                  <a:pt x="21209" y="529659"/>
                </a:lnTo>
                <a:lnTo>
                  <a:pt x="38175" y="516946"/>
                </a:lnTo>
                <a:lnTo>
                  <a:pt x="197951" y="25417"/>
                </a:lnTo>
                <a:lnTo>
                  <a:pt x="199362" y="18362"/>
                </a:lnTo>
                <a:lnTo>
                  <a:pt x="197951" y="9896"/>
                </a:lnTo>
                <a:lnTo>
                  <a:pt x="192286" y="4233"/>
                </a:lnTo>
                <a:lnTo>
                  <a:pt x="185230" y="0"/>
                </a:lnTo>
                <a:lnTo>
                  <a:pt x="178155" y="0"/>
                </a:lnTo>
                <a:lnTo>
                  <a:pt x="171079" y="1411"/>
                </a:lnTo>
                <a:lnTo>
                  <a:pt x="164003" y="7055"/>
                </a:lnTo>
                <a:lnTo>
                  <a:pt x="159770" y="14129"/>
                </a:lnTo>
                <a:close/>
              </a:path>
            </a:pathLst>
          </a:custGeom>
          <a:solidFill>
            <a:srgbClr val="000000"/>
          </a:solidFill>
        </p:spPr>
        <p:txBody>
          <a:bodyPr wrap="square" lIns="0" tIns="0" rIns="0" bIns="0" rtlCol="0">
            <a:noAutofit/>
          </a:bodyPr>
          <a:lstStyle/>
          <a:p>
            <a:endParaRPr/>
          </a:p>
        </p:txBody>
      </p:sp>
      <p:sp>
        <p:nvSpPr>
          <p:cNvPr id="44" name="object 44"/>
          <p:cNvSpPr/>
          <p:nvPr/>
        </p:nvSpPr>
        <p:spPr>
          <a:xfrm>
            <a:off x="2366817" y="5057262"/>
            <a:ext cx="196530" cy="210456"/>
          </a:xfrm>
          <a:custGeom>
            <a:avLst/>
            <a:gdLst/>
            <a:ahLst/>
            <a:cxnLst/>
            <a:rect l="l" t="t" r="r" b="b"/>
            <a:pathLst>
              <a:path w="196530" h="210456">
                <a:moveTo>
                  <a:pt x="155526" y="179374"/>
                </a:moveTo>
                <a:lnTo>
                  <a:pt x="155526" y="187840"/>
                </a:lnTo>
                <a:lnTo>
                  <a:pt x="159760" y="194915"/>
                </a:lnTo>
                <a:lnTo>
                  <a:pt x="165424" y="199148"/>
                </a:lnTo>
                <a:lnTo>
                  <a:pt x="172500" y="201970"/>
                </a:lnTo>
                <a:lnTo>
                  <a:pt x="180987" y="200559"/>
                </a:lnTo>
                <a:lnTo>
                  <a:pt x="188043" y="196326"/>
                </a:lnTo>
                <a:lnTo>
                  <a:pt x="192296" y="190662"/>
                </a:lnTo>
                <a:lnTo>
                  <a:pt x="195118" y="183607"/>
                </a:lnTo>
                <a:lnTo>
                  <a:pt x="196530" y="153956"/>
                </a:lnTo>
                <a:lnTo>
                  <a:pt x="196530" y="128519"/>
                </a:lnTo>
                <a:lnTo>
                  <a:pt x="193707" y="104512"/>
                </a:lnTo>
                <a:lnTo>
                  <a:pt x="189454" y="81916"/>
                </a:lnTo>
                <a:lnTo>
                  <a:pt x="183809" y="62143"/>
                </a:lnTo>
                <a:lnTo>
                  <a:pt x="175322" y="46602"/>
                </a:lnTo>
                <a:lnTo>
                  <a:pt x="165424" y="31061"/>
                </a:lnTo>
                <a:lnTo>
                  <a:pt x="154115" y="19773"/>
                </a:lnTo>
                <a:lnTo>
                  <a:pt x="139983" y="9877"/>
                </a:lnTo>
                <a:lnTo>
                  <a:pt x="125832" y="4233"/>
                </a:lnTo>
                <a:lnTo>
                  <a:pt x="111700" y="1411"/>
                </a:lnTo>
                <a:lnTo>
                  <a:pt x="100391" y="0"/>
                </a:lnTo>
                <a:lnTo>
                  <a:pt x="89082" y="1411"/>
                </a:lnTo>
                <a:lnTo>
                  <a:pt x="80595" y="1411"/>
                </a:lnTo>
                <a:lnTo>
                  <a:pt x="74931" y="2822"/>
                </a:lnTo>
                <a:lnTo>
                  <a:pt x="72108" y="4233"/>
                </a:lnTo>
                <a:lnTo>
                  <a:pt x="74931" y="2822"/>
                </a:lnTo>
                <a:lnTo>
                  <a:pt x="67855" y="4233"/>
                </a:lnTo>
                <a:lnTo>
                  <a:pt x="60799" y="5644"/>
                </a:lnTo>
                <a:lnTo>
                  <a:pt x="53723" y="8466"/>
                </a:lnTo>
                <a:lnTo>
                  <a:pt x="48079" y="12699"/>
                </a:lnTo>
                <a:lnTo>
                  <a:pt x="41003" y="15540"/>
                </a:lnTo>
                <a:lnTo>
                  <a:pt x="35338" y="21184"/>
                </a:lnTo>
                <a:lnTo>
                  <a:pt x="31105" y="25417"/>
                </a:lnTo>
                <a:lnTo>
                  <a:pt x="25440" y="31061"/>
                </a:lnTo>
                <a:lnTo>
                  <a:pt x="5644" y="76272"/>
                </a:lnTo>
                <a:lnTo>
                  <a:pt x="0" y="127108"/>
                </a:lnTo>
                <a:lnTo>
                  <a:pt x="1411" y="170888"/>
                </a:lnTo>
                <a:lnTo>
                  <a:pt x="4233" y="193504"/>
                </a:lnTo>
                <a:lnTo>
                  <a:pt x="7075" y="200559"/>
                </a:lnTo>
                <a:lnTo>
                  <a:pt x="12720" y="206203"/>
                </a:lnTo>
                <a:lnTo>
                  <a:pt x="19796" y="210456"/>
                </a:lnTo>
                <a:lnTo>
                  <a:pt x="28282" y="210456"/>
                </a:lnTo>
                <a:lnTo>
                  <a:pt x="35338" y="207614"/>
                </a:lnTo>
                <a:lnTo>
                  <a:pt x="41003" y="201970"/>
                </a:lnTo>
                <a:lnTo>
                  <a:pt x="43825" y="194915"/>
                </a:lnTo>
                <a:lnTo>
                  <a:pt x="43825" y="187840"/>
                </a:lnTo>
                <a:lnTo>
                  <a:pt x="41003" y="159600"/>
                </a:lnTo>
                <a:lnTo>
                  <a:pt x="41003" y="122875"/>
                </a:lnTo>
                <a:lnTo>
                  <a:pt x="45237" y="84738"/>
                </a:lnTo>
                <a:lnTo>
                  <a:pt x="57977" y="55088"/>
                </a:lnTo>
                <a:lnTo>
                  <a:pt x="62210" y="50835"/>
                </a:lnTo>
                <a:lnTo>
                  <a:pt x="67855" y="46602"/>
                </a:lnTo>
                <a:lnTo>
                  <a:pt x="73519" y="43780"/>
                </a:lnTo>
                <a:lnTo>
                  <a:pt x="79184" y="42369"/>
                </a:lnTo>
                <a:lnTo>
                  <a:pt x="82006" y="42369"/>
                </a:lnTo>
                <a:lnTo>
                  <a:pt x="84829" y="40958"/>
                </a:lnTo>
                <a:lnTo>
                  <a:pt x="87651" y="40958"/>
                </a:lnTo>
                <a:lnTo>
                  <a:pt x="93316" y="39547"/>
                </a:lnTo>
                <a:lnTo>
                  <a:pt x="98980" y="39547"/>
                </a:lnTo>
                <a:lnTo>
                  <a:pt x="106036" y="40958"/>
                </a:lnTo>
                <a:lnTo>
                  <a:pt x="113112" y="42369"/>
                </a:lnTo>
                <a:lnTo>
                  <a:pt x="121598" y="45191"/>
                </a:lnTo>
                <a:lnTo>
                  <a:pt x="128655" y="50835"/>
                </a:lnTo>
                <a:lnTo>
                  <a:pt x="139983" y="64965"/>
                </a:lnTo>
                <a:lnTo>
                  <a:pt x="151293" y="88972"/>
                </a:lnTo>
                <a:lnTo>
                  <a:pt x="156937" y="127108"/>
                </a:lnTo>
                <a:lnTo>
                  <a:pt x="155526" y="179374"/>
                </a:lnTo>
                <a:close/>
              </a:path>
            </a:pathLst>
          </a:custGeom>
          <a:solidFill>
            <a:srgbClr val="000000"/>
          </a:solidFill>
        </p:spPr>
        <p:txBody>
          <a:bodyPr wrap="square" lIns="0" tIns="0" rIns="0" bIns="0" rtlCol="0">
            <a:noAutofit/>
          </a:bodyPr>
          <a:lstStyle/>
          <a:p>
            <a:endParaRPr/>
          </a:p>
        </p:txBody>
      </p:sp>
      <p:sp>
        <p:nvSpPr>
          <p:cNvPr id="45" name="object 45"/>
          <p:cNvSpPr/>
          <p:nvPr/>
        </p:nvSpPr>
        <p:spPr>
          <a:xfrm>
            <a:off x="2762701" y="5233816"/>
            <a:ext cx="706955" cy="255643"/>
          </a:xfrm>
          <a:custGeom>
            <a:avLst/>
            <a:gdLst/>
            <a:ahLst/>
            <a:cxnLst/>
            <a:rect l="l" t="t" r="r" b="b"/>
            <a:pathLst>
              <a:path w="706955" h="255643">
                <a:moveTo>
                  <a:pt x="2842" y="234456"/>
                </a:moveTo>
                <a:lnTo>
                  <a:pt x="0" y="255643"/>
                </a:lnTo>
                <a:lnTo>
                  <a:pt x="706955" y="255643"/>
                </a:lnTo>
                <a:lnTo>
                  <a:pt x="697057" y="209035"/>
                </a:lnTo>
                <a:lnTo>
                  <a:pt x="687159" y="186435"/>
                </a:lnTo>
                <a:lnTo>
                  <a:pt x="675850" y="162424"/>
                </a:lnTo>
                <a:lnTo>
                  <a:pt x="661718" y="141238"/>
                </a:lnTo>
                <a:lnTo>
                  <a:pt x="644745" y="120053"/>
                </a:lnTo>
                <a:lnTo>
                  <a:pt x="626360" y="101690"/>
                </a:lnTo>
                <a:lnTo>
                  <a:pt x="606564" y="83327"/>
                </a:lnTo>
                <a:lnTo>
                  <a:pt x="583945" y="66376"/>
                </a:lnTo>
                <a:lnTo>
                  <a:pt x="559915" y="52246"/>
                </a:lnTo>
                <a:lnTo>
                  <a:pt x="533044" y="38136"/>
                </a:lnTo>
                <a:lnTo>
                  <a:pt x="506192" y="26828"/>
                </a:lnTo>
                <a:lnTo>
                  <a:pt x="477909" y="18362"/>
                </a:lnTo>
                <a:lnTo>
                  <a:pt x="446803" y="9877"/>
                </a:lnTo>
                <a:lnTo>
                  <a:pt x="417109" y="4233"/>
                </a:lnTo>
                <a:lnTo>
                  <a:pt x="384593" y="1411"/>
                </a:lnTo>
                <a:lnTo>
                  <a:pt x="352076" y="0"/>
                </a:lnTo>
                <a:lnTo>
                  <a:pt x="319559" y="1411"/>
                </a:lnTo>
                <a:lnTo>
                  <a:pt x="288454" y="4233"/>
                </a:lnTo>
                <a:lnTo>
                  <a:pt x="257329" y="9877"/>
                </a:lnTo>
                <a:lnTo>
                  <a:pt x="227655" y="18362"/>
                </a:lnTo>
                <a:lnTo>
                  <a:pt x="199372" y="26828"/>
                </a:lnTo>
                <a:lnTo>
                  <a:pt x="172500" y="38136"/>
                </a:lnTo>
                <a:lnTo>
                  <a:pt x="145648" y="52246"/>
                </a:lnTo>
                <a:lnTo>
                  <a:pt x="121598" y="66376"/>
                </a:lnTo>
                <a:lnTo>
                  <a:pt x="98980" y="83327"/>
                </a:lnTo>
                <a:lnTo>
                  <a:pt x="79184" y="101690"/>
                </a:lnTo>
                <a:lnTo>
                  <a:pt x="59388" y="120053"/>
                </a:lnTo>
                <a:lnTo>
                  <a:pt x="43845" y="141238"/>
                </a:lnTo>
                <a:lnTo>
                  <a:pt x="29694" y="162424"/>
                </a:lnTo>
                <a:lnTo>
                  <a:pt x="18384" y="186435"/>
                </a:lnTo>
                <a:lnTo>
                  <a:pt x="8486" y="209035"/>
                </a:lnTo>
                <a:lnTo>
                  <a:pt x="2842" y="234456"/>
                </a:lnTo>
                <a:close/>
              </a:path>
            </a:pathLst>
          </a:custGeom>
          <a:solidFill>
            <a:srgbClr val="000000"/>
          </a:solidFill>
        </p:spPr>
        <p:txBody>
          <a:bodyPr wrap="square" lIns="0" tIns="0" rIns="0" bIns="0" rtlCol="0">
            <a:noAutofit/>
          </a:bodyPr>
          <a:lstStyle/>
          <a:p>
            <a:endParaRPr/>
          </a:p>
        </p:txBody>
      </p:sp>
      <p:sp>
        <p:nvSpPr>
          <p:cNvPr id="46" name="object 46"/>
          <p:cNvSpPr/>
          <p:nvPr/>
        </p:nvSpPr>
        <p:spPr>
          <a:xfrm>
            <a:off x="2807957" y="5269129"/>
            <a:ext cx="615051" cy="185018"/>
          </a:xfrm>
          <a:custGeom>
            <a:avLst/>
            <a:gdLst/>
            <a:ahLst/>
            <a:cxnLst/>
            <a:rect l="l" t="t" r="r" b="b"/>
            <a:pathLst>
              <a:path w="615051" h="185018">
                <a:moveTo>
                  <a:pt x="306819" y="0"/>
                </a:moveTo>
                <a:lnTo>
                  <a:pt x="279948" y="1411"/>
                </a:lnTo>
                <a:lnTo>
                  <a:pt x="253076" y="4233"/>
                </a:lnTo>
                <a:lnTo>
                  <a:pt x="226224" y="8466"/>
                </a:lnTo>
                <a:lnTo>
                  <a:pt x="200763" y="14110"/>
                </a:lnTo>
                <a:lnTo>
                  <a:pt x="176734" y="21184"/>
                </a:lnTo>
                <a:lnTo>
                  <a:pt x="154115" y="31061"/>
                </a:lnTo>
                <a:lnTo>
                  <a:pt x="131497" y="40958"/>
                </a:lnTo>
                <a:lnTo>
                  <a:pt x="110289" y="52246"/>
                </a:lnTo>
                <a:lnTo>
                  <a:pt x="90493" y="66376"/>
                </a:lnTo>
                <a:lnTo>
                  <a:pt x="73519" y="80505"/>
                </a:lnTo>
                <a:lnTo>
                  <a:pt x="56546" y="94616"/>
                </a:lnTo>
                <a:lnTo>
                  <a:pt x="41003" y="111573"/>
                </a:lnTo>
                <a:lnTo>
                  <a:pt x="28282" y="128521"/>
                </a:lnTo>
                <a:lnTo>
                  <a:pt x="16954" y="146884"/>
                </a:lnTo>
                <a:lnTo>
                  <a:pt x="7075" y="165244"/>
                </a:lnTo>
                <a:lnTo>
                  <a:pt x="0" y="185018"/>
                </a:lnTo>
                <a:lnTo>
                  <a:pt x="615051" y="185018"/>
                </a:lnTo>
                <a:lnTo>
                  <a:pt x="607975" y="165244"/>
                </a:lnTo>
                <a:lnTo>
                  <a:pt x="598077" y="146884"/>
                </a:lnTo>
                <a:lnTo>
                  <a:pt x="586768" y="128521"/>
                </a:lnTo>
                <a:lnTo>
                  <a:pt x="574047" y="111573"/>
                </a:lnTo>
                <a:lnTo>
                  <a:pt x="558485" y="94616"/>
                </a:lnTo>
                <a:lnTo>
                  <a:pt x="542942" y="80505"/>
                </a:lnTo>
                <a:lnTo>
                  <a:pt x="524557" y="66376"/>
                </a:lnTo>
                <a:lnTo>
                  <a:pt x="504761" y="52246"/>
                </a:lnTo>
                <a:lnTo>
                  <a:pt x="483553" y="40958"/>
                </a:lnTo>
                <a:lnTo>
                  <a:pt x="460935" y="31061"/>
                </a:lnTo>
                <a:lnTo>
                  <a:pt x="436886" y="21184"/>
                </a:lnTo>
                <a:lnTo>
                  <a:pt x="412856" y="14110"/>
                </a:lnTo>
                <a:lnTo>
                  <a:pt x="387415" y="8466"/>
                </a:lnTo>
                <a:lnTo>
                  <a:pt x="361954" y="4233"/>
                </a:lnTo>
                <a:lnTo>
                  <a:pt x="333672" y="1411"/>
                </a:lnTo>
                <a:lnTo>
                  <a:pt x="306819" y="0"/>
                </a:lnTo>
                <a:close/>
              </a:path>
            </a:pathLst>
          </a:custGeom>
          <a:solidFill>
            <a:srgbClr val="FF9900"/>
          </a:solidFill>
        </p:spPr>
        <p:txBody>
          <a:bodyPr wrap="square" lIns="0" tIns="0" rIns="0" bIns="0" rtlCol="0">
            <a:noAutofit/>
          </a:bodyPr>
          <a:lstStyle/>
          <a:p>
            <a:endParaRPr/>
          </a:p>
        </p:txBody>
      </p:sp>
      <p:sp>
        <p:nvSpPr>
          <p:cNvPr id="47" name="object 47"/>
          <p:cNvSpPr/>
          <p:nvPr/>
        </p:nvSpPr>
        <p:spPr>
          <a:xfrm>
            <a:off x="2759878" y="5449912"/>
            <a:ext cx="711189" cy="124293"/>
          </a:xfrm>
          <a:custGeom>
            <a:avLst/>
            <a:gdLst/>
            <a:ahLst/>
            <a:cxnLst/>
            <a:rect l="l" t="t" r="r" b="b"/>
            <a:pathLst>
              <a:path w="711189" h="124293">
                <a:moveTo>
                  <a:pt x="687159" y="1412"/>
                </a:moveTo>
                <a:lnTo>
                  <a:pt x="5664" y="1412"/>
                </a:lnTo>
                <a:lnTo>
                  <a:pt x="4253" y="18360"/>
                </a:lnTo>
                <a:lnTo>
                  <a:pt x="0" y="57910"/>
                </a:lnTo>
                <a:lnTo>
                  <a:pt x="0" y="70621"/>
                </a:lnTo>
                <a:lnTo>
                  <a:pt x="1411" y="83333"/>
                </a:lnTo>
                <a:lnTo>
                  <a:pt x="4253" y="96044"/>
                </a:lnTo>
                <a:lnTo>
                  <a:pt x="7075" y="108756"/>
                </a:lnTo>
                <a:lnTo>
                  <a:pt x="9898" y="124293"/>
                </a:lnTo>
                <a:lnTo>
                  <a:pt x="701291" y="124293"/>
                </a:lnTo>
                <a:lnTo>
                  <a:pt x="705544" y="108756"/>
                </a:lnTo>
                <a:lnTo>
                  <a:pt x="708367" y="96044"/>
                </a:lnTo>
                <a:lnTo>
                  <a:pt x="709778" y="83333"/>
                </a:lnTo>
                <a:lnTo>
                  <a:pt x="711189" y="70621"/>
                </a:lnTo>
                <a:lnTo>
                  <a:pt x="711189" y="57910"/>
                </a:lnTo>
                <a:lnTo>
                  <a:pt x="705544" y="0"/>
                </a:lnTo>
                <a:lnTo>
                  <a:pt x="687159" y="1412"/>
                </a:lnTo>
                <a:close/>
              </a:path>
            </a:pathLst>
          </a:custGeom>
          <a:solidFill>
            <a:srgbClr val="000000"/>
          </a:solidFill>
        </p:spPr>
        <p:txBody>
          <a:bodyPr wrap="square" lIns="0" tIns="0" rIns="0" bIns="0" rtlCol="0">
            <a:noAutofit/>
          </a:bodyPr>
          <a:lstStyle/>
          <a:p>
            <a:endParaRPr/>
          </a:p>
        </p:txBody>
      </p:sp>
      <p:sp>
        <p:nvSpPr>
          <p:cNvPr id="48" name="object 48"/>
          <p:cNvSpPr/>
          <p:nvPr/>
        </p:nvSpPr>
        <p:spPr>
          <a:xfrm>
            <a:off x="2799469" y="5492285"/>
            <a:ext cx="632024" cy="42371"/>
          </a:xfrm>
          <a:custGeom>
            <a:avLst/>
            <a:gdLst/>
            <a:ahLst/>
            <a:cxnLst/>
            <a:rect l="l" t="t" r="r" b="b"/>
            <a:pathLst>
              <a:path w="632024" h="42371">
                <a:moveTo>
                  <a:pt x="0" y="15536"/>
                </a:moveTo>
                <a:lnTo>
                  <a:pt x="0" y="22597"/>
                </a:lnTo>
                <a:lnTo>
                  <a:pt x="1411" y="28247"/>
                </a:lnTo>
                <a:lnTo>
                  <a:pt x="2822" y="35310"/>
                </a:lnTo>
                <a:lnTo>
                  <a:pt x="4233" y="42371"/>
                </a:lnTo>
                <a:lnTo>
                  <a:pt x="627771" y="42371"/>
                </a:lnTo>
                <a:lnTo>
                  <a:pt x="629182" y="35310"/>
                </a:lnTo>
                <a:lnTo>
                  <a:pt x="630593" y="28247"/>
                </a:lnTo>
                <a:lnTo>
                  <a:pt x="632024" y="22597"/>
                </a:lnTo>
                <a:lnTo>
                  <a:pt x="632024" y="11297"/>
                </a:lnTo>
                <a:lnTo>
                  <a:pt x="630593" y="5649"/>
                </a:lnTo>
                <a:lnTo>
                  <a:pt x="630593" y="0"/>
                </a:lnTo>
                <a:lnTo>
                  <a:pt x="2822" y="0"/>
                </a:lnTo>
                <a:lnTo>
                  <a:pt x="1411" y="5649"/>
                </a:lnTo>
                <a:lnTo>
                  <a:pt x="1411" y="11297"/>
                </a:lnTo>
                <a:lnTo>
                  <a:pt x="0" y="14123"/>
                </a:lnTo>
                <a:lnTo>
                  <a:pt x="0" y="15536"/>
                </a:lnTo>
                <a:close/>
              </a:path>
            </a:pathLst>
          </a:custGeom>
          <a:solidFill>
            <a:srgbClr val="FBBB9E"/>
          </a:solidFill>
        </p:spPr>
        <p:txBody>
          <a:bodyPr wrap="square" lIns="0" tIns="0" rIns="0" bIns="0" rtlCol="0">
            <a:noAutofit/>
          </a:bodyPr>
          <a:lstStyle/>
          <a:p>
            <a:endParaRPr/>
          </a:p>
        </p:txBody>
      </p:sp>
      <p:sp>
        <p:nvSpPr>
          <p:cNvPr id="49" name="object 49"/>
          <p:cNvSpPr/>
          <p:nvPr/>
        </p:nvSpPr>
        <p:spPr>
          <a:xfrm>
            <a:off x="2345610" y="4568563"/>
            <a:ext cx="921870" cy="950556"/>
          </a:xfrm>
          <a:custGeom>
            <a:avLst/>
            <a:gdLst/>
            <a:ahLst/>
            <a:cxnLst/>
            <a:rect l="l" t="t" r="r" b="b"/>
            <a:pathLst>
              <a:path w="921870" h="950556">
                <a:moveTo>
                  <a:pt x="7075" y="149704"/>
                </a:moveTo>
                <a:lnTo>
                  <a:pt x="14131" y="173730"/>
                </a:lnTo>
                <a:lnTo>
                  <a:pt x="25440" y="197737"/>
                </a:lnTo>
                <a:lnTo>
                  <a:pt x="38180" y="218922"/>
                </a:lnTo>
                <a:lnTo>
                  <a:pt x="56546" y="235873"/>
                </a:lnTo>
                <a:lnTo>
                  <a:pt x="79184" y="250003"/>
                </a:lnTo>
                <a:lnTo>
                  <a:pt x="97549" y="257058"/>
                </a:lnTo>
                <a:lnTo>
                  <a:pt x="123010" y="262702"/>
                </a:lnTo>
                <a:lnTo>
                  <a:pt x="151293" y="268366"/>
                </a:lnTo>
                <a:lnTo>
                  <a:pt x="185220" y="274010"/>
                </a:lnTo>
                <a:lnTo>
                  <a:pt x="220559" y="279654"/>
                </a:lnTo>
                <a:lnTo>
                  <a:pt x="260152" y="285298"/>
                </a:lnTo>
                <a:lnTo>
                  <a:pt x="299744" y="290961"/>
                </a:lnTo>
                <a:lnTo>
                  <a:pt x="342158" y="295195"/>
                </a:lnTo>
                <a:lnTo>
                  <a:pt x="383162" y="299428"/>
                </a:lnTo>
                <a:lnTo>
                  <a:pt x="422754" y="303661"/>
                </a:lnTo>
                <a:lnTo>
                  <a:pt x="462346" y="306483"/>
                </a:lnTo>
                <a:lnTo>
                  <a:pt x="499096" y="309324"/>
                </a:lnTo>
                <a:lnTo>
                  <a:pt x="533044" y="312146"/>
                </a:lnTo>
                <a:lnTo>
                  <a:pt x="562738" y="314968"/>
                </a:lnTo>
                <a:lnTo>
                  <a:pt x="588179" y="316379"/>
                </a:lnTo>
                <a:lnTo>
                  <a:pt x="607975" y="317790"/>
                </a:lnTo>
                <a:lnTo>
                  <a:pt x="591001" y="358749"/>
                </a:lnTo>
                <a:lnTo>
                  <a:pt x="565560" y="419481"/>
                </a:lnTo>
                <a:lnTo>
                  <a:pt x="535866" y="492932"/>
                </a:lnTo>
                <a:lnTo>
                  <a:pt x="504761" y="577671"/>
                </a:lnTo>
                <a:lnTo>
                  <a:pt x="472244" y="668073"/>
                </a:lnTo>
                <a:lnTo>
                  <a:pt x="442550" y="761298"/>
                </a:lnTo>
                <a:lnTo>
                  <a:pt x="417090" y="850274"/>
                </a:lnTo>
                <a:lnTo>
                  <a:pt x="400135" y="933608"/>
                </a:lnTo>
                <a:lnTo>
                  <a:pt x="400135" y="940669"/>
                </a:lnTo>
                <a:lnTo>
                  <a:pt x="401547" y="943495"/>
                </a:lnTo>
                <a:lnTo>
                  <a:pt x="404369" y="946319"/>
                </a:lnTo>
                <a:lnTo>
                  <a:pt x="407191" y="949145"/>
                </a:lnTo>
                <a:lnTo>
                  <a:pt x="411445" y="950556"/>
                </a:lnTo>
                <a:lnTo>
                  <a:pt x="418520" y="950556"/>
                </a:lnTo>
                <a:lnTo>
                  <a:pt x="422754" y="949145"/>
                </a:lnTo>
                <a:lnTo>
                  <a:pt x="426988" y="946319"/>
                </a:lnTo>
                <a:lnTo>
                  <a:pt x="439728" y="937845"/>
                </a:lnTo>
                <a:lnTo>
                  <a:pt x="459524" y="925132"/>
                </a:lnTo>
                <a:lnTo>
                  <a:pt x="483553" y="909597"/>
                </a:lnTo>
                <a:lnTo>
                  <a:pt x="514659" y="891234"/>
                </a:lnTo>
                <a:lnTo>
                  <a:pt x="547175" y="871461"/>
                </a:lnTo>
                <a:lnTo>
                  <a:pt x="585356" y="850274"/>
                </a:lnTo>
                <a:lnTo>
                  <a:pt x="623537" y="827676"/>
                </a:lnTo>
                <a:lnTo>
                  <a:pt x="664541" y="805077"/>
                </a:lnTo>
                <a:lnTo>
                  <a:pt x="705544" y="783894"/>
                </a:lnTo>
                <a:lnTo>
                  <a:pt x="745117" y="762709"/>
                </a:lnTo>
                <a:lnTo>
                  <a:pt x="784709" y="744346"/>
                </a:lnTo>
                <a:lnTo>
                  <a:pt x="821479" y="730217"/>
                </a:lnTo>
                <a:lnTo>
                  <a:pt x="853995" y="717498"/>
                </a:lnTo>
                <a:lnTo>
                  <a:pt x="883689" y="710443"/>
                </a:lnTo>
                <a:lnTo>
                  <a:pt x="907719" y="707621"/>
                </a:lnTo>
                <a:lnTo>
                  <a:pt x="910542" y="707621"/>
                </a:lnTo>
                <a:lnTo>
                  <a:pt x="913384" y="706210"/>
                </a:lnTo>
                <a:lnTo>
                  <a:pt x="916206" y="704799"/>
                </a:lnTo>
                <a:lnTo>
                  <a:pt x="919028" y="701977"/>
                </a:lnTo>
                <a:lnTo>
                  <a:pt x="920440" y="699155"/>
                </a:lnTo>
                <a:lnTo>
                  <a:pt x="921870" y="697724"/>
                </a:lnTo>
                <a:lnTo>
                  <a:pt x="921870" y="690669"/>
                </a:lnTo>
                <a:lnTo>
                  <a:pt x="913384" y="635581"/>
                </a:lnTo>
                <a:lnTo>
                  <a:pt x="902074" y="567794"/>
                </a:lnTo>
                <a:lnTo>
                  <a:pt x="890765" y="492932"/>
                </a:lnTo>
                <a:lnTo>
                  <a:pt x="878025" y="415248"/>
                </a:lnTo>
                <a:lnTo>
                  <a:pt x="866716" y="343208"/>
                </a:lnTo>
                <a:lnTo>
                  <a:pt x="858229" y="281065"/>
                </a:lnTo>
                <a:lnTo>
                  <a:pt x="852584" y="234462"/>
                </a:lnTo>
                <a:lnTo>
                  <a:pt x="849762" y="209025"/>
                </a:lnTo>
                <a:lnTo>
                  <a:pt x="848331" y="192093"/>
                </a:lnTo>
                <a:lnTo>
                  <a:pt x="844097" y="175141"/>
                </a:lnTo>
                <a:lnTo>
                  <a:pt x="835610" y="158189"/>
                </a:lnTo>
                <a:lnTo>
                  <a:pt x="825712" y="144060"/>
                </a:lnTo>
                <a:lnTo>
                  <a:pt x="812992" y="131361"/>
                </a:lnTo>
                <a:lnTo>
                  <a:pt x="796018" y="122875"/>
                </a:lnTo>
                <a:lnTo>
                  <a:pt x="777653" y="117231"/>
                </a:lnTo>
                <a:lnTo>
                  <a:pt x="755015" y="114409"/>
                </a:lnTo>
                <a:lnTo>
                  <a:pt x="742294" y="114409"/>
                </a:lnTo>
                <a:lnTo>
                  <a:pt x="722498" y="112998"/>
                </a:lnTo>
                <a:lnTo>
                  <a:pt x="697057" y="110156"/>
                </a:lnTo>
                <a:lnTo>
                  <a:pt x="667363" y="108745"/>
                </a:lnTo>
                <a:lnTo>
                  <a:pt x="633416" y="104512"/>
                </a:lnTo>
                <a:lnTo>
                  <a:pt x="595254" y="101690"/>
                </a:lnTo>
                <a:lnTo>
                  <a:pt x="557073" y="97457"/>
                </a:lnTo>
                <a:lnTo>
                  <a:pt x="516070" y="93224"/>
                </a:lnTo>
                <a:lnTo>
                  <a:pt x="475067" y="88972"/>
                </a:lnTo>
                <a:lnTo>
                  <a:pt x="435474" y="84738"/>
                </a:lnTo>
                <a:lnTo>
                  <a:pt x="395882" y="81916"/>
                </a:lnTo>
                <a:lnTo>
                  <a:pt x="360543" y="77683"/>
                </a:lnTo>
                <a:lnTo>
                  <a:pt x="326615" y="73450"/>
                </a:lnTo>
                <a:lnTo>
                  <a:pt x="298333" y="70609"/>
                </a:lnTo>
                <a:lnTo>
                  <a:pt x="275714" y="67787"/>
                </a:lnTo>
                <a:lnTo>
                  <a:pt x="258740" y="66376"/>
                </a:lnTo>
                <a:lnTo>
                  <a:pt x="258740" y="11288"/>
                </a:lnTo>
                <a:lnTo>
                  <a:pt x="257329" y="8466"/>
                </a:lnTo>
                <a:lnTo>
                  <a:pt x="254507" y="7055"/>
                </a:lnTo>
                <a:lnTo>
                  <a:pt x="253076" y="4233"/>
                </a:lnTo>
                <a:lnTo>
                  <a:pt x="250254" y="2822"/>
                </a:lnTo>
                <a:lnTo>
                  <a:pt x="248842" y="0"/>
                </a:lnTo>
                <a:lnTo>
                  <a:pt x="243178" y="0"/>
                </a:lnTo>
                <a:lnTo>
                  <a:pt x="18384" y="5644"/>
                </a:lnTo>
                <a:lnTo>
                  <a:pt x="12720" y="7055"/>
                </a:lnTo>
                <a:lnTo>
                  <a:pt x="9898" y="9877"/>
                </a:lnTo>
                <a:lnTo>
                  <a:pt x="5644" y="12699"/>
                </a:lnTo>
                <a:lnTo>
                  <a:pt x="4233" y="18362"/>
                </a:lnTo>
                <a:lnTo>
                  <a:pt x="4233" y="24006"/>
                </a:lnTo>
                <a:lnTo>
                  <a:pt x="2822" y="36725"/>
                </a:lnTo>
                <a:lnTo>
                  <a:pt x="0" y="55088"/>
                </a:lnTo>
                <a:lnTo>
                  <a:pt x="0" y="98868"/>
                </a:lnTo>
                <a:lnTo>
                  <a:pt x="2822" y="124286"/>
                </a:lnTo>
                <a:lnTo>
                  <a:pt x="7075" y="149704"/>
                </a:lnTo>
                <a:close/>
              </a:path>
            </a:pathLst>
          </a:custGeom>
          <a:solidFill>
            <a:srgbClr val="000000"/>
          </a:solidFill>
        </p:spPr>
        <p:txBody>
          <a:bodyPr wrap="square" lIns="0" tIns="0" rIns="0" bIns="0" rtlCol="0">
            <a:noAutofit/>
          </a:bodyPr>
          <a:lstStyle/>
          <a:p>
            <a:endParaRPr/>
          </a:p>
        </p:txBody>
      </p:sp>
      <p:sp>
        <p:nvSpPr>
          <p:cNvPr id="50" name="object 50"/>
          <p:cNvSpPr/>
          <p:nvPr/>
        </p:nvSpPr>
        <p:spPr>
          <a:xfrm>
            <a:off x="2375305" y="4598214"/>
            <a:ext cx="861071" cy="875707"/>
          </a:xfrm>
          <a:custGeom>
            <a:avLst/>
            <a:gdLst/>
            <a:ahLst/>
            <a:cxnLst/>
            <a:rect l="l" t="t" r="r" b="b"/>
            <a:pathLst>
              <a:path w="861071" h="875707">
                <a:moveTo>
                  <a:pt x="497685" y="819210"/>
                </a:moveTo>
                <a:lnTo>
                  <a:pt x="525968" y="802262"/>
                </a:lnTo>
                <a:lnTo>
                  <a:pt x="557073" y="783900"/>
                </a:lnTo>
                <a:lnTo>
                  <a:pt x="589590" y="765531"/>
                </a:lnTo>
                <a:lnTo>
                  <a:pt x="622107" y="747168"/>
                </a:lnTo>
                <a:lnTo>
                  <a:pt x="656054" y="730236"/>
                </a:lnTo>
                <a:lnTo>
                  <a:pt x="688570" y="713285"/>
                </a:lnTo>
                <a:lnTo>
                  <a:pt x="721087" y="697744"/>
                </a:lnTo>
                <a:lnTo>
                  <a:pt x="753604" y="683614"/>
                </a:lnTo>
                <a:lnTo>
                  <a:pt x="783298" y="672326"/>
                </a:lnTo>
                <a:lnTo>
                  <a:pt x="811581" y="661018"/>
                </a:lnTo>
                <a:lnTo>
                  <a:pt x="838433" y="653963"/>
                </a:lnTo>
                <a:lnTo>
                  <a:pt x="861071" y="649711"/>
                </a:lnTo>
                <a:lnTo>
                  <a:pt x="853995" y="608752"/>
                </a:lnTo>
                <a:lnTo>
                  <a:pt x="844097" y="549431"/>
                </a:lnTo>
                <a:lnTo>
                  <a:pt x="832788" y="477411"/>
                </a:lnTo>
                <a:lnTo>
                  <a:pt x="821479" y="399727"/>
                </a:lnTo>
                <a:lnTo>
                  <a:pt x="808739" y="324865"/>
                </a:lnTo>
                <a:lnTo>
                  <a:pt x="800271" y="258489"/>
                </a:lnTo>
                <a:lnTo>
                  <a:pt x="793196" y="207634"/>
                </a:lnTo>
                <a:lnTo>
                  <a:pt x="790373" y="179374"/>
                </a:lnTo>
                <a:lnTo>
                  <a:pt x="788962" y="166675"/>
                </a:lnTo>
                <a:lnTo>
                  <a:pt x="786120" y="155367"/>
                </a:lnTo>
                <a:lnTo>
                  <a:pt x="781887" y="144079"/>
                </a:lnTo>
                <a:lnTo>
                  <a:pt x="774811" y="134183"/>
                </a:lnTo>
                <a:lnTo>
                  <a:pt x="764913" y="125717"/>
                </a:lnTo>
                <a:lnTo>
                  <a:pt x="753604" y="120053"/>
                </a:lnTo>
                <a:lnTo>
                  <a:pt x="740883" y="115820"/>
                </a:lnTo>
                <a:lnTo>
                  <a:pt x="725321" y="114409"/>
                </a:lnTo>
                <a:lnTo>
                  <a:pt x="711189" y="114409"/>
                </a:lnTo>
                <a:lnTo>
                  <a:pt x="688570" y="112998"/>
                </a:lnTo>
                <a:lnTo>
                  <a:pt x="660288" y="110176"/>
                </a:lnTo>
                <a:lnTo>
                  <a:pt x="624949" y="107354"/>
                </a:lnTo>
                <a:lnTo>
                  <a:pt x="586768" y="103121"/>
                </a:lnTo>
                <a:lnTo>
                  <a:pt x="544353" y="98868"/>
                </a:lnTo>
                <a:lnTo>
                  <a:pt x="500508" y="94635"/>
                </a:lnTo>
                <a:lnTo>
                  <a:pt x="455271" y="90402"/>
                </a:lnTo>
                <a:lnTo>
                  <a:pt x="411445" y="86169"/>
                </a:lnTo>
                <a:lnTo>
                  <a:pt x="369030" y="81936"/>
                </a:lnTo>
                <a:lnTo>
                  <a:pt x="328027" y="77683"/>
                </a:lnTo>
                <a:lnTo>
                  <a:pt x="292668" y="73450"/>
                </a:lnTo>
                <a:lnTo>
                  <a:pt x="261563" y="70628"/>
                </a:lnTo>
                <a:lnTo>
                  <a:pt x="237533" y="67806"/>
                </a:lnTo>
                <a:lnTo>
                  <a:pt x="220559" y="66395"/>
                </a:lnTo>
                <a:lnTo>
                  <a:pt x="212073" y="64984"/>
                </a:lnTo>
                <a:lnTo>
                  <a:pt x="206428" y="63573"/>
                </a:lnTo>
                <a:lnTo>
                  <a:pt x="203605" y="60732"/>
                </a:lnTo>
                <a:lnTo>
                  <a:pt x="200763" y="56499"/>
                </a:lnTo>
                <a:lnTo>
                  <a:pt x="199352" y="50855"/>
                </a:lnTo>
                <a:lnTo>
                  <a:pt x="199352" y="0"/>
                </a:lnTo>
                <a:lnTo>
                  <a:pt x="183809" y="0"/>
                </a:lnTo>
                <a:lnTo>
                  <a:pt x="161171" y="1411"/>
                </a:lnTo>
                <a:lnTo>
                  <a:pt x="131497" y="1411"/>
                </a:lnTo>
                <a:lnTo>
                  <a:pt x="98960" y="2822"/>
                </a:lnTo>
                <a:lnTo>
                  <a:pt x="67855" y="4252"/>
                </a:lnTo>
                <a:lnTo>
                  <a:pt x="39592" y="4252"/>
                </a:lnTo>
                <a:lnTo>
                  <a:pt x="16954" y="5663"/>
                </a:lnTo>
                <a:lnTo>
                  <a:pt x="2822" y="5663"/>
                </a:lnTo>
                <a:lnTo>
                  <a:pt x="1411" y="14129"/>
                </a:lnTo>
                <a:lnTo>
                  <a:pt x="1411" y="24026"/>
                </a:lnTo>
                <a:lnTo>
                  <a:pt x="0" y="33903"/>
                </a:lnTo>
                <a:lnTo>
                  <a:pt x="0" y="66395"/>
                </a:lnTo>
                <a:lnTo>
                  <a:pt x="2822" y="88991"/>
                </a:lnTo>
                <a:lnTo>
                  <a:pt x="5644" y="110176"/>
                </a:lnTo>
                <a:lnTo>
                  <a:pt x="11309" y="131361"/>
                </a:lnTo>
                <a:lnTo>
                  <a:pt x="19796" y="151134"/>
                </a:lnTo>
                <a:lnTo>
                  <a:pt x="31105" y="168086"/>
                </a:lnTo>
                <a:lnTo>
                  <a:pt x="43825" y="182216"/>
                </a:lnTo>
                <a:lnTo>
                  <a:pt x="62210" y="193504"/>
                </a:lnTo>
                <a:lnTo>
                  <a:pt x="83418" y="200578"/>
                </a:lnTo>
                <a:lnTo>
                  <a:pt x="111700" y="207634"/>
                </a:lnTo>
                <a:lnTo>
                  <a:pt x="145628" y="213278"/>
                </a:lnTo>
                <a:lnTo>
                  <a:pt x="183809" y="220352"/>
                </a:lnTo>
                <a:lnTo>
                  <a:pt x="226224" y="225996"/>
                </a:lnTo>
                <a:lnTo>
                  <a:pt x="271461" y="231640"/>
                </a:lnTo>
                <a:lnTo>
                  <a:pt x="318129" y="235873"/>
                </a:lnTo>
                <a:lnTo>
                  <a:pt x="364777" y="241537"/>
                </a:lnTo>
                <a:lnTo>
                  <a:pt x="410034" y="245770"/>
                </a:lnTo>
                <a:lnTo>
                  <a:pt x="453859" y="248592"/>
                </a:lnTo>
                <a:lnTo>
                  <a:pt x="493452" y="252825"/>
                </a:lnTo>
                <a:lnTo>
                  <a:pt x="528790" y="254236"/>
                </a:lnTo>
                <a:lnTo>
                  <a:pt x="559896" y="257058"/>
                </a:lnTo>
                <a:lnTo>
                  <a:pt x="582514" y="258489"/>
                </a:lnTo>
                <a:lnTo>
                  <a:pt x="598077" y="259900"/>
                </a:lnTo>
                <a:lnTo>
                  <a:pt x="606564" y="259900"/>
                </a:lnTo>
                <a:lnTo>
                  <a:pt x="609386" y="261311"/>
                </a:lnTo>
                <a:lnTo>
                  <a:pt x="612208" y="264133"/>
                </a:lnTo>
                <a:lnTo>
                  <a:pt x="615051" y="266955"/>
                </a:lnTo>
                <a:lnTo>
                  <a:pt x="616462" y="269777"/>
                </a:lnTo>
                <a:lnTo>
                  <a:pt x="616462" y="276832"/>
                </a:lnTo>
                <a:lnTo>
                  <a:pt x="615051" y="279673"/>
                </a:lnTo>
                <a:lnTo>
                  <a:pt x="615051" y="281084"/>
                </a:lnTo>
                <a:lnTo>
                  <a:pt x="607975" y="298036"/>
                </a:lnTo>
                <a:lnTo>
                  <a:pt x="588179" y="341817"/>
                </a:lnTo>
                <a:lnTo>
                  <a:pt x="561307" y="408193"/>
                </a:lnTo>
                <a:lnTo>
                  <a:pt x="528790" y="490110"/>
                </a:lnTo>
                <a:lnTo>
                  <a:pt x="493452" y="583334"/>
                </a:lnTo>
                <a:lnTo>
                  <a:pt x="459504" y="683614"/>
                </a:lnTo>
                <a:lnTo>
                  <a:pt x="428399" y="782489"/>
                </a:lnTo>
                <a:lnTo>
                  <a:pt x="405780" y="875707"/>
                </a:lnTo>
                <a:lnTo>
                  <a:pt x="424165" y="864410"/>
                </a:lnTo>
                <a:lnTo>
                  <a:pt x="445372" y="850284"/>
                </a:lnTo>
                <a:lnTo>
                  <a:pt x="469402" y="836160"/>
                </a:lnTo>
                <a:lnTo>
                  <a:pt x="497685" y="819210"/>
                </a:lnTo>
                <a:close/>
              </a:path>
            </a:pathLst>
          </a:custGeom>
          <a:solidFill>
            <a:srgbClr val="44A8B5"/>
          </a:solidFill>
        </p:spPr>
        <p:txBody>
          <a:bodyPr wrap="square" lIns="0" tIns="0" rIns="0" bIns="0" rtlCol="0">
            <a:noAutofit/>
          </a:bodyPr>
          <a:lstStyle/>
          <a:p>
            <a:endParaRPr/>
          </a:p>
        </p:txBody>
      </p:sp>
      <p:sp>
        <p:nvSpPr>
          <p:cNvPr id="51" name="object 51"/>
          <p:cNvSpPr/>
          <p:nvPr/>
        </p:nvSpPr>
        <p:spPr>
          <a:xfrm>
            <a:off x="2347021" y="3877894"/>
            <a:ext cx="373264" cy="761279"/>
          </a:xfrm>
          <a:custGeom>
            <a:avLst/>
            <a:gdLst/>
            <a:ahLst/>
            <a:cxnLst/>
            <a:rect l="l" t="t" r="r" b="b"/>
            <a:pathLst>
              <a:path w="373264" h="761279">
                <a:moveTo>
                  <a:pt x="12720" y="522583"/>
                </a:moveTo>
                <a:lnTo>
                  <a:pt x="4233" y="615807"/>
                </a:lnTo>
                <a:lnTo>
                  <a:pt x="1411" y="680773"/>
                </a:lnTo>
                <a:lnTo>
                  <a:pt x="0" y="710443"/>
                </a:lnTo>
                <a:lnTo>
                  <a:pt x="0" y="723142"/>
                </a:lnTo>
                <a:lnTo>
                  <a:pt x="9898" y="727395"/>
                </a:lnTo>
                <a:lnTo>
                  <a:pt x="41003" y="740094"/>
                </a:lnTo>
                <a:lnTo>
                  <a:pt x="69286" y="749990"/>
                </a:lnTo>
                <a:lnTo>
                  <a:pt x="96138" y="757045"/>
                </a:lnTo>
                <a:lnTo>
                  <a:pt x="120187" y="759868"/>
                </a:lnTo>
                <a:lnTo>
                  <a:pt x="142806" y="761279"/>
                </a:lnTo>
                <a:lnTo>
                  <a:pt x="162602" y="759868"/>
                </a:lnTo>
                <a:lnTo>
                  <a:pt x="179556" y="757045"/>
                </a:lnTo>
                <a:lnTo>
                  <a:pt x="196530" y="752812"/>
                </a:lnTo>
                <a:lnTo>
                  <a:pt x="209250" y="748579"/>
                </a:lnTo>
                <a:lnTo>
                  <a:pt x="221990" y="742916"/>
                </a:lnTo>
                <a:lnTo>
                  <a:pt x="231888" y="737272"/>
                </a:lnTo>
                <a:lnTo>
                  <a:pt x="240355" y="731628"/>
                </a:lnTo>
                <a:lnTo>
                  <a:pt x="247431" y="725984"/>
                </a:lnTo>
                <a:lnTo>
                  <a:pt x="254507" y="717498"/>
                </a:lnTo>
                <a:lnTo>
                  <a:pt x="255918" y="716087"/>
                </a:lnTo>
                <a:lnTo>
                  <a:pt x="260152" y="710443"/>
                </a:lnTo>
                <a:lnTo>
                  <a:pt x="260152" y="701957"/>
                </a:lnTo>
                <a:lnTo>
                  <a:pt x="251665" y="620040"/>
                </a:lnTo>
                <a:lnTo>
                  <a:pt x="250254" y="555075"/>
                </a:lnTo>
                <a:lnTo>
                  <a:pt x="253096" y="505631"/>
                </a:lnTo>
                <a:lnTo>
                  <a:pt x="261563" y="467495"/>
                </a:lnTo>
                <a:lnTo>
                  <a:pt x="270050" y="442077"/>
                </a:lnTo>
                <a:lnTo>
                  <a:pt x="278536" y="425125"/>
                </a:lnTo>
                <a:lnTo>
                  <a:pt x="285612" y="416659"/>
                </a:lnTo>
                <a:lnTo>
                  <a:pt x="309642" y="398296"/>
                </a:lnTo>
                <a:lnTo>
                  <a:pt x="326615" y="378522"/>
                </a:lnTo>
                <a:lnTo>
                  <a:pt x="340747" y="357338"/>
                </a:lnTo>
                <a:lnTo>
                  <a:pt x="352056" y="336153"/>
                </a:lnTo>
                <a:lnTo>
                  <a:pt x="361954" y="317790"/>
                </a:lnTo>
                <a:lnTo>
                  <a:pt x="367619" y="300839"/>
                </a:lnTo>
                <a:lnTo>
                  <a:pt x="371853" y="289531"/>
                </a:lnTo>
                <a:lnTo>
                  <a:pt x="373264" y="283887"/>
                </a:lnTo>
                <a:lnTo>
                  <a:pt x="373264" y="275421"/>
                </a:lnTo>
                <a:lnTo>
                  <a:pt x="371853" y="266935"/>
                </a:lnTo>
                <a:lnTo>
                  <a:pt x="367619" y="245750"/>
                </a:lnTo>
                <a:lnTo>
                  <a:pt x="360543" y="217511"/>
                </a:lnTo>
                <a:lnTo>
                  <a:pt x="353468" y="183607"/>
                </a:lnTo>
                <a:lnTo>
                  <a:pt x="345000" y="146882"/>
                </a:lnTo>
                <a:lnTo>
                  <a:pt x="335102" y="110156"/>
                </a:lnTo>
                <a:lnTo>
                  <a:pt x="326615" y="76253"/>
                </a:lnTo>
                <a:lnTo>
                  <a:pt x="318129" y="48013"/>
                </a:lnTo>
                <a:lnTo>
                  <a:pt x="312464" y="33883"/>
                </a:lnTo>
                <a:lnTo>
                  <a:pt x="303997" y="22595"/>
                </a:lnTo>
                <a:lnTo>
                  <a:pt x="292668" y="12699"/>
                </a:lnTo>
                <a:lnTo>
                  <a:pt x="279948" y="5644"/>
                </a:lnTo>
                <a:lnTo>
                  <a:pt x="264405" y="1411"/>
                </a:lnTo>
                <a:lnTo>
                  <a:pt x="248842" y="0"/>
                </a:lnTo>
                <a:lnTo>
                  <a:pt x="234711" y="0"/>
                </a:lnTo>
                <a:lnTo>
                  <a:pt x="220559" y="2822"/>
                </a:lnTo>
                <a:lnTo>
                  <a:pt x="207839" y="7055"/>
                </a:lnTo>
                <a:lnTo>
                  <a:pt x="196530" y="9877"/>
                </a:lnTo>
                <a:lnTo>
                  <a:pt x="189454" y="14110"/>
                </a:lnTo>
                <a:lnTo>
                  <a:pt x="185220" y="15521"/>
                </a:lnTo>
                <a:lnTo>
                  <a:pt x="182398" y="16932"/>
                </a:lnTo>
                <a:lnTo>
                  <a:pt x="125832" y="91794"/>
                </a:lnTo>
                <a:lnTo>
                  <a:pt x="82006" y="189251"/>
                </a:lnTo>
                <a:lnTo>
                  <a:pt x="50901" y="299428"/>
                </a:lnTo>
                <a:lnTo>
                  <a:pt x="28282" y="415248"/>
                </a:lnTo>
                <a:lnTo>
                  <a:pt x="12720" y="522583"/>
                </a:lnTo>
                <a:close/>
              </a:path>
            </a:pathLst>
          </a:custGeom>
          <a:solidFill>
            <a:srgbClr val="000000"/>
          </a:solidFill>
        </p:spPr>
        <p:txBody>
          <a:bodyPr wrap="square" lIns="0" tIns="0" rIns="0" bIns="0" rtlCol="0">
            <a:noAutofit/>
          </a:bodyPr>
          <a:lstStyle/>
          <a:p>
            <a:endParaRPr/>
          </a:p>
        </p:txBody>
      </p:sp>
      <p:sp>
        <p:nvSpPr>
          <p:cNvPr id="52" name="object 52"/>
          <p:cNvSpPr/>
          <p:nvPr/>
        </p:nvSpPr>
        <p:spPr>
          <a:xfrm>
            <a:off x="2382361" y="3914599"/>
            <a:ext cx="301175" cy="689278"/>
          </a:xfrm>
          <a:custGeom>
            <a:avLst/>
            <a:gdLst/>
            <a:ahLst/>
            <a:cxnLst/>
            <a:rect l="l" t="t" r="r" b="b"/>
            <a:pathLst>
              <a:path w="301175" h="689278">
                <a:moveTo>
                  <a:pt x="180987" y="5663"/>
                </a:moveTo>
                <a:lnTo>
                  <a:pt x="120187" y="73450"/>
                </a:lnTo>
                <a:lnTo>
                  <a:pt x="83437" y="158209"/>
                </a:lnTo>
                <a:lnTo>
                  <a:pt x="53743" y="255667"/>
                </a:lnTo>
                <a:lnTo>
                  <a:pt x="32536" y="358768"/>
                </a:lnTo>
                <a:lnTo>
                  <a:pt x="18384" y="459048"/>
                </a:lnTo>
                <a:lnTo>
                  <a:pt x="8486" y="548020"/>
                </a:lnTo>
                <a:lnTo>
                  <a:pt x="2842" y="618649"/>
                </a:lnTo>
                <a:lnTo>
                  <a:pt x="0" y="662429"/>
                </a:lnTo>
                <a:lnTo>
                  <a:pt x="41003" y="677970"/>
                </a:lnTo>
                <a:lnTo>
                  <a:pt x="76361" y="686436"/>
                </a:lnTo>
                <a:lnTo>
                  <a:pt x="107467" y="689278"/>
                </a:lnTo>
                <a:lnTo>
                  <a:pt x="132908" y="686436"/>
                </a:lnTo>
                <a:lnTo>
                  <a:pt x="152704" y="682203"/>
                </a:lnTo>
                <a:lnTo>
                  <a:pt x="168266" y="675148"/>
                </a:lnTo>
                <a:lnTo>
                  <a:pt x="180987" y="668093"/>
                </a:lnTo>
                <a:lnTo>
                  <a:pt x="188062" y="662429"/>
                </a:lnTo>
                <a:lnTo>
                  <a:pt x="183809" y="627115"/>
                </a:lnTo>
                <a:lnTo>
                  <a:pt x="180987" y="593231"/>
                </a:lnTo>
                <a:lnTo>
                  <a:pt x="178164" y="563561"/>
                </a:lnTo>
                <a:lnTo>
                  <a:pt x="178164" y="535321"/>
                </a:lnTo>
                <a:lnTo>
                  <a:pt x="180987" y="484466"/>
                </a:lnTo>
                <a:lnTo>
                  <a:pt x="186651" y="442096"/>
                </a:lnTo>
                <a:lnTo>
                  <a:pt x="193707" y="409604"/>
                </a:lnTo>
                <a:lnTo>
                  <a:pt x="203605" y="385597"/>
                </a:lnTo>
                <a:lnTo>
                  <a:pt x="213503" y="368645"/>
                </a:lnTo>
                <a:lnTo>
                  <a:pt x="223401" y="355946"/>
                </a:lnTo>
                <a:lnTo>
                  <a:pt x="230477" y="348872"/>
                </a:lnTo>
                <a:lnTo>
                  <a:pt x="234711" y="346050"/>
                </a:lnTo>
                <a:lnTo>
                  <a:pt x="248862" y="334762"/>
                </a:lnTo>
                <a:lnTo>
                  <a:pt x="261582" y="322043"/>
                </a:lnTo>
                <a:lnTo>
                  <a:pt x="272892" y="306502"/>
                </a:lnTo>
                <a:lnTo>
                  <a:pt x="281378" y="290961"/>
                </a:lnTo>
                <a:lnTo>
                  <a:pt x="288435" y="275440"/>
                </a:lnTo>
                <a:lnTo>
                  <a:pt x="294099" y="261311"/>
                </a:lnTo>
                <a:lnTo>
                  <a:pt x="298333" y="250003"/>
                </a:lnTo>
                <a:lnTo>
                  <a:pt x="301175" y="241537"/>
                </a:lnTo>
                <a:lnTo>
                  <a:pt x="298333" y="228818"/>
                </a:lnTo>
                <a:lnTo>
                  <a:pt x="294099" y="207634"/>
                </a:lnTo>
                <a:lnTo>
                  <a:pt x="288435" y="179394"/>
                </a:lnTo>
                <a:lnTo>
                  <a:pt x="281378" y="146901"/>
                </a:lnTo>
                <a:lnTo>
                  <a:pt x="272892" y="112998"/>
                </a:lnTo>
                <a:lnTo>
                  <a:pt x="264405" y="79094"/>
                </a:lnTo>
                <a:lnTo>
                  <a:pt x="255918" y="48033"/>
                </a:lnTo>
                <a:lnTo>
                  <a:pt x="248862" y="22615"/>
                </a:lnTo>
                <a:lnTo>
                  <a:pt x="246020" y="15540"/>
                </a:lnTo>
                <a:lnTo>
                  <a:pt x="241786" y="9896"/>
                </a:lnTo>
                <a:lnTo>
                  <a:pt x="237553" y="5663"/>
                </a:lnTo>
                <a:lnTo>
                  <a:pt x="231888" y="2841"/>
                </a:lnTo>
                <a:lnTo>
                  <a:pt x="223401" y="0"/>
                </a:lnTo>
                <a:lnTo>
                  <a:pt x="206428" y="0"/>
                </a:lnTo>
                <a:lnTo>
                  <a:pt x="197960" y="1430"/>
                </a:lnTo>
                <a:lnTo>
                  <a:pt x="189474" y="2841"/>
                </a:lnTo>
                <a:lnTo>
                  <a:pt x="180987" y="5663"/>
                </a:lnTo>
                <a:close/>
              </a:path>
            </a:pathLst>
          </a:custGeom>
          <a:solidFill>
            <a:srgbClr val="AAD12C"/>
          </a:solidFill>
        </p:spPr>
        <p:txBody>
          <a:bodyPr wrap="square" lIns="0" tIns="0" rIns="0" bIns="0" rtlCol="0">
            <a:noAutofit/>
          </a:bodyPr>
          <a:lstStyle/>
          <a:p>
            <a:endParaRPr/>
          </a:p>
        </p:txBody>
      </p:sp>
      <p:sp>
        <p:nvSpPr>
          <p:cNvPr id="53" name="object 53"/>
          <p:cNvSpPr/>
          <p:nvPr/>
        </p:nvSpPr>
        <p:spPr>
          <a:xfrm>
            <a:off x="2569013" y="3795957"/>
            <a:ext cx="50901" cy="97457"/>
          </a:xfrm>
          <a:custGeom>
            <a:avLst/>
            <a:gdLst/>
            <a:ahLst/>
            <a:cxnLst/>
            <a:rect l="l" t="t" r="r" b="b"/>
            <a:pathLst>
              <a:path w="50901" h="97457">
                <a:moveTo>
                  <a:pt x="0" y="97457"/>
                </a:moveTo>
                <a:lnTo>
                  <a:pt x="35338" y="97457"/>
                </a:lnTo>
                <a:lnTo>
                  <a:pt x="36750" y="74861"/>
                </a:lnTo>
                <a:lnTo>
                  <a:pt x="41003" y="53677"/>
                </a:lnTo>
                <a:lnTo>
                  <a:pt x="45237" y="38136"/>
                </a:lnTo>
                <a:lnTo>
                  <a:pt x="50901" y="29670"/>
                </a:lnTo>
                <a:lnTo>
                  <a:pt x="28263" y="0"/>
                </a:lnTo>
                <a:lnTo>
                  <a:pt x="12720" y="21184"/>
                </a:lnTo>
                <a:lnTo>
                  <a:pt x="4233" y="49444"/>
                </a:lnTo>
                <a:lnTo>
                  <a:pt x="1411" y="77683"/>
                </a:lnTo>
                <a:lnTo>
                  <a:pt x="0" y="97457"/>
                </a:lnTo>
                <a:close/>
              </a:path>
            </a:pathLst>
          </a:custGeom>
          <a:solidFill>
            <a:srgbClr val="000000"/>
          </a:solidFill>
        </p:spPr>
        <p:txBody>
          <a:bodyPr wrap="square" lIns="0" tIns="0" rIns="0" bIns="0" rtlCol="0">
            <a:noAutofit/>
          </a:bodyPr>
          <a:lstStyle/>
          <a:p>
            <a:endParaRPr/>
          </a:p>
        </p:txBody>
      </p:sp>
      <p:sp>
        <p:nvSpPr>
          <p:cNvPr id="54" name="object 54"/>
          <p:cNvSpPr/>
          <p:nvPr/>
        </p:nvSpPr>
        <p:spPr>
          <a:xfrm>
            <a:off x="3140218" y="4274779"/>
            <a:ext cx="207839" cy="153956"/>
          </a:xfrm>
          <a:custGeom>
            <a:avLst/>
            <a:gdLst/>
            <a:ahLst/>
            <a:cxnLst/>
            <a:rect l="l" t="t" r="r" b="b"/>
            <a:pathLst>
              <a:path w="207839" h="153956">
                <a:moveTo>
                  <a:pt x="82006" y="5644"/>
                </a:moveTo>
                <a:lnTo>
                  <a:pt x="67875" y="8466"/>
                </a:lnTo>
                <a:lnTo>
                  <a:pt x="55154" y="11288"/>
                </a:lnTo>
                <a:lnTo>
                  <a:pt x="43825" y="15540"/>
                </a:lnTo>
                <a:lnTo>
                  <a:pt x="33927" y="21184"/>
                </a:lnTo>
                <a:lnTo>
                  <a:pt x="25460" y="26828"/>
                </a:lnTo>
                <a:lnTo>
                  <a:pt x="16973" y="33903"/>
                </a:lnTo>
                <a:lnTo>
                  <a:pt x="11309" y="42369"/>
                </a:lnTo>
                <a:lnTo>
                  <a:pt x="5664" y="50835"/>
                </a:lnTo>
                <a:lnTo>
                  <a:pt x="2822" y="57910"/>
                </a:lnTo>
                <a:lnTo>
                  <a:pt x="1411" y="66376"/>
                </a:lnTo>
                <a:lnTo>
                  <a:pt x="0" y="74861"/>
                </a:lnTo>
                <a:lnTo>
                  <a:pt x="0" y="81916"/>
                </a:lnTo>
                <a:lnTo>
                  <a:pt x="1411" y="100279"/>
                </a:lnTo>
                <a:lnTo>
                  <a:pt x="5664" y="114409"/>
                </a:lnTo>
                <a:lnTo>
                  <a:pt x="9898" y="125697"/>
                </a:lnTo>
                <a:lnTo>
                  <a:pt x="12720" y="129930"/>
                </a:lnTo>
                <a:lnTo>
                  <a:pt x="14151" y="132772"/>
                </a:lnTo>
                <a:lnTo>
                  <a:pt x="28282" y="144060"/>
                </a:lnTo>
                <a:lnTo>
                  <a:pt x="45256" y="151134"/>
                </a:lnTo>
                <a:lnTo>
                  <a:pt x="65052" y="153956"/>
                </a:lnTo>
                <a:lnTo>
                  <a:pt x="84829" y="153956"/>
                </a:lnTo>
                <a:lnTo>
                  <a:pt x="103214" y="152545"/>
                </a:lnTo>
                <a:lnTo>
                  <a:pt x="118776" y="149704"/>
                </a:lnTo>
                <a:lnTo>
                  <a:pt x="130085" y="145471"/>
                </a:lnTo>
                <a:lnTo>
                  <a:pt x="137161" y="144060"/>
                </a:lnTo>
                <a:lnTo>
                  <a:pt x="139983" y="142649"/>
                </a:lnTo>
                <a:lnTo>
                  <a:pt x="142806" y="141238"/>
                </a:lnTo>
                <a:lnTo>
                  <a:pt x="144217" y="139827"/>
                </a:lnTo>
                <a:lnTo>
                  <a:pt x="147059" y="138416"/>
                </a:lnTo>
                <a:lnTo>
                  <a:pt x="151293" y="134183"/>
                </a:lnTo>
                <a:lnTo>
                  <a:pt x="158368" y="129930"/>
                </a:lnTo>
                <a:lnTo>
                  <a:pt x="164013" y="125697"/>
                </a:lnTo>
                <a:lnTo>
                  <a:pt x="171089" y="120053"/>
                </a:lnTo>
                <a:lnTo>
                  <a:pt x="178164" y="115820"/>
                </a:lnTo>
                <a:lnTo>
                  <a:pt x="185220" y="110156"/>
                </a:lnTo>
                <a:lnTo>
                  <a:pt x="193707" y="107334"/>
                </a:lnTo>
                <a:lnTo>
                  <a:pt x="199372" y="104512"/>
                </a:lnTo>
                <a:lnTo>
                  <a:pt x="203605" y="100279"/>
                </a:lnTo>
                <a:lnTo>
                  <a:pt x="205017" y="96046"/>
                </a:lnTo>
                <a:lnTo>
                  <a:pt x="206428" y="93224"/>
                </a:lnTo>
                <a:lnTo>
                  <a:pt x="207839" y="90383"/>
                </a:lnTo>
                <a:lnTo>
                  <a:pt x="207839" y="87561"/>
                </a:lnTo>
                <a:lnTo>
                  <a:pt x="206428" y="79094"/>
                </a:lnTo>
                <a:lnTo>
                  <a:pt x="202194" y="67787"/>
                </a:lnTo>
                <a:lnTo>
                  <a:pt x="192296" y="53677"/>
                </a:lnTo>
                <a:lnTo>
                  <a:pt x="176734" y="36725"/>
                </a:lnTo>
                <a:lnTo>
                  <a:pt x="166836" y="22595"/>
                </a:lnTo>
                <a:lnTo>
                  <a:pt x="155526" y="12699"/>
                </a:lnTo>
                <a:lnTo>
                  <a:pt x="142806" y="5644"/>
                </a:lnTo>
                <a:lnTo>
                  <a:pt x="130085" y="1411"/>
                </a:lnTo>
                <a:lnTo>
                  <a:pt x="115934" y="0"/>
                </a:lnTo>
                <a:lnTo>
                  <a:pt x="103214" y="1411"/>
                </a:lnTo>
                <a:lnTo>
                  <a:pt x="91904" y="2822"/>
                </a:lnTo>
                <a:lnTo>
                  <a:pt x="82006" y="5644"/>
                </a:lnTo>
                <a:close/>
              </a:path>
            </a:pathLst>
          </a:custGeom>
          <a:solidFill>
            <a:srgbClr val="000000"/>
          </a:solidFill>
        </p:spPr>
        <p:txBody>
          <a:bodyPr wrap="square" lIns="0" tIns="0" rIns="0" bIns="0" rtlCol="0">
            <a:noAutofit/>
          </a:bodyPr>
          <a:lstStyle/>
          <a:p>
            <a:endParaRPr/>
          </a:p>
        </p:txBody>
      </p:sp>
      <p:sp>
        <p:nvSpPr>
          <p:cNvPr id="55" name="object 55"/>
          <p:cNvSpPr/>
          <p:nvPr/>
        </p:nvSpPr>
        <p:spPr>
          <a:xfrm>
            <a:off x="3175577" y="4311504"/>
            <a:ext cx="131477" cy="81916"/>
          </a:xfrm>
          <a:custGeom>
            <a:avLst/>
            <a:gdLst/>
            <a:ahLst/>
            <a:cxnLst/>
            <a:rect l="l" t="t" r="r" b="b"/>
            <a:pathLst>
              <a:path w="131477" h="81916">
                <a:moveTo>
                  <a:pt x="1411" y="36725"/>
                </a:moveTo>
                <a:lnTo>
                  <a:pt x="0" y="40958"/>
                </a:lnTo>
                <a:lnTo>
                  <a:pt x="0" y="45191"/>
                </a:lnTo>
                <a:lnTo>
                  <a:pt x="1411" y="53657"/>
                </a:lnTo>
                <a:lnTo>
                  <a:pt x="2822" y="60732"/>
                </a:lnTo>
                <a:lnTo>
                  <a:pt x="4233" y="67787"/>
                </a:lnTo>
                <a:lnTo>
                  <a:pt x="7056" y="73431"/>
                </a:lnTo>
                <a:lnTo>
                  <a:pt x="12720" y="77683"/>
                </a:lnTo>
                <a:lnTo>
                  <a:pt x="21207" y="80505"/>
                </a:lnTo>
                <a:lnTo>
                  <a:pt x="31105" y="81916"/>
                </a:lnTo>
                <a:lnTo>
                  <a:pt x="42414" y="81916"/>
                </a:lnTo>
                <a:lnTo>
                  <a:pt x="55135" y="80505"/>
                </a:lnTo>
                <a:lnTo>
                  <a:pt x="66444" y="79094"/>
                </a:lnTo>
                <a:lnTo>
                  <a:pt x="77753" y="76272"/>
                </a:lnTo>
                <a:lnTo>
                  <a:pt x="89062" y="73431"/>
                </a:lnTo>
                <a:lnTo>
                  <a:pt x="91904" y="72020"/>
                </a:lnTo>
                <a:lnTo>
                  <a:pt x="94727" y="69198"/>
                </a:lnTo>
                <a:lnTo>
                  <a:pt x="100372" y="64965"/>
                </a:lnTo>
                <a:lnTo>
                  <a:pt x="106036" y="60732"/>
                </a:lnTo>
                <a:lnTo>
                  <a:pt x="111700" y="56499"/>
                </a:lnTo>
                <a:lnTo>
                  <a:pt x="118756" y="52246"/>
                </a:lnTo>
                <a:lnTo>
                  <a:pt x="125832" y="46602"/>
                </a:lnTo>
                <a:lnTo>
                  <a:pt x="131477" y="42369"/>
                </a:lnTo>
                <a:lnTo>
                  <a:pt x="128655" y="38136"/>
                </a:lnTo>
                <a:lnTo>
                  <a:pt x="124421" y="32472"/>
                </a:lnTo>
                <a:lnTo>
                  <a:pt x="120168" y="28239"/>
                </a:lnTo>
                <a:lnTo>
                  <a:pt x="114523" y="24006"/>
                </a:lnTo>
                <a:lnTo>
                  <a:pt x="113112" y="22595"/>
                </a:lnTo>
                <a:lnTo>
                  <a:pt x="111700" y="19773"/>
                </a:lnTo>
                <a:lnTo>
                  <a:pt x="106036" y="9877"/>
                </a:lnTo>
                <a:lnTo>
                  <a:pt x="97549" y="4233"/>
                </a:lnTo>
                <a:lnTo>
                  <a:pt x="89062" y="1411"/>
                </a:lnTo>
                <a:lnTo>
                  <a:pt x="80575" y="0"/>
                </a:lnTo>
                <a:lnTo>
                  <a:pt x="65033" y="0"/>
                </a:lnTo>
                <a:lnTo>
                  <a:pt x="59368" y="1411"/>
                </a:lnTo>
                <a:lnTo>
                  <a:pt x="56546" y="2822"/>
                </a:lnTo>
                <a:lnTo>
                  <a:pt x="55135" y="4233"/>
                </a:lnTo>
                <a:lnTo>
                  <a:pt x="52312" y="4233"/>
                </a:lnTo>
                <a:lnTo>
                  <a:pt x="45237" y="5644"/>
                </a:lnTo>
                <a:lnTo>
                  <a:pt x="38161" y="7055"/>
                </a:lnTo>
                <a:lnTo>
                  <a:pt x="31105" y="9877"/>
                </a:lnTo>
                <a:lnTo>
                  <a:pt x="24029" y="12699"/>
                </a:lnTo>
                <a:lnTo>
                  <a:pt x="16954" y="15540"/>
                </a:lnTo>
                <a:lnTo>
                  <a:pt x="11309" y="19773"/>
                </a:lnTo>
                <a:lnTo>
                  <a:pt x="7056" y="24006"/>
                </a:lnTo>
                <a:lnTo>
                  <a:pt x="2822" y="29650"/>
                </a:lnTo>
                <a:lnTo>
                  <a:pt x="1411" y="32472"/>
                </a:lnTo>
                <a:lnTo>
                  <a:pt x="1411" y="36725"/>
                </a:lnTo>
                <a:close/>
              </a:path>
            </a:pathLst>
          </a:custGeom>
          <a:solidFill>
            <a:srgbClr val="BB6844"/>
          </a:solidFill>
        </p:spPr>
        <p:txBody>
          <a:bodyPr wrap="square" lIns="0" tIns="0" rIns="0" bIns="0" rtlCol="0">
            <a:noAutofit/>
          </a:bodyPr>
          <a:lstStyle/>
          <a:p>
            <a:endParaRPr/>
          </a:p>
        </p:txBody>
      </p:sp>
      <p:sp>
        <p:nvSpPr>
          <p:cNvPr id="56" name="object 56"/>
          <p:cNvSpPr/>
          <p:nvPr/>
        </p:nvSpPr>
        <p:spPr>
          <a:xfrm>
            <a:off x="1977991" y="3230906"/>
            <a:ext cx="1131121" cy="625802"/>
          </a:xfrm>
          <a:custGeom>
            <a:avLst/>
            <a:gdLst/>
            <a:ahLst/>
            <a:cxnLst/>
            <a:rect l="l" t="t" r="r" b="b"/>
            <a:pathLst>
              <a:path w="1131121" h="625802">
                <a:moveTo>
                  <a:pt x="0" y="548118"/>
                </a:moveTo>
                <a:lnTo>
                  <a:pt x="0" y="556584"/>
                </a:lnTo>
                <a:lnTo>
                  <a:pt x="1415" y="563639"/>
                </a:lnTo>
                <a:lnTo>
                  <a:pt x="4241" y="572125"/>
                </a:lnTo>
                <a:lnTo>
                  <a:pt x="7069" y="579180"/>
                </a:lnTo>
                <a:lnTo>
                  <a:pt x="16967" y="593310"/>
                </a:lnTo>
                <a:lnTo>
                  <a:pt x="28279" y="604598"/>
                </a:lnTo>
                <a:lnTo>
                  <a:pt x="43831" y="614494"/>
                </a:lnTo>
                <a:lnTo>
                  <a:pt x="59384" y="621549"/>
                </a:lnTo>
                <a:lnTo>
                  <a:pt x="77765" y="624371"/>
                </a:lnTo>
                <a:lnTo>
                  <a:pt x="96146" y="625802"/>
                </a:lnTo>
                <a:lnTo>
                  <a:pt x="114527" y="624371"/>
                </a:lnTo>
                <a:lnTo>
                  <a:pt x="132908" y="618727"/>
                </a:lnTo>
                <a:lnTo>
                  <a:pt x="138572" y="617316"/>
                </a:lnTo>
                <a:lnTo>
                  <a:pt x="151293" y="611672"/>
                </a:lnTo>
                <a:lnTo>
                  <a:pt x="171089" y="604598"/>
                </a:lnTo>
                <a:lnTo>
                  <a:pt x="193707" y="596132"/>
                </a:lnTo>
                <a:lnTo>
                  <a:pt x="216326" y="586235"/>
                </a:lnTo>
                <a:lnTo>
                  <a:pt x="236122" y="579180"/>
                </a:lnTo>
                <a:lnTo>
                  <a:pt x="253096" y="572125"/>
                </a:lnTo>
                <a:lnTo>
                  <a:pt x="261563" y="569303"/>
                </a:lnTo>
                <a:lnTo>
                  <a:pt x="301155" y="582002"/>
                </a:lnTo>
                <a:lnTo>
                  <a:pt x="339336" y="593310"/>
                </a:lnTo>
                <a:lnTo>
                  <a:pt x="377517" y="603187"/>
                </a:lnTo>
                <a:lnTo>
                  <a:pt x="415678" y="610261"/>
                </a:lnTo>
                <a:lnTo>
                  <a:pt x="453859" y="615905"/>
                </a:lnTo>
                <a:lnTo>
                  <a:pt x="492040" y="620138"/>
                </a:lnTo>
                <a:lnTo>
                  <a:pt x="528810" y="622960"/>
                </a:lnTo>
                <a:lnTo>
                  <a:pt x="565560" y="622960"/>
                </a:lnTo>
                <a:lnTo>
                  <a:pt x="603741" y="621549"/>
                </a:lnTo>
                <a:lnTo>
                  <a:pt x="639080" y="618727"/>
                </a:lnTo>
                <a:lnTo>
                  <a:pt x="675850" y="613083"/>
                </a:lnTo>
                <a:lnTo>
                  <a:pt x="712600" y="607439"/>
                </a:lnTo>
                <a:lnTo>
                  <a:pt x="749370" y="598954"/>
                </a:lnTo>
                <a:lnTo>
                  <a:pt x="784709" y="587666"/>
                </a:lnTo>
                <a:lnTo>
                  <a:pt x="821479" y="576358"/>
                </a:lnTo>
                <a:lnTo>
                  <a:pt x="856818" y="562228"/>
                </a:lnTo>
                <a:lnTo>
                  <a:pt x="880867" y="552351"/>
                </a:lnTo>
                <a:lnTo>
                  <a:pt x="903486" y="541043"/>
                </a:lnTo>
                <a:lnTo>
                  <a:pt x="926104" y="529755"/>
                </a:lnTo>
                <a:lnTo>
                  <a:pt x="948723" y="517037"/>
                </a:lnTo>
                <a:lnTo>
                  <a:pt x="968519" y="502907"/>
                </a:lnTo>
                <a:lnTo>
                  <a:pt x="988315" y="490208"/>
                </a:lnTo>
                <a:lnTo>
                  <a:pt x="1006700" y="474667"/>
                </a:lnTo>
                <a:lnTo>
                  <a:pt x="1025085" y="460537"/>
                </a:lnTo>
                <a:lnTo>
                  <a:pt x="1040627" y="444997"/>
                </a:lnTo>
                <a:lnTo>
                  <a:pt x="1070322" y="412524"/>
                </a:lnTo>
                <a:lnTo>
                  <a:pt x="1094371" y="378620"/>
                </a:lnTo>
                <a:lnTo>
                  <a:pt x="1112736" y="344717"/>
                </a:lnTo>
                <a:lnTo>
                  <a:pt x="1129710" y="282593"/>
                </a:lnTo>
                <a:lnTo>
                  <a:pt x="1131121" y="240263"/>
                </a:lnTo>
                <a:lnTo>
                  <a:pt x="1124045" y="199305"/>
                </a:lnTo>
                <a:lnTo>
                  <a:pt x="1108503" y="159718"/>
                </a:lnTo>
                <a:lnTo>
                  <a:pt x="1091529" y="132870"/>
                </a:lnTo>
                <a:lnTo>
                  <a:pt x="1070322" y="107393"/>
                </a:lnTo>
                <a:lnTo>
                  <a:pt x="1044881" y="84856"/>
                </a:lnTo>
                <a:lnTo>
                  <a:pt x="1018009" y="65063"/>
                </a:lnTo>
                <a:lnTo>
                  <a:pt x="986904" y="48209"/>
                </a:lnTo>
                <a:lnTo>
                  <a:pt x="952976" y="32531"/>
                </a:lnTo>
                <a:lnTo>
                  <a:pt x="917617" y="21361"/>
                </a:lnTo>
                <a:lnTo>
                  <a:pt x="879456" y="11366"/>
                </a:lnTo>
                <a:lnTo>
                  <a:pt x="838452" y="4311"/>
                </a:lnTo>
                <a:lnTo>
                  <a:pt x="797449" y="0"/>
                </a:lnTo>
                <a:lnTo>
                  <a:pt x="753604" y="0"/>
                </a:lnTo>
                <a:lnTo>
                  <a:pt x="709778" y="1567"/>
                </a:lnTo>
                <a:lnTo>
                  <a:pt x="664541" y="5683"/>
                </a:lnTo>
                <a:lnTo>
                  <a:pt x="617873" y="14306"/>
                </a:lnTo>
                <a:lnTo>
                  <a:pt x="572636" y="25476"/>
                </a:lnTo>
                <a:lnTo>
                  <a:pt x="525968" y="39586"/>
                </a:lnTo>
                <a:lnTo>
                  <a:pt x="487807" y="53696"/>
                </a:lnTo>
                <a:lnTo>
                  <a:pt x="451037" y="69374"/>
                </a:lnTo>
                <a:lnTo>
                  <a:pt x="417109" y="87600"/>
                </a:lnTo>
                <a:lnTo>
                  <a:pt x="384573" y="106021"/>
                </a:lnTo>
                <a:lnTo>
                  <a:pt x="353468" y="125815"/>
                </a:lnTo>
                <a:lnTo>
                  <a:pt x="325204" y="146980"/>
                </a:lnTo>
                <a:lnTo>
                  <a:pt x="298333" y="169517"/>
                </a:lnTo>
                <a:lnTo>
                  <a:pt x="274303" y="193621"/>
                </a:lnTo>
                <a:lnTo>
                  <a:pt x="253096" y="217530"/>
                </a:lnTo>
                <a:lnTo>
                  <a:pt x="217737" y="268483"/>
                </a:lnTo>
                <a:lnTo>
                  <a:pt x="193707" y="322180"/>
                </a:lnTo>
                <a:lnTo>
                  <a:pt x="180987" y="375798"/>
                </a:lnTo>
                <a:lnTo>
                  <a:pt x="179576" y="402627"/>
                </a:lnTo>
                <a:lnTo>
                  <a:pt x="179576" y="419579"/>
                </a:lnTo>
                <a:lnTo>
                  <a:pt x="180987" y="425223"/>
                </a:lnTo>
                <a:lnTo>
                  <a:pt x="169678" y="429456"/>
                </a:lnTo>
                <a:lnTo>
                  <a:pt x="152704" y="435120"/>
                </a:lnTo>
                <a:lnTo>
                  <a:pt x="131497" y="443586"/>
                </a:lnTo>
                <a:lnTo>
                  <a:pt x="110285" y="450660"/>
                </a:lnTo>
                <a:lnTo>
                  <a:pt x="89076" y="459126"/>
                </a:lnTo>
                <a:lnTo>
                  <a:pt x="72108" y="466181"/>
                </a:lnTo>
                <a:lnTo>
                  <a:pt x="59384" y="470434"/>
                </a:lnTo>
                <a:lnTo>
                  <a:pt x="55142" y="471845"/>
                </a:lnTo>
                <a:lnTo>
                  <a:pt x="55142" y="473256"/>
                </a:lnTo>
                <a:lnTo>
                  <a:pt x="45244" y="477489"/>
                </a:lnTo>
                <a:lnTo>
                  <a:pt x="36761" y="481722"/>
                </a:lnTo>
                <a:lnTo>
                  <a:pt x="29692" y="488797"/>
                </a:lnTo>
                <a:lnTo>
                  <a:pt x="22622" y="494441"/>
                </a:lnTo>
                <a:lnTo>
                  <a:pt x="16967" y="501496"/>
                </a:lnTo>
                <a:lnTo>
                  <a:pt x="11311" y="508571"/>
                </a:lnTo>
                <a:lnTo>
                  <a:pt x="7069" y="515626"/>
                </a:lnTo>
                <a:lnTo>
                  <a:pt x="4241" y="524092"/>
                </a:lnTo>
                <a:lnTo>
                  <a:pt x="2828" y="529755"/>
                </a:lnTo>
                <a:lnTo>
                  <a:pt x="1415" y="535399"/>
                </a:lnTo>
                <a:lnTo>
                  <a:pt x="0" y="542454"/>
                </a:lnTo>
                <a:lnTo>
                  <a:pt x="0" y="548118"/>
                </a:lnTo>
                <a:close/>
              </a:path>
            </a:pathLst>
          </a:custGeom>
          <a:solidFill>
            <a:srgbClr val="000000"/>
          </a:solidFill>
        </p:spPr>
        <p:txBody>
          <a:bodyPr wrap="square" lIns="0" tIns="0" rIns="0" bIns="0" rtlCol="0">
            <a:noAutofit/>
          </a:bodyPr>
          <a:lstStyle/>
          <a:p>
            <a:endParaRPr/>
          </a:p>
        </p:txBody>
      </p:sp>
      <p:sp>
        <p:nvSpPr>
          <p:cNvPr id="57" name="object 57"/>
          <p:cNvSpPr/>
          <p:nvPr/>
        </p:nvSpPr>
        <p:spPr>
          <a:xfrm>
            <a:off x="2013340" y="3266378"/>
            <a:ext cx="1060433" cy="553605"/>
          </a:xfrm>
          <a:custGeom>
            <a:avLst/>
            <a:gdLst/>
            <a:ahLst/>
            <a:cxnLst/>
            <a:rect l="l" t="t" r="r" b="b"/>
            <a:pathLst>
              <a:path w="1060433" h="553605">
                <a:moveTo>
                  <a:pt x="171079" y="418011"/>
                </a:moveTo>
                <a:lnTo>
                  <a:pt x="32518" y="468847"/>
                </a:lnTo>
                <a:lnTo>
                  <a:pt x="33933" y="470258"/>
                </a:lnTo>
                <a:lnTo>
                  <a:pt x="22622" y="475921"/>
                </a:lnTo>
                <a:lnTo>
                  <a:pt x="14137" y="482976"/>
                </a:lnTo>
                <a:lnTo>
                  <a:pt x="7069" y="491442"/>
                </a:lnTo>
                <a:lnTo>
                  <a:pt x="2826" y="501339"/>
                </a:lnTo>
                <a:lnTo>
                  <a:pt x="0" y="508394"/>
                </a:lnTo>
                <a:lnTo>
                  <a:pt x="0" y="514058"/>
                </a:lnTo>
                <a:lnTo>
                  <a:pt x="1413" y="521113"/>
                </a:lnTo>
                <a:lnTo>
                  <a:pt x="4241" y="528168"/>
                </a:lnTo>
                <a:lnTo>
                  <a:pt x="9896" y="536654"/>
                </a:lnTo>
                <a:lnTo>
                  <a:pt x="18380" y="542298"/>
                </a:lnTo>
                <a:lnTo>
                  <a:pt x="26863" y="547942"/>
                </a:lnTo>
                <a:lnTo>
                  <a:pt x="38175" y="550764"/>
                </a:lnTo>
                <a:lnTo>
                  <a:pt x="49486" y="553605"/>
                </a:lnTo>
                <a:lnTo>
                  <a:pt x="60797" y="553605"/>
                </a:lnTo>
                <a:lnTo>
                  <a:pt x="73521" y="552194"/>
                </a:lnTo>
                <a:lnTo>
                  <a:pt x="84833" y="549353"/>
                </a:lnTo>
                <a:lnTo>
                  <a:pt x="219158" y="498517"/>
                </a:lnTo>
                <a:lnTo>
                  <a:pt x="221980" y="497106"/>
                </a:lnTo>
                <a:lnTo>
                  <a:pt x="229056" y="497106"/>
                </a:lnTo>
                <a:lnTo>
                  <a:pt x="270059" y="511216"/>
                </a:lnTo>
                <a:lnTo>
                  <a:pt x="308221" y="522524"/>
                </a:lnTo>
                <a:lnTo>
                  <a:pt x="344991" y="530990"/>
                </a:lnTo>
                <a:lnTo>
                  <a:pt x="381760" y="538065"/>
                </a:lnTo>
                <a:lnTo>
                  <a:pt x="418511" y="545120"/>
                </a:lnTo>
                <a:lnTo>
                  <a:pt x="455280" y="547942"/>
                </a:lnTo>
                <a:lnTo>
                  <a:pt x="490619" y="550764"/>
                </a:lnTo>
                <a:lnTo>
                  <a:pt x="562728" y="550764"/>
                </a:lnTo>
                <a:lnTo>
                  <a:pt x="598087" y="547942"/>
                </a:lnTo>
                <a:lnTo>
                  <a:pt x="633426" y="542298"/>
                </a:lnTo>
                <a:lnTo>
                  <a:pt x="668784" y="536654"/>
                </a:lnTo>
                <a:lnTo>
                  <a:pt x="704123" y="528168"/>
                </a:lnTo>
                <a:lnTo>
                  <a:pt x="739462" y="518291"/>
                </a:lnTo>
                <a:lnTo>
                  <a:pt x="773409" y="506983"/>
                </a:lnTo>
                <a:lnTo>
                  <a:pt x="808748" y="494284"/>
                </a:lnTo>
                <a:lnTo>
                  <a:pt x="831367" y="484387"/>
                </a:lnTo>
                <a:lnTo>
                  <a:pt x="852574" y="474510"/>
                </a:lnTo>
                <a:lnTo>
                  <a:pt x="872370" y="463203"/>
                </a:lnTo>
                <a:lnTo>
                  <a:pt x="892166" y="451895"/>
                </a:lnTo>
                <a:lnTo>
                  <a:pt x="910551" y="439196"/>
                </a:lnTo>
                <a:lnTo>
                  <a:pt x="928936" y="426477"/>
                </a:lnTo>
                <a:lnTo>
                  <a:pt x="945910" y="413759"/>
                </a:lnTo>
                <a:lnTo>
                  <a:pt x="962864" y="399648"/>
                </a:lnTo>
                <a:lnTo>
                  <a:pt x="977015" y="385519"/>
                </a:lnTo>
                <a:lnTo>
                  <a:pt x="991147" y="371389"/>
                </a:lnTo>
                <a:lnTo>
                  <a:pt x="1005279" y="355868"/>
                </a:lnTo>
                <a:lnTo>
                  <a:pt x="1016588" y="340327"/>
                </a:lnTo>
                <a:lnTo>
                  <a:pt x="1026486" y="324728"/>
                </a:lnTo>
                <a:lnTo>
                  <a:pt x="1036384" y="309246"/>
                </a:lnTo>
                <a:lnTo>
                  <a:pt x="1043460" y="293764"/>
                </a:lnTo>
                <a:lnTo>
                  <a:pt x="1050535" y="278086"/>
                </a:lnTo>
                <a:lnTo>
                  <a:pt x="1059022" y="242811"/>
                </a:lnTo>
                <a:lnTo>
                  <a:pt x="1060433" y="207536"/>
                </a:lnTo>
                <a:lnTo>
                  <a:pt x="1054769" y="173632"/>
                </a:lnTo>
                <a:lnTo>
                  <a:pt x="1040637" y="141100"/>
                </a:lnTo>
                <a:lnTo>
                  <a:pt x="1006690" y="94655"/>
                </a:lnTo>
                <a:lnTo>
                  <a:pt x="984071" y="74861"/>
                </a:lnTo>
                <a:lnTo>
                  <a:pt x="957219" y="57812"/>
                </a:lnTo>
                <a:lnTo>
                  <a:pt x="928936" y="42330"/>
                </a:lnTo>
                <a:lnTo>
                  <a:pt x="897831" y="29592"/>
                </a:lnTo>
                <a:lnTo>
                  <a:pt x="865314" y="18225"/>
                </a:lnTo>
                <a:lnTo>
                  <a:pt x="829956" y="9798"/>
                </a:lnTo>
                <a:lnTo>
                  <a:pt x="791794" y="4115"/>
                </a:lnTo>
                <a:lnTo>
                  <a:pt x="753613" y="1371"/>
                </a:lnTo>
                <a:lnTo>
                  <a:pt x="712610" y="0"/>
                </a:lnTo>
                <a:lnTo>
                  <a:pt x="671607" y="2743"/>
                </a:lnTo>
                <a:lnTo>
                  <a:pt x="630603" y="7055"/>
                </a:lnTo>
                <a:lnTo>
                  <a:pt x="588189" y="14110"/>
                </a:lnTo>
                <a:lnTo>
                  <a:pt x="545774" y="25280"/>
                </a:lnTo>
                <a:lnTo>
                  <a:pt x="503340" y="38018"/>
                </a:lnTo>
                <a:lnTo>
                  <a:pt x="465178" y="52128"/>
                </a:lnTo>
                <a:lnTo>
                  <a:pt x="428409" y="67806"/>
                </a:lnTo>
                <a:lnTo>
                  <a:pt x="394481" y="86032"/>
                </a:lnTo>
                <a:lnTo>
                  <a:pt x="361964" y="104453"/>
                </a:lnTo>
                <a:lnTo>
                  <a:pt x="330859" y="125619"/>
                </a:lnTo>
                <a:lnTo>
                  <a:pt x="303987" y="146784"/>
                </a:lnTo>
                <a:lnTo>
                  <a:pt x="278546" y="169517"/>
                </a:lnTo>
                <a:lnTo>
                  <a:pt x="255908" y="193425"/>
                </a:lnTo>
                <a:lnTo>
                  <a:pt x="234701" y="217530"/>
                </a:lnTo>
                <a:lnTo>
                  <a:pt x="217747" y="242811"/>
                </a:lnTo>
                <a:lnTo>
                  <a:pt x="192286" y="293764"/>
                </a:lnTo>
                <a:lnTo>
                  <a:pt x="180977" y="345971"/>
                </a:lnTo>
                <a:lnTo>
                  <a:pt x="179566" y="372800"/>
                </a:lnTo>
                <a:lnTo>
                  <a:pt x="182388" y="398237"/>
                </a:lnTo>
                <a:lnTo>
                  <a:pt x="182388" y="403881"/>
                </a:lnTo>
                <a:lnTo>
                  <a:pt x="180977" y="409526"/>
                </a:lnTo>
                <a:lnTo>
                  <a:pt x="176743" y="415189"/>
                </a:lnTo>
                <a:lnTo>
                  <a:pt x="171079" y="418011"/>
                </a:lnTo>
                <a:close/>
              </a:path>
            </a:pathLst>
          </a:custGeom>
          <a:solidFill>
            <a:srgbClr val="BB6844"/>
          </a:solidFill>
        </p:spPr>
        <p:txBody>
          <a:bodyPr wrap="square" lIns="0" tIns="0" rIns="0" bIns="0" rtlCol="0">
            <a:noAutofit/>
          </a:bodyPr>
          <a:lstStyle/>
          <a:p>
            <a:endParaRPr/>
          </a:p>
        </p:txBody>
      </p:sp>
      <p:sp>
        <p:nvSpPr>
          <p:cNvPr id="58" name="object 58"/>
          <p:cNvSpPr/>
          <p:nvPr/>
        </p:nvSpPr>
        <p:spPr>
          <a:xfrm>
            <a:off x="1979405" y="3061585"/>
            <a:ext cx="1179196" cy="663762"/>
          </a:xfrm>
          <a:custGeom>
            <a:avLst/>
            <a:gdLst/>
            <a:ahLst/>
            <a:cxnLst/>
            <a:rect l="l" t="t" r="r" b="b"/>
            <a:pathLst>
              <a:path w="1179196" h="663762">
                <a:moveTo>
                  <a:pt x="1413" y="430749"/>
                </a:moveTo>
                <a:lnTo>
                  <a:pt x="0" y="466025"/>
                </a:lnTo>
                <a:lnTo>
                  <a:pt x="2826" y="501300"/>
                </a:lnTo>
                <a:lnTo>
                  <a:pt x="9896" y="538143"/>
                </a:lnTo>
                <a:lnTo>
                  <a:pt x="19794" y="576181"/>
                </a:lnTo>
                <a:lnTo>
                  <a:pt x="35346" y="612907"/>
                </a:lnTo>
                <a:lnTo>
                  <a:pt x="53727" y="651043"/>
                </a:lnTo>
                <a:lnTo>
                  <a:pt x="59382" y="658118"/>
                </a:lnTo>
                <a:lnTo>
                  <a:pt x="66452" y="662351"/>
                </a:lnTo>
                <a:lnTo>
                  <a:pt x="74937" y="663762"/>
                </a:lnTo>
                <a:lnTo>
                  <a:pt x="83419" y="663762"/>
                </a:lnTo>
                <a:lnTo>
                  <a:pt x="205013" y="632681"/>
                </a:lnTo>
                <a:lnTo>
                  <a:pt x="207835" y="631270"/>
                </a:lnTo>
                <a:lnTo>
                  <a:pt x="214911" y="628448"/>
                </a:lnTo>
                <a:lnTo>
                  <a:pt x="231884" y="622804"/>
                </a:lnTo>
                <a:lnTo>
                  <a:pt x="254503" y="614318"/>
                </a:lnTo>
                <a:lnTo>
                  <a:pt x="284197" y="603030"/>
                </a:lnTo>
                <a:lnTo>
                  <a:pt x="318125" y="588900"/>
                </a:lnTo>
                <a:lnTo>
                  <a:pt x="357717" y="571948"/>
                </a:lnTo>
                <a:lnTo>
                  <a:pt x="400132" y="553586"/>
                </a:lnTo>
                <a:lnTo>
                  <a:pt x="445388" y="532460"/>
                </a:lnTo>
                <a:lnTo>
                  <a:pt x="492036" y="511295"/>
                </a:lnTo>
                <a:lnTo>
                  <a:pt x="540115" y="485818"/>
                </a:lnTo>
                <a:lnTo>
                  <a:pt x="588175" y="460341"/>
                </a:lnTo>
                <a:lnTo>
                  <a:pt x="634843" y="433493"/>
                </a:lnTo>
                <a:lnTo>
                  <a:pt x="678668" y="405273"/>
                </a:lnTo>
                <a:lnTo>
                  <a:pt x="719672" y="377053"/>
                </a:lnTo>
                <a:lnTo>
                  <a:pt x="757853" y="347461"/>
                </a:lnTo>
                <a:lnTo>
                  <a:pt x="790369" y="316301"/>
                </a:lnTo>
                <a:lnTo>
                  <a:pt x="804501" y="314929"/>
                </a:lnTo>
                <a:lnTo>
                  <a:pt x="821475" y="313557"/>
                </a:lnTo>
                <a:lnTo>
                  <a:pt x="838448" y="313557"/>
                </a:lnTo>
                <a:lnTo>
                  <a:pt x="858245" y="311989"/>
                </a:lnTo>
                <a:lnTo>
                  <a:pt x="878041" y="313557"/>
                </a:lnTo>
                <a:lnTo>
                  <a:pt x="899248" y="313557"/>
                </a:lnTo>
                <a:lnTo>
                  <a:pt x="920455" y="314929"/>
                </a:lnTo>
                <a:lnTo>
                  <a:pt x="943074" y="316301"/>
                </a:lnTo>
                <a:lnTo>
                  <a:pt x="964281" y="319045"/>
                </a:lnTo>
                <a:lnTo>
                  <a:pt x="984077" y="323356"/>
                </a:lnTo>
                <a:lnTo>
                  <a:pt x="1003873" y="327667"/>
                </a:lnTo>
                <a:lnTo>
                  <a:pt x="1022258" y="333155"/>
                </a:lnTo>
                <a:lnTo>
                  <a:pt x="1039212" y="340406"/>
                </a:lnTo>
                <a:lnTo>
                  <a:pt x="1054775" y="348832"/>
                </a:lnTo>
                <a:lnTo>
                  <a:pt x="1067495" y="357259"/>
                </a:lnTo>
                <a:lnTo>
                  <a:pt x="1078804" y="368626"/>
                </a:lnTo>
                <a:lnTo>
                  <a:pt x="1087291" y="382736"/>
                </a:lnTo>
                <a:lnTo>
                  <a:pt x="1091525" y="399590"/>
                </a:lnTo>
                <a:lnTo>
                  <a:pt x="1091525" y="419383"/>
                </a:lnTo>
                <a:lnTo>
                  <a:pt x="1087291" y="440548"/>
                </a:lnTo>
                <a:lnTo>
                  <a:pt x="1085880" y="450543"/>
                </a:lnTo>
                <a:lnTo>
                  <a:pt x="1087291" y="460341"/>
                </a:lnTo>
                <a:lnTo>
                  <a:pt x="1092956" y="468768"/>
                </a:lnTo>
                <a:lnTo>
                  <a:pt x="1101423" y="474452"/>
                </a:lnTo>
                <a:lnTo>
                  <a:pt x="1111321" y="477391"/>
                </a:lnTo>
                <a:lnTo>
                  <a:pt x="1121219" y="474452"/>
                </a:lnTo>
                <a:lnTo>
                  <a:pt x="1139604" y="454658"/>
                </a:lnTo>
                <a:lnTo>
                  <a:pt x="1156578" y="412328"/>
                </a:lnTo>
                <a:lnTo>
                  <a:pt x="1167887" y="379796"/>
                </a:lnTo>
                <a:lnTo>
                  <a:pt x="1174963" y="341777"/>
                </a:lnTo>
                <a:lnTo>
                  <a:pt x="1179196" y="299447"/>
                </a:lnTo>
                <a:lnTo>
                  <a:pt x="1176374" y="254177"/>
                </a:lnTo>
                <a:lnTo>
                  <a:pt x="1166476" y="208907"/>
                </a:lnTo>
                <a:lnTo>
                  <a:pt x="1145268" y="162266"/>
                </a:lnTo>
                <a:lnTo>
                  <a:pt x="1114163" y="122875"/>
                </a:lnTo>
                <a:lnTo>
                  <a:pt x="1094367" y="104453"/>
                </a:lnTo>
                <a:lnTo>
                  <a:pt x="1071748" y="87404"/>
                </a:lnTo>
                <a:lnTo>
                  <a:pt x="1046288" y="73294"/>
                </a:lnTo>
                <a:lnTo>
                  <a:pt x="1019416" y="59184"/>
                </a:lnTo>
                <a:lnTo>
                  <a:pt x="972768" y="40958"/>
                </a:lnTo>
                <a:lnTo>
                  <a:pt x="924689" y="25280"/>
                </a:lnTo>
                <a:lnTo>
                  <a:pt x="875199" y="14110"/>
                </a:lnTo>
                <a:lnTo>
                  <a:pt x="825728" y="5487"/>
                </a:lnTo>
                <a:lnTo>
                  <a:pt x="774827" y="1371"/>
                </a:lnTo>
                <a:lnTo>
                  <a:pt x="723925" y="0"/>
                </a:lnTo>
                <a:lnTo>
                  <a:pt x="674435" y="0"/>
                </a:lnTo>
                <a:lnTo>
                  <a:pt x="624945" y="4115"/>
                </a:lnTo>
                <a:lnTo>
                  <a:pt x="575454" y="9798"/>
                </a:lnTo>
                <a:lnTo>
                  <a:pt x="528806" y="16853"/>
                </a:lnTo>
                <a:lnTo>
                  <a:pt x="483550" y="25280"/>
                </a:lnTo>
                <a:lnTo>
                  <a:pt x="441135" y="35275"/>
                </a:lnTo>
                <a:lnTo>
                  <a:pt x="400132" y="48013"/>
                </a:lnTo>
                <a:lnTo>
                  <a:pt x="361951" y="59184"/>
                </a:lnTo>
                <a:lnTo>
                  <a:pt x="326612" y="73294"/>
                </a:lnTo>
                <a:lnTo>
                  <a:pt x="295506" y="86032"/>
                </a:lnTo>
                <a:lnTo>
                  <a:pt x="281375" y="93087"/>
                </a:lnTo>
                <a:lnTo>
                  <a:pt x="265812" y="100142"/>
                </a:lnTo>
                <a:lnTo>
                  <a:pt x="248838" y="110137"/>
                </a:lnTo>
                <a:lnTo>
                  <a:pt x="230473" y="119935"/>
                </a:lnTo>
                <a:lnTo>
                  <a:pt x="210677" y="132674"/>
                </a:lnTo>
                <a:lnTo>
                  <a:pt x="190881" y="145412"/>
                </a:lnTo>
                <a:lnTo>
                  <a:pt x="169674" y="160894"/>
                </a:lnTo>
                <a:lnTo>
                  <a:pt x="149878" y="176376"/>
                </a:lnTo>
                <a:lnTo>
                  <a:pt x="128670" y="194797"/>
                </a:lnTo>
                <a:lnTo>
                  <a:pt x="108870" y="214591"/>
                </a:lnTo>
                <a:lnTo>
                  <a:pt x="89074" y="234384"/>
                </a:lnTo>
                <a:lnTo>
                  <a:pt x="70693" y="256921"/>
                </a:lnTo>
                <a:lnTo>
                  <a:pt x="55140" y="281026"/>
                </a:lnTo>
                <a:lnTo>
                  <a:pt x="39588" y="306502"/>
                </a:lnTo>
                <a:lnTo>
                  <a:pt x="26863" y="333155"/>
                </a:lnTo>
                <a:lnTo>
                  <a:pt x="15552" y="361571"/>
                </a:lnTo>
                <a:lnTo>
                  <a:pt x="7069" y="395474"/>
                </a:lnTo>
                <a:lnTo>
                  <a:pt x="1413" y="430749"/>
                </a:lnTo>
                <a:close/>
              </a:path>
            </a:pathLst>
          </a:custGeom>
          <a:solidFill>
            <a:srgbClr val="000000"/>
          </a:solidFill>
        </p:spPr>
        <p:txBody>
          <a:bodyPr wrap="square" lIns="0" tIns="0" rIns="0" bIns="0" rtlCol="0">
            <a:noAutofit/>
          </a:bodyPr>
          <a:lstStyle/>
          <a:p>
            <a:endParaRPr/>
          </a:p>
        </p:txBody>
      </p:sp>
      <p:sp>
        <p:nvSpPr>
          <p:cNvPr id="59" name="object 59"/>
          <p:cNvSpPr/>
          <p:nvPr/>
        </p:nvSpPr>
        <p:spPr>
          <a:xfrm>
            <a:off x="2033133" y="3115086"/>
            <a:ext cx="1071744" cy="552351"/>
          </a:xfrm>
          <a:custGeom>
            <a:avLst/>
            <a:gdLst/>
            <a:ahLst/>
            <a:cxnLst/>
            <a:rect l="l" t="t" r="r" b="b"/>
            <a:pathLst>
              <a:path w="1071744" h="552351">
                <a:moveTo>
                  <a:pt x="2828" y="442116"/>
                </a:moveTo>
                <a:lnTo>
                  <a:pt x="9898" y="477587"/>
                </a:lnTo>
                <a:lnTo>
                  <a:pt x="21209" y="514215"/>
                </a:lnTo>
                <a:lnTo>
                  <a:pt x="38175" y="552351"/>
                </a:lnTo>
                <a:lnTo>
                  <a:pt x="50901" y="549529"/>
                </a:lnTo>
                <a:lnTo>
                  <a:pt x="65038" y="545276"/>
                </a:lnTo>
                <a:lnTo>
                  <a:pt x="80587" y="541043"/>
                </a:lnTo>
                <a:lnTo>
                  <a:pt x="97561" y="536810"/>
                </a:lnTo>
                <a:lnTo>
                  <a:pt x="111693" y="533988"/>
                </a:lnTo>
                <a:lnTo>
                  <a:pt x="124433" y="531166"/>
                </a:lnTo>
                <a:lnTo>
                  <a:pt x="132900" y="528344"/>
                </a:lnTo>
                <a:lnTo>
                  <a:pt x="137153" y="526933"/>
                </a:lnTo>
                <a:lnTo>
                  <a:pt x="144209" y="524092"/>
                </a:lnTo>
                <a:lnTo>
                  <a:pt x="159772" y="518448"/>
                </a:lnTo>
                <a:lnTo>
                  <a:pt x="182390" y="509982"/>
                </a:lnTo>
                <a:lnTo>
                  <a:pt x="212084" y="498674"/>
                </a:lnTo>
                <a:lnTo>
                  <a:pt x="246012" y="484642"/>
                </a:lnTo>
                <a:lnTo>
                  <a:pt x="285604" y="468964"/>
                </a:lnTo>
                <a:lnTo>
                  <a:pt x="328019" y="450739"/>
                </a:lnTo>
                <a:lnTo>
                  <a:pt x="373275" y="429378"/>
                </a:lnTo>
                <a:lnTo>
                  <a:pt x="418513" y="406841"/>
                </a:lnTo>
                <a:lnTo>
                  <a:pt x="466592" y="382932"/>
                </a:lnTo>
                <a:lnTo>
                  <a:pt x="513240" y="357455"/>
                </a:lnTo>
                <a:lnTo>
                  <a:pt x="558496" y="331979"/>
                </a:lnTo>
                <a:lnTo>
                  <a:pt x="600911" y="303759"/>
                </a:lnTo>
                <a:lnTo>
                  <a:pt x="640503" y="275538"/>
                </a:lnTo>
                <a:lnTo>
                  <a:pt x="675842" y="247318"/>
                </a:lnTo>
                <a:lnTo>
                  <a:pt x="705536" y="217530"/>
                </a:lnTo>
                <a:lnTo>
                  <a:pt x="708359" y="214787"/>
                </a:lnTo>
                <a:lnTo>
                  <a:pt x="712612" y="212043"/>
                </a:lnTo>
                <a:lnTo>
                  <a:pt x="716846" y="210475"/>
                </a:lnTo>
                <a:lnTo>
                  <a:pt x="722510" y="209103"/>
                </a:lnTo>
                <a:lnTo>
                  <a:pt x="729566" y="207732"/>
                </a:lnTo>
                <a:lnTo>
                  <a:pt x="742306" y="207732"/>
                </a:lnTo>
                <a:lnTo>
                  <a:pt x="757849" y="206360"/>
                </a:lnTo>
                <a:lnTo>
                  <a:pt x="776234" y="204988"/>
                </a:lnTo>
                <a:lnTo>
                  <a:pt x="822902" y="204988"/>
                </a:lnTo>
                <a:lnTo>
                  <a:pt x="848343" y="206360"/>
                </a:lnTo>
                <a:lnTo>
                  <a:pt x="875214" y="207732"/>
                </a:lnTo>
                <a:lnTo>
                  <a:pt x="902066" y="210475"/>
                </a:lnTo>
                <a:lnTo>
                  <a:pt x="930349" y="214787"/>
                </a:lnTo>
                <a:lnTo>
                  <a:pt x="957221" y="220470"/>
                </a:lnTo>
                <a:lnTo>
                  <a:pt x="984073" y="228897"/>
                </a:lnTo>
                <a:lnTo>
                  <a:pt x="1008123" y="237324"/>
                </a:lnTo>
                <a:lnTo>
                  <a:pt x="1030741" y="250062"/>
                </a:lnTo>
                <a:lnTo>
                  <a:pt x="1050537" y="264172"/>
                </a:lnTo>
                <a:lnTo>
                  <a:pt x="1067491" y="281222"/>
                </a:lnTo>
                <a:lnTo>
                  <a:pt x="1067491" y="282593"/>
                </a:lnTo>
                <a:lnTo>
                  <a:pt x="1068902" y="271227"/>
                </a:lnTo>
                <a:lnTo>
                  <a:pt x="1070333" y="260056"/>
                </a:lnTo>
                <a:lnTo>
                  <a:pt x="1071744" y="248690"/>
                </a:lnTo>
                <a:lnTo>
                  <a:pt x="1071744" y="220470"/>
                </a:lnTo>
                <a:lnTo>
                  <a:pt x="1068902" y="204988"/>
                </a:lnTo>
                <a:lnTo>
                  <a:pt x="1066080" y="187938"/>
                </a:lnTo>
                <a:lnTo>
                  <a:pt x="1054771" y="154035"/>
                </a:lnTo>
                <a:lnTo>
                  <a:pt x="1033564" y="120131"/>
                </a:lnTo>
                <a:lnTo>
                  <a:pt x="1003869" y="90539"/>
                </a:lnTo>
                <a:lnTo>
                  <a:pt x="967119" y="65063"/>
                </a:lnTo>
                <a:lnTo>
                  <a:pt x="902066" y="36843"/>
                </a:lnTo>
                <a:lnTo>
                  <a:pt x="856829" y="22732"/>
                </a:lnTo>
                <a:lnTo>
                  <a:pt x="810162" y="12738"/>
                </a:lnTo>
                <a:lnTo>
                  <a:pt x="763513" y="5683"/>
                </a:lnTo>
                <a:lnTo>
                  <a:pt x="715434" y="1567"/>
                </a:lnTo>
                <a:lnTo>
                  <a:pt x="667355" y="0"/>
                </a:lnTo>
                <a:lnTo>
                  <a:pt x="620707" y="0"/>
                </a:lnTo>
                <a:lnTo>
                  <a:pt x="574039" y="4311"/>
                </a:lnTo>
                <a:lnTo>
                  <a:pt x="528802" y="8622"/>
                </a:lnTo>
                <a:lnTo>
                  <a:pt x="483546" y="15677"/>
                </a:lnTo>
                <a:lnTo>
                  <a:pt x="441131" y="24104"/>
                </a:lnTo>
                <a:lnTo>
                  <a:pt x="400128" y="33903"/>
                </a:lnTo>
                <a:lnTo>
                  <a:pt x="361966" y="45269"/>
                </a:lnTo>
                <a:lnTo>
                  <a:pt x="326608" y="56636"/>
                </a:lnTo>
                <a:lnTo>
                  <a:pt x="294091" y="69374"/>
                </a:lnTo>
                <a:lnTo>
                  <a:pt x="264397" y="81916"/>
                </a:lnTo>
                <a:lnTo>
                  <a:pt x="237545" y="94655"/>
                </a:lnTo>
                <a:lnTo>
                  <a:pt x="206420" y="113076"/>
                </a:lnTo>
                <a:lnTo>
                  <a:pt x="188055" y="122875"/>
                </a:lnTo>
                <a:lnTo>
                  <a:pt x="169670" y="135613"/>
                </a:lnTo>
                <a:lnTo>
                  <a:pt x="151285" y="148352"/>
                </a:lnTo>
                <a:lnTo>
                  <a:pt x="132900" y="162462"/>
                </a:lnTo>
                <a:lnTo>
                  <a:pt x="114535" y="179511"/>
                </a:lnTo>
                <a:lnTo>
                  <a:pt x="96150" y="196365"/>
                </a:lnTo>
                <a:lnTo>
                  <a:pt x="79176" y="214787"/>
                </a:lnTo>
                <a:lnTo>
                  <a:pt x="62212" y="233208"/>
                </a:lnTo>
                <a:lnTo>
                  <a:pt x="48073" y="254373"/>
                </a:lnTo>
                <a:lnTo>
                  <a:pt x="33933" y="276910"/>
                </a:lnTo>
                <a:lnTo>
                  <a:pt x="22622" y="299447"/>
                </a:lnTo>
                <a:lnTo>
                  <a:pt x="12724" y="324924"/>
                </a:lnTo>
                <a:lnTo>
                  <a:pt x="7069" y="344717"/>
                </a:lnTo>
                <a:lnTo>
                  <a:pt x="2828" y="364510"/>
                </a:lnTo>
                <a:lnTo>
                  <a:pt x="1413" y="385676"/>
                </a:lnTo>
                <a:lnTo>
                  <a:pt x="0" y="405469"/>
                </a:lnTo>
                <a:lnTo>
                  <a:pt x="2828" y="442116"/>
                </a:lnTo>
                <a:close/>
              </a:path>
            </a:pathLst>
          </a:custGeom>
          <a:solidFill>
            <a:srgbClr val="6B0000"/>
          </a:solidFill>
        </p:spPr>
        <p:txBody>
          <a:bodyPr wrap="square" lIns="0" tIns="0" rIns="0" bIns="0" rtlCol="0">
            <a:noAutofit/>
          </a:bodyPr>
          <a:lstStyle/>
          <a:p>
            <a:endParaRPr/>
          </a:p>
        </p:txBody>
      </p:sp>
      <p:sp>
        <p:nvSpPr>
          <p:cNvPr id="60" name="object 60"/>
          <p:cNvSpPr/>
          <p:nvPr/>
        </p:nvSpPr>
        <p:spPr>
          <a:xfrm>
            <a:off x="2806546" y="3536038"/>
            <a:ext cx="80595" cy="113037"/>
          </a:xfrm>
          <a:custGeom>
            <a:avLst/>
            <a:gdLst/>
            <a:ahLst/>
            <a:cxnLst/>
            <a:rect l="l" t="t" r="r" b="b"/>
            <a:pathLst>
              <a:path w="80595" h="113037">
                <a:moveTo>
                  <a:pt x="4233" y="91852"/>
                </a:moveTo>
                <a:lnTo>
                  <a:pt x="4233" y="94674"/>
                </a:lnTo>
                <a:lnTo>
                  <a:pt x="5644" y="98907"/>
                </a:lnTo>
                <a:lnTo>
                  <a:pt x="7056" y="103140"/>
                </a:lnTo>
                <a:lnTo>
                  <a:pt x="9898" y="105982"/>
                </a:lnTo>
                <a:lnTo>
                  <a:pt x="16954" y="111626"/>
                </a:lnTo>
                <a:lnTo>
                  <a:pt x="24029" y="113037"/>
                </a:lnTo>
                <a:lnTo>
                  <a:pt x="31105" y="111626"/>
                </a:lnTo>
                <a:lnTo>
                  <a:pt x="38161" y="107393"/>
                </a:lnTo>
                <a:lnTo>
                  <a:pt x="73519" y="77723"/>
                </a:lnTo>
                <a:lnTo>
                  <a:pt x="76342" y="74901"/>
                </a:lnTo>
                <a:lnTo>
                  <a:pt x="79164" y="70668"/>
                </a:lnTo>
                <a:lnTo>
                  <a:pt x="80595" y="66435"/>
                </a:lnTo>
                <a:lnTo>
                  <a:pt x="80595" y="58008"/>
                </a:lnTo>
                <a:lnTo>
                  <a:pt x="79164" y="53696"/>
                </a:lnTo>
                <a:lnTo>
                  <a:pt x="77753" y="49385"/>
                </a:lnTo>
                <a:lnTo>
                  <a:pt x="74931" y="46641"/>
                </a:lnTo>
                <a:lnTo>
                  <a:pt x="36750" y="5683"/>
                </a:lnTo>
                <a:lnTo>
                  <a:pt x="29694" y="1371"/>
                </a:lnTo>
                <a:lnTo>
                  <a:pt x="21207" y="0"/>
                </a:lnTo>
                <a:lnTo>
                  <a:pt x="12720" y="2939"/>
                </a:lnTo>
                <a:lnTo>
                  <a:pt x="5644" y="7055"/>
                </a:lnTo>
                <a:lnTo>
                  <a:pt x="4233" y="9994"/>
                </a:lnTo>
                <a:lnTo>
                  <a:pt x="1411" y="14110"/>
                </a:lnTo>
                <a:lnTo>
                  <a:pt x="0" y="17049"/>
                </a:lnTo>
                <a:lnTo>
                  <a:pt x="0" y="25476"/>
                </a:lnTo>
                <a:lnTo>
                  <a:pt x="1411" y="29787"/>
                </a:lnTo>
                <a:lnTo>
                  <a:pt x="4233" y="33903"/>
                </a:lnTo>
                <a:lnTo>
                  <a:pt x="7056" y="36843"/>
                </a:lnTo>
                <a:lnTo>
                  <a:pt x="8486" y="38214"/>
                </a:lnTo>
                <a:lnTo>
                  <a:pt x="14131" y="43898"/>
                </a:lnTo>
                <a:lnTo>
                  <a:pt x="21207" y="50953"/>
                </a:lnTo>
                <a:lnTo>
                  <a:pt x="29694" y="59379"/>
                </a:lnTo>
                <a:lnTo>
                  <a:pt x="24029" y="65063"/>
                </a:lnTo>
                <a:lnTo>
                  <a:pt x="18365" y="70668"/>
                </a:lnTo>
                <a:lnTo>
                  <a:pt x="14131" y="73490"/>
                </a:lnTo>
                <a:lnTo>
                  <a:pt x="12720" y="74901"/>
                </a:lnTo>
                <a:lnTo>
                  <a:pt x="8486" y="79134"/>
                </a:lnTo>
                <a:lnTo>
                  <a:pt x="7056" y="83367"/>
                </a:lnTo>
                <a:lnTo>
                  <a:pt x="4233" y="87619"/>
                </a:lnTo>
                <a:lnTo>
                  <a:pt x="4233" y="91852"/>
                </a:lnTo>
                <a:close/>
              </a:path>
            </a:pathLst>
          </a:custGeom>
          <a:solidFill>
            <a:srgbClr val="000000"/>
          </a:solidFill>
        </p:spPr>
        <p:txBody>
          <a:bodyPr wrap="square" lIns="0" tIns="0" rIns="0" bIns="0" rtlCol="0">
            <a:noAutofit/>
          </a:bodyPr>
          <a:lstStyle/>
          <a:p>
            <a:endParaRPr/>
          </a:p>
        </p:txBody>
      </p:sp>
      <p:sp>
        <p:nvSpPr>
          <p:cNvPr id="61" name="object 61"/>
          <p:cNvSpPr/>
          <p:nvPr/>
        </p:nvSpPr>
        <p:spPr>
          <a:xfrm>
            <a:off x="2591631" y="3565826"/>
            <a:ext cx="48059" cy="47935"/>
          </a:xfrm>
          <a:custGeom>
            <a:avLst/>
            <a:gdLst/>
            <a:ahLst/>
            <a:cxnLst/>
            <a:rect l="l" t="t" r="r" b="b"/>
            <a:pathLst>
              <a:path w="48059" h="47935">
                <a:moveTo>
                  <a:pt x="1411" y="32335"/>
                </a:moveTo>
                <a:lnTo>
                  <a:pt x="7056" y="40880"/>
                </a:lnTo>
                <a:lnTo>
                  <a:pt x="15542" y="45113"/>
                </a:lnTo>
                <a:lnTo>
                  <a:pt x="24029" y="47935"/>
                </a:lnTo>
                <a:lnTo>
                  <a:pt x="32516" y="45113"/>
                </a:lnTo>
                <a:lnTo>
                  <a:pt x="41003" y="40880"/>
                </a:lnTo>
                <a:lnTo>
                  <a:pt x="46648" y="32335"/>
                </a:lnTo>
                <a:lnTo>
                  <a:pt x="48059" y="23908"/>
                </a:lnTo>
                <a:lnTo>
                  <a:pt x="46648" y="14110"/>
                </a:lnTo>
                <a:lnTo>
                  <a:pt x="41003" y="7055"/>
                </a:lnTo>
                <a:lnTo>
                  <a:pt x="33927" y="1371"/>
                </a:lnTo>
                <a:lnTo>
                  <a:pt x="24029" y="0"/>
                </a:lnTo>
                <a:lnTo>
                  <a:pt x="15542" y="1371"/>
                </a:lnTo>
                <a:lnTo>
                  <a:pt x="7056" y="7055"/>
                </a:lnTo>
                <a:lnTo>
                  <a:pt x="2822" y="14110"/>
                </a:lnTo>
                <a:lnTo>
                  <a:pt x="0" y="23908"/>
                </a:lnTo>
                <a:lnTo>
                  <a:pt x="1411" y="32335"/>
                </a:lnTo>
                <a:close/>
              </a:path>
            </a:pathLst>
          </a:custGeom>
          <a:solidFill>
            <a:srgbClr val="000000"/>
          </a:solidFill>
        </p:spPr>
        <p:txBody>
          <a:bodyPr wrap="square" lIns="0" tIns="0" rIns="0" bIns="0" rtlCol="0">
            <a:noAutofit/>
          </a:bodyPr>
          <a:lstStyle/>
          <a:p>
            <a:endParaRPr/>
          </a:p>
        </p:txBody>
      </p:sp>
      <p:sp>
        <p:nvSpPr>
          <p:cNvPr id="62" name="object 62"/>
          <p:cNvSpPr/>
          <p:nvPr/>
        </p:nvSpPr>
        <p:spPr>
          <a:xfrm>
            <a:off x="2913994" y="3457060"/>
            <a:ext cx="46667" cy="48013"/>
          </a:xfrm>
          <a:custGeom>
            <a:avLst/>
            <a:gdLst/>
            <a:ahLst/>
            <a:cxnLst/>
            <a:rect l="l" t="t" r="r" b="b"/>
            <a:pathLst>
              <a:path w="46667" h="48013">
                <a:moveTo>
                  <a:pt x="1411" y="33903"/>
                </a:moveTo>
                <a:lnTo>
                  <a:pt x="7075" y="40958"/>
                </a:lnTo>
                <a:lnTo>
                  <a:pt x="14151" y="46445"/>
                </a:lnTo>
                <a:lnTo>
                  <a:pt x="24029" y="48013"/>
                </a:lnTo>
                <a:lnTo>
                  <a:pt x="32516" y="46445"/>
                </a:lnTo>
                <a:lnTo>
                  <a:pt x="39592" y="42330"/>
                </a:lnTo>
                <a:lnTo>
                  <a:pt x="45256" y="33903"/>
                </a:lnTo>
                <a:lnTo>
                  <a:pt x="46667" y="25280"/>
                </a:lnTo>
                <a:lnTo>
                  <a:pt x="45256" y="15481"/>
                </a:lnTo>
                <a:lnTo>
                  <a:pt x="39592" y="7055"/>
                </a:lnTo>
                <a:lnTo>
                  <a:pt x="32516" y="2743"/>
                </a:lnTo>
                <a:lnTo>
                  <a:pt x="24029" y="0"/>
                </a:lnTo>
                <a:lnTo>
                  <a:pt x="14151" y="2743"/>
                </a:lnTo>
                <a:lnTo>
                  <a:pt x="7075" y="7055"/>
                </a:lnTo>
                <a:lnTo>
                  <a:pt x="1411" y="15481"/>
                </a:lnTo>
                <a:lnTo>
                  <a:pt x="0" y="23908"/>
                </a:lnTo>
                <a:lnTo>
                  <a:pt x="1411" y="33903"/>
                </a:lnTo>
                <a:close/>
              </a:path>
            </a:pathLst>
          </a:custGeom>
          <a:solidFill>
            <a:srgbClr val="000000"/>
          </a:solidFill>
        </p:spPr>
        <p:txBody>
          <a:bodyPr wrap="square" lIns="0" tIns="0" rIns="0" bIns="0" rtlCol="0">
            <a:noAutofit/>
          </a:bodyPr>
          <a:lstStyle/>
          <a:p>
            <a:endParaRPr/>
          </a:p>
        </p:txBody>
      </p:sp>
      <p:sp>
        <p:nvSpPr>
          <p:cNvPr id="63" name="object 63"/>
          <p:cNvSpPr/>
          <p:nvPr/>
        </p:nvSpPr>
        <p:spPr>
          <a:xfrm>
            <a:off x="2151902" y="2986723"/>
            <a:ext cx="425576" cy="1026764"/>
          </a:xfrm>
          <a:custGeom>
            <a:avLst/>
            <a:gdLst/>
            <a:ahLst/>
            <a:cxnLst/>
            <a:rect l="l" t="t" r="r" b="b"/>
            <a:pathLst>
              <a:path w="425576" h="1026764">
                <a:moveTo>
                  <a:pt x="63621" y="728727"/>
                </a:moveTo>
                <a:lnTo>
                  <a:pt x="82006" y="775349"/>
                </a:lnTo>
                <a:lnTo>
                  <a:pt x="100391" y="817719"/>
                </a:lnTo>
                <a:lnTo>
                  <a:pt x="120187" y="853033"/>
                </a:lnTo>
                <a:lnTo>
                  <a:pt x="139983" y="885506"/>
                </a:lnTo>
                <a:lnTo>
                  <a:pt x="161191" y="912355"/>
                </a:lnTo>
                <a:lnTo>
                  <a:pt x="180987" y="936361"/>
                </a:lnTo>
                <a:lnTo>
                  <a:pt x="202194" y="956135"/>
                </a:lnTo>
                <a:lnTo>
                  <a:pt x="240355" y="984375"/>
                </a:lnTo>
                <a:lnTo>
                  <a:pt x="277125" y="1004149"/>
                </a:lnTo>
                <a:lnTo>
                  <a:pt x="311053" y="1016867"/>
                </a:lnTo>
                <a:lnTo>
                  <a:pt x="342158" y="1023922"/>
                </a:lnTo>
                <a:lnTo>
                  <a:pt x="369030" y="1026764"/>
                </a:lnTo>
                <a:lnTo>
                  <a:pt x="390237" y="1026764"/>
                </a:lnTo>
                <a:lnTo>
                  <a:pt x="404369" y="1025333"/>
                </a:lnTo>
                <a:lnTo>
                  <a:pt x="417109" y="1021100"/>
                </a:lnTo>
                <a:lnTo>
                  <a:pt x="425576" y="1008401"/>
                </a:lnTo>
                <a:lnTo>
                  <a:pt x="425576" y="999916"/>
                </a:lnTo>
                <a:lnTo>
                  <a:pt x="417109" y="987197"/>
                </a:lnTo>
                <a:lnTo>
                  <a:pt x="401547" y="984375"/>
                </a:lnTo>
                <a:lnTo>
                  <a:pt x="397313" y="985786"/>
                </a:lnTo>
                <a:lnTo>
                  <a:pt x="367619" y="985786"/>
                </a:lnTo>
                <a:lnTo>
                  <a:pt x="319540" y="977320"/>
                </a:lnTo>
                <a:lnTo>
                  <a:pt x="260152" y="949080"/>
                </a:lnTo>
                <a:lnTo>
                  <a:pt x="227635" y="925054"/>
                </a:lnTo>
                <a:lnTo>
                  <a:pt x="188043" y="884095"/>
                </a:lnTo>
                <a:lnTo>
                  <a:pt x="149881" y="827596"/>
                </a:lnTo>
                <a:lnTo>
                  <a:pt x="114523" y="752754"/>
                </a:lnTo>
                <a:lnTo>
                  <a:pt x="84829" y="658118"/>
                </a:lnTo>
                <a:lnTo>
                  <a:pt x="59388" y="539515"/>
                </a:lnTo>
                <a:lnTo>
                  <a:pt x="43825" y="395474"/>
                </a:lnTo>
                <a:lnTo>
                  <a:pt x="39592" y="223017"/>
                </a:lnTo>
                <a:lnTo>
                  <a:pt x="46667" y="21165"/>
                </a:lnTo>
                <a:lnTo>
                  <a:pt x="46667" y="12542"/>
                </a:lnTo>
                <a:lnTo>
                  <a:pt x="42414" y="7055"/>
                </a:lnTo>
                <a:lnTo>
                  <a:pt x="36769" y="2743"/>
                </a:lnTo>
                <a:lnTo>
                  <a:pt x="28282" y="0"/>
                </a:lnTo>
                <a:lnTo>
                  <a:pt x="19796" y="0"/>
                </a:lnTo>
                <a:lnTo>
                  <a:pt x="1411" y="126990"/>
                </a:lnTo>
                <a:lnTo>
                  <a:pt x="0" y="227329"/>
                </a:lnTo>
                <a:lnTo>
                  <a:pt x="1411" y="320612"/>
                </a:lnTo>
                <a:lnTo>
                  <a:pt x="5664" y="405273"/>
                </a:lnTo>
                <a:lnTo>
                  <a:pt x="12720" y="482878"/>
                </a:lnTo>
                <a:lnTo>
                  <a:pt x="22618" y="553625"/>
                </a:lnTo>
                <a:lnTo>
                  <a:pt x="33927" y="618571"/>
                </a:lnTo>
                <a:lnTo>
                  <a:pt x="48079" y="676481"/>
                </a:lnTo>
                <a:lnTo>
                  <a:pt x="63621" y="728727"/>
                </a:lnTo>
                <a:close/>
              </a:path>
            </a:pathLst>
          </a:custGeom>
          <a:solidFill>
            <a:srgbClr val="000000"/>
          </a:solidFill>
        </p:spPr>
        <p:txBody>
          <a:bodyPr wrap="square" lIns="0" tIns="0" rIns="0" bIns="0" rtlCol="0">
            <a:noAutofit/>
          </a:bodyPr>
          <a:lstStyle/>
          <a:p>
            <a:endParaRPr/>
          </a:p>
        </p:txBody>
      </p:sp>
      <p:sp>
        <p:nvSpPr>
          <p:cNvPr id="64" name="object 64"/>
          <p:cNvSpPr/>
          <p:nvPr/>
        </p:nvSpPr>
        <p:spPr>
          <a:xfrm>
            <a:off x="2108077" y="2752142"/>
            <a:ext cx="217737" cy="275538"/>
          </a:xfrm>
          <a:custGeom>
            <a:avLst/>
            <a:gdLst/>
            <a:ahLst/>
            <a:cxnLst/>
            <a:rect l="l" t="t" r="r" b="b"/>
            <a:pathLst>
              <a:path w="217737" h="275538">
                <a:moveTo>
                  <a:pt x="8486" y="210475"/>
                </a:moveTo>
                <a:lnTo>
                  <a:pt x="25440" y="241635"/>
                </a:lnTo>
                <a:lnTo>
                  <a:pt x="32516" y="250062"/>
                </a:lnTo>
                <a:lnTo>
                  <a:pt x="39592" y="257117"/>
                </a:lnTo>
                <a:lnTo>
                  <a:pt x="46648" y="262800"/>
                </a:lnTo>
                <a:lnTo>
                  <a:pt x="55135" y="268483"/>
                </a:lnTo>
                <a:lnTo>
                  <a:pt x="62210" y="271227"/>
                </a:lnTo>
                <a:lnTo>
                  <a:pt x="70697" y="273971"/>
                </a:lnTo>
                <a:lnTo>
                  <a:pt x="79164" y="275538"/>
                </a:lnTo>
                <a:lnTo>
                  <a:pt x="87651" y="275538"/>
                </a:lnTo>
                <a:lnTo>
                  <a:pt x="103214" y="272599"/>
                </a:lnTo>
                <a:lnTo>
                  <a:pt x="117345" y="265544"/>
                </a:lnTo>
                <a:lnTo>
                  <a:pt x="130066" y="257117"/>
                </a:lnTo>
                <a:lnTo>
                  <a:pt x="141375" y="247122"/>
                </a:lnTo>
                <a:lnTo>
                  <a:pt x="151273" y="237324"/>
                </a:lnTo>
                <a:lnTo>
                  <a:pt x="158349" y="227525"/>
                </a:lnTo>
                <a:lnTo>
                  <a:pt x="162602" y="220470"/>
                </a:lnTo>
                <a:lnTo>
                  <a:pt x="165424" y="216158"/>
                </a:lnTo>
                <a:lnTo>
                  <a:pt x="186632" y="184999"/>
                </a:lnTo>
                <a:lnTo>
                  <a:pt x="202174" y="162462"/>
                </a:lnTo>
                <a:lnTo>
                  <a:pt x="210661" y="144040"/>
                </a:lnTo>
                <a:lnTo>
                  <a:pt x="216326" y="129930"/>
                </a:lnTo>
                <a:lnTo>
                  <a:pt x="217737" y="120131"/>
                </a:lnTo>
                <a:lnTo>
                  <a:pt x="216326" y="113076"/>
                </a:lnTo>
                <a:lnTo>
                  <a:pt x="213484" y="108765"/>
                </a:lnTo>
                <a:lnTo>
                  <a:pt x="210661" y="106021"/>
                </a:lnTo>
                <a:lnTo>
                  <a:pt x="202174" y="100338"/>
                </a:lnTo>
                <a:lnTo>
                  <a:pt x="193707" y="98966"/>
                </a:lnTo>
                <a:lnTo>
                  <a:pt x="183809" y="101710"/>
                </a:lnTo>
                <a:lnTo>
                  <a:pt x="173911" y="106021"/>
                </a:lnTo>
                <a:lnTo>
                  <a:pt x="173911" y="98966"/>
                </a:lnTo>
                <a:lnTo>
                  <a:pt x="175322" y="91911"/>
                </a:lnTo>
                <a:lnTo>
                  <a:pt x="175322" y="60751"/>
                </a:lnTo>
                <a:lnTo>
                  <a:pt x="172480" y="43898"/>
                </a:lnTo>
                <a:lnTo>
                  <a:pt x="168247" y="29787"/>
                </a:lnTo>
                <a:lnTo>
                  <a:pt x="162602" y="17049"/>
                </a:lnTo>
                <a:lnTo>
                  <a:pt x="156937" y="11366"/>
                </a:lnTo>
                <a:lnTo>
                  <a:pt x="151273" y="5683"/>
                </a:lnTo>
                <a:lnTo>
                  <a:pt x="144217" y="2939"/>
                </a:lnTo>
                <a:lnTo>
                  <a:pt x="137141" y="0"/>
                </a:lnTo>
                <a:lnTo>
                  <a:pt x="128655" y="0"/>
                </a:lnTo>
                <a:lnTo>
                  <a:pt x="125832" y="1371"/>
                </a:lnTo>
                <a:lnTo>
                  <a:pt x="124421" y="2939"/>
                </a:lnTo>
                <a:lnTo>
                  <a:pt x="120168" y="5683"/>
                </a:lnTo>
                <a:lnTo>
                  <a:pt x="114523" y="9994"/>
                </a:lnTo>
                <a:lnTo>
                  <a:pt x="108858" y="17049"/>
                </a:lnTo>
                <a:lnTo>
                  <a:pt x="106036" y="14110"/>
                </a:lnTo>
                <a:lnTo>
                  <a:pt x="103214" y="12738"/>
                </a:lnTo>
                <a:lnTo>
                  <a:pt x="101802" y="12738"/>
                </a:lnTo>
                <a:lnTo>
                  <a:pt x="91904" y="11366"/>
                </a:lnTo>
                <a:lnTo>
                  <a:pt x="82006" y="12738"/>
                </a:lnTo>
                <a:lnTo>
                  <a:pt x="72108" y="17049"/>
                </a:lnTo>
                <a:lnTo>
                  <a:pt x="63621" y="22732"/>
                </a:lnTo>
                <a:lnTo>
                  <a:pt x="55135" y="29787"/>
                </a:lnTo>
                <a:lnTo>
                  <a:pt x="46648" y="36843"/>
                </a:lnTo>
                <a:lnTo>
                  <a:pt x="39592" y="45269"/>
                </a:lnTo>
                <a:lnTo>
                  <a:pt x="32516" y="53696"/>
                </a:lnTo>
                <a:lnTo>
                  <a:pt x="32516" y="55068"/>
                </a:lnTo>
                <a:lnTo>
                  <a:pt x="28263" y="60751"/>
                </a:lnTo>
                <a:lnTo>
                  <a:pt x="21207" y="74861"/>
                </a:lnTo>
                <a:lnTo>
                  <a:pt x="12720" y="94655"/>
                </a:lnTo>
                <a:lnTo>
                  <a:pt x="4233" y="120131"/>
                </a:lnTo>
                <a:lnTo>
                  <a:pt x="0" y="148352"/>
                </a:lnTo>
                <a:lnTo>
                  <a:pt x="0" y="179511"/>
                </a:lnTo>
                <a:lnTo>
                  <a:pt x="8486" y="210475"/>
                </a:lnTo>
                <a:close/>
              </a:path>
            </a:pathLst>
          </a:custGeom>
          <a:solidFill>
            <a:srgbClr val="000000"/>
          </a:solidFill>
        </p:spPr>
        <p:txBody>
          <a:bodyPr wrap="square" lIns="0" tIns="0" rIns="0" bIns="0" rtlCol="0">
            <a:noAutofit/>
          </a:bodyPr>
          <a:lstStyle/>
          <a:p>
            <a:endParaRPr/>
          </a:p>
        </p:txBody>
      </p:sp>
      <p:sp>
        <p:nvSpPr>
          <p:cNvPr id="65" name="object 65"/>
          <p:cNvSpPr/>
          <p:nvPr/>
        </p:nvSpPr>
        <p:spPr>
          <a:xfrm>
            <a:off x="2143416" y="2794474"/>
            <a:ext cx="127263" cy="196365"/>
          </a:xfrm>
          <a:custGeom>
            <a:avLst/>
            <a:gdLst/>
            <a:ahLst/>
            <a:cxnLst/>
            <a:rect l="l" t="t" r="r" b="b"/>
            <a:pathLst>
              <a:path w="127263" h="196365">
                <a:moveTo>
                  <a:pt x="103214" y="33903"/>
                </a:moveTo>
                <a:lnTo>
                  <a:pt x="103214" y="22732"/>
                </a:lnTo>
                <a:lnTo>
                  <a:pt x="101802" y="14306"/>
                </a:lnTo>
                <a:lnTo>
                  <a:pt x="100391" y="5683"/>
                </a:lnTo>
                <a:lnTo>
                  <a:pt x="98980" y="0"/>
                </a:lnTo>
                <a:lnTo>
                  <a:pt x="97569" y="2939"/>
                </a:lnTo>
                <a:lnTo>
                  <a:pt x="96138" y="5683"/>
                </a:lnTo>
                <a:lnTo>
                  <a:pt x="93316" y="8622"/>
                </a:lnTo>
                <a:lnTo>
                  <a:pt x="91904" y="12738"/>
                </a:lnTo>
                <a:lnTo>
                  <a:pt x="89082" y="18421"/>
                </a:lnTo>
                <a:lnTo>
                  <a:pt x="84829" y="22732"/>
                </a:lnTo>
                <a:lnTo>
                  <a:pt x="79184" y="24104"/>
                </a:lnTo>
                <a:lnTo>
                  <a:pt x="73519" y="25476"/>
                </a:lnTo>
                <a:lnTo>
                  <a:pt x="67875" y="24104"/>
                </a:lnTo>
                <a:lnTo>
                  <a:pt x="63621" y="19793"/>
                </a:lnTo>
                <a:lnTo>
                  <a:pt x="59388" y="15677"/>
                </a:lnTo>
                <a:lnTo>
                  <a:pt x="57977" y="9994"/>
                </a:lnTo>
                <a:lnTo>
                  <a:pt x="56565" y="8622"/>
                </a:lnTo>
                <a:lnTo>
                  <a:pt x="55154" y="5683"/>
                </a:lnTo>
                <a:lnTo>
                  <a:pt x="45256" y="12738"/>
                </a:lnTo>
                <a:lnTo>
                  <a:pt x="36769" y="21361"/>
                </a:lnTo>
                <a:lnTo>
                  <a:pt x="26871" y="33903"/>
                </a:lnTo>
                <a:lnTo>
                  <a:pt x="21207" y="42526"/>
                </a:lnTo>
                <a:lnTo>
                  <a:pt x="12720" y="62319"/>
                </a:lnTo>
                <a:lnTo>
                  <a:pt x="4253" y="88972"/>
                </a:lnTo>
                <a:lnTo>
                  <a:pt x="0" y="120131"/>
                </a:lnTo>
                <a:lnTo>
                  <a:pt x="1411" y="134241"/>
                </a:lnTo>
                <a:lnTo>
                  <a:pt x="4253" y="149723"/>
                </a:lnTo>
                <a:lnTo>
                  <a:pt x="9898" y="163833"/>
                </a:lnTo>
                <a:lnTo>
                  <a:pt x="18384" y="178139"/>
                </a:lnTo>
                <a:lnTo>
                  <a:pt x="25460" y="186566"/>
                </a:lnTo>
                <a:lnTo>
                  <a:pt x="33927" y="192250"/>
                </a:lnTo>
                <a:lnTo>
                  <a:pt x="42414" y="196365"/>
                </a:lnTo>
                <a:lnTo>
                  <a:pt x="49490" y="196365"/>
                </a:lnTo>
                <a:lnTo>
                  <a:pt x="57977" y="194993"/>
                </a:lnTo>
                <a:lnTo>
                  <a:pt x="65033" y="190682"/>
                </a:lnTo>
                <a:lnTo>
                  <a:pt x="73519" y="185195"/>
                </a:lnTo>
                <a:lnTo>
                  <a:pt x="80595" y="179511"/>
                </a:lnTo>
                <a:lnTo>
                  <a:pt x="86260" y="172456"/>
                </a:lnTo>
                <a:lnTo>
                  <a:pt x="91904" y="165401"/>
                </a:lnTo>
                <a:lnTo>
                  <a:pt x="97569" y="159718"/>
                </a:lnTo>
                <a:lnTo>
                  <a:pt x="100391" y="154035"/>
                </a:lnTo>
                <a:lnTo>
                  <a:pt x="107467" y="144236"/>
                </a:lnTo>
                <a:lnTo>
                  <a:pt x="114523" y="134241"/>
                </a:lnTo>
                <a:lnTo>
                  <a:pt x="120187" y="124443"/>
                </a:lnTo>
                <a:lnTo>
                  <a:pt x="127263" y="114448"/>
                </a:lnTo>
                <a:lnTo>
                  <a:pt x="125832" y="115820"/>
                </a:lnTo>
                <a:lnTo>
                  <a:pt x="121598" y="118759"/>
                </a:lnTo>
                <a:lnTo>
                  <a:pt x="115934" y="120131"/>
                </a:lnTo>
                <a:lnTo>
                  <a:pt x="110289" y="120131"/>
                </a:lnTo>
                <a:lnTo>
                  <a:pt x="104625" y="117388"/>
                </a:lnTo>
                <a:lnTo>
                  <a:pt x="101802" y="114448"/>
                </a:lnTo>
                <a:lnTo>
                  <a:pt x="98980" y="110333"/>
                </a:lnTo>
                <a:lnTo>
                  <a:pt x="97569" y="106021"/>
                </a:lnTo>
                <a:lnTo>
                  <a:pt x="96138" y="101710"/>
                </a:lnTo>
                <a:lnTo>
                  <a:pt x="97569" y="98966"/>
                </a:lnTo>
                <a:lnTo>
                  <a:pt x="100391" y="80545"/>
                </a:lnTo>
                <a:lnTo>
                  <a:pt x="101802" y="63691"/>
                </a:lnTo>
                <a:lnTo>
                  <a:pt x="103214" y="48013"/>
                </a:lnTo>
                <a:lnTo>
                  <a:pt x="103214" y="33903"/>
                </a:lnTo>
                <a:close/>
              </a:path>
            </a:pathLst>
          </a:custGeom>
          <a:solidFill>
            <a:srgbClr val="BB6844"/>
          </a:solidFill>
        </p:spPr>
        <p:txBody>
          <a:bodyPr wrap="square" lIns="0" tIns="0" rIns="0" bIns="0" rtlCol="0">
            <a:noAutofit/>
          </a:bodyPr>
          <a:lstStyle/>
          <a:p>
            <a:endParaRPr/>
          </a:p>
        </p:txBody>
      </p:sp>
      <p:sp>
        <p:nvSpPr>
          <p:cNvPr id="23" name="object 23"/>
          <p:cNvSpPr txBox="1"/>
          <p:nvPr/>
        </p:nvSpPr>
        <p:spPr>
          <a:xfrm>
            <a:off x="2059941" y="1302670"/>
            <a:ext cx="679805"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H</a:t>
            </a:r>
            <a:r>
              <a:rPr sz="2400" spc="-4" dirty="0">
                <a:latin typeface="Arial"/>
                <a:cs typeface="Arial"/>
              </a:rPr>
              <a:t>o</a:t>
            </a:r>
            <a:r>
              <a:rPr sz="2400" dirty="0">
                <a:latin typeface="Arial"/>
                <a:cs typeface="Arial"/>
              </a:rPr>
              <a:t>w</a:t>
            </a:r>
            <a:endParaRPr sz="2400">
              <a:latin typeface="Arial"/>
              <a:cs typeface="Arial"/>
            </a:endParaRPr>
          </a:p>
        </p:txBody>
      </p:sp>
      <p:sp>
        <p:nvSpPr>
          <p:cNvPr id="22" name="object 22"/>
          <p:cNvSpPr txBox="1"/>
          <p:nvPr/>
        </p:nvSpPr>
        <p:spPr>
          <a:xfrm>
            <a:off x="2753361" y="1302670"/>
            <a:ext cx="325323"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to</a:t>
            </a:r>
            <a:endParaRPr sz="2400">
              <a:latin typeface="Arial"/>
              <a:cs typeface="Arial"/>
            </a:endParaRPr>
          </a:p>
        </p:txBody>
      </p:sp>
      <p:sp>
        <p:nvSpPr>
          <p:cNvPr id="21" name="object 21"/>
          <p:cNvSpPr txBox="1"/>
          <p:nvPr/>
        </p:nvSpPr>
        <p:spPr>
          <a:xfrm>
            <a:off x="3092298" y="1302670"/>
            <a:ext cx="1171447" cy="330200"/>
          </a:xfrm>
          <a:prstGeom prst="rect">
            <a:avLst/>
          </a:prstGeom>
        </p:spPr>
        <p:txBody>
          <a:bodyPr wrap="square" lIns="0" tIns="0" rIns="0" bIns="0" rtlCol="0">
            <a:noAutofit/>
          </a:bodyPr>
          <a:lstStyle/>
          <a:p>
            <a:pPr marL="12700">
              <a:lnSpc>
                <a:spcPts val="2555"/>
              </a:lnSpc>
              <a:spcBef>
                <a:spcPts val="127"/>
              </a:spcBef>
            </a:pPr>
            <a:r>
              <a:rPr sz="2400" spc="-4" dirty="0">
                <a:latin typeface="Arial"/>
                <a:cs typeface="Arial"/>
              </a:rPr>
              <a:t>p</a:t>
            </a:r>
            <a:r>
              <a:rPr sz="2400" dirty="0">
                <a:latin typeface="Arial"/>
                <a:cs typeface="Arial"/>
              </a:rPr>
              <a:t>roceed</a:t>
            </a:r>
            <a:endParaRPr sz="2400">
              <a:latin typeface="Arial"/>
              <a:cs typeface="Arial"/>
            </a:endParaRPr>
          </a:p>
        </p:txBody>
      </p:sp>
      <p:sp>
        <p:nvSpPr>
          <p:cNvPr id="20" name="object 20"/>
          <p:cNvSpPr txBox="1"/>
          <p:nvPr/>
        </p:nvSpPr>
        <p:spPr>
          <a:xfrm>
            <a:off x="4278580" y="1302670"/>
            <a:ext cx="611835"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w</a:t>
            </a:r>
            <a:r>
              <a:rPr sz="2400" spc="-9" dirty="0">
                <a:latin typeface="Arial"/>
                <a:cs typeface="Arial"/>
              </a:rPr>
              <a:t>i</a:t>
            </a:r>
            <a:r>
              <a:rPr sz="2400" dirty="0">
                <a:latin typeface="Arial"/>
                <a:cs typeface="Arial"/>
              </a:rPr>
              <a:t>th</a:t>
            </a:r>
          </a:p>
        </p:txBody>
      </p:sp>
      <p:sp>
        <p:nvSpPr>
          <p:cNvPr id="19" name="object 19"/>
          <p:cNvSpPr txBox="1"/>
          <p:nvPr/>
        </p:nvSpPr>
        <p:spPr>
          <a:xfrm>
            <a:off x="4906162" y="1302670"/>
            <a:ext cx="494792"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the</a:t>
            </a:r>
            <a:endParaRPr sz="2400">
              <a:latin typeface="Arial"/>
              <a:cs typeface="Arial"/>
            </a:endParaRPr>
          </a:p>
        </p:txBody>
      </p:sp>
      <p:sp>
        <p:nvSpPr>
          <p:cNvPr id="18" name="object 18"/>
          <p:cNvSpPr txBox="1"/>
          <p:nvPr/>
        </p:nvSpPr>
        <p:spPr>
          <a:xfrm>
            <a:off x="5414900" y="1302670"/>
            <a:ext cx="1137005" cy="330200"/>
          </a:xfrm>
          <a:prstGeom prst="rect">
            <a:avLst/>
          </a:prstGeom>
        </p:spPr>
        <p:txBody>
          <a:bodyPr wrap="square" lIns="0" tIns="0" rIns="0" bIns="0" rtlCol="0">
            <a:noAutofit/>
          </a:bodyPr>
          <a:lstStyle/>
          <a:p>
            <a:pPr marL="12700">
              <a:lnSpc>
                <a:spcPts val="2555"/>
              </a:lnSpc>
              <a:spcBef>
                <a:spcPts val="127"/>
              </a:spcBef>
            </a:pPr>
            <a:r>
              <a:rPr sz="2400" b="1" dirty="0">
                <a:solidFill>
                  <a:srgbClr val="3333CC"/>
                </a:solidFill>
                <a:latin typeface="Arial"/>
                <a:cs typeface="Arial"/>
              </a:rPr>
              <a:t>TCO</a:t>
            </a:r>
            <a:r>
              <a:rPr sz="2400" b="1" spc="-4" dirty="0">
                <a:solidFill>
                  <a:srgbClr val="3333CC"/>
                </a:solidFill>
                <a:latin typeface="Arial"/>
                <a:cs typeface="Arial"/>
              </a:rPr>
              <a:t>D</a:t>
            </a:r>
            <a:r>
              <a:rPr sz="2400" b="1" dirty="0">
                <a:solidFill>
                  <a:srgbClr val="3333CC"/>
                </a:solidFill>
                <a:latin typeface="Arial"/>
                <a:cs typeface="Arial"/>
              </a:rPr>
              <a:t>E</a:t>
            </a:r>
            <a:endParaRPr sz="2400" dirty="0">
              <a:latin typeface="Arial"/>
              <a:cs typeface="Arial"/>
            </a:endParaRPr>
          </a:p>
        </p:txBody>
      </p:sp>
      <p:sp>
        <p:nvSpPr>
          <p:cNvPr id="17" name="object 17"/>
          <p:cNvSpPr txBox="1"/>
          <p:nvPr/>
        </p:nvSpPr>
        <p:spPr>
          <a:xfrm>
            <a:off x="6565519" y="1302670"/>
            <a:ext cx="308254"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in</a:t>
            </a:r>
            <a:endParaRPr sz="2400">
              <a:latin typeface="Arial"/>
              <a:cs typeface="Arial"/>
            </a:endParaRPr>
          </a:p>
        </p:txBody>
      </p:sp>
      <p:sp>
        <p:nvSpPr>
          <p:cNvPr id="16" name="object 16"/>
          <p:cNvSpPr txBox="1"/>
          <p:nvPr/>
        </p:nvSpPr>
        <p:spPr>
          <a:xfrm>
            <a:off x="6888303" y="1302670"/>
            <a:ext cx="847445"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bi</a:t>
            </a:r>
            <a:r>
              <a:rPr sz="2400" spc="-9" dirty="0">
                <a:latin typeface="Arial"/>
                <a:cs typeface="Arial"/>
              </a:rPr>
              <a:t>l</a:t>
            </a:r>
            <a:r>
              <a:rPr sz="2400" dirty="0">
                <a:latin typeface="Arial"/>
                <a:cs typeface="Arial"/>
              </a:rPr>
              <a:t>l</a:t>
            </a:r>
            <a:r>
              <a:rPr sz="2400" spc="-9" dirty="0">
                <a:latin typeface="Arial"/>
                <a:cs typeface="Arial"/>
              </a:rPr>
              <a:t>i</a:t>
            </a:r>
            <a:r>
              <a:rPr sz="2400" dirty="0">
                <a:latin typeface="Arial"/>
                <a:cs typeface="Arial"/>
              </a:rPr>
              <a:t>ng</a:t>
            </a:r>
            <a:endParaRPr sz="2400">
              <a:latin typeface="Arial"/>
              <a:cs typeface="Arial"/>
            </a:endParaRPr>
          </a:p>
        </p:txBody>
      </p:sp>
      <p:sp>
        <p:nvSpPr>
          <p:cNvPr id="15" name="object 15"/>
          <p:cNvSpPr txBox="1"/>
          <p:nvPr/>
        </p:nvSpPr>
        <p:spPr>
          <a:xfrm>
            <a:off x="7755153" y="1302670"/>
            <a:ext cx="579526" cy="330200"/>
          </a:xfrm>
          <a:prstGeom prst="rect">
            <a:avLst/>
          </a:prstGeom>
        </p:spPr>
        <p:txBody>
          <a:bodyPr wrap="square" lIns="0" tIns="0" rIns="0" bIns="0" rtlCol="0">
            <a:noAutofit/>
          </a:bodyPr>
          <a:lstStyle/>
          <a:p>
            <a:pPr marL="12700">
              <a:lnSpc>
                <a:spcPts val="2555"/>
              </a:lnSpc>
              <a:spcBef>
                <a:spcPts val="127"/>
              </a:spcBef>
            </a:pPr>
            <a:r>
              <a:rPr sz="2400" dirty="0">
                <a:latin typeface="Arial"/>
                <a:cs typeface="Arial"/>
              </a:rPr>
              <a:t>???</a:t>
            </a:r>
            <a:endParaRPr sz="2400">
              <a:latin typeface="Arial"/>
              <a:cs typeface="Arial"/>
            </a:endParaRPr>
          </a:p>
        </p:txBody>
      </p:sp>
      <p:sp>
        <p:nvSpPr>
          <p:cNvPr id="13" name="object 13"/>
          <p:cNvSpPr txBox="1"/>
          <p:nvPr/>
        </p:nvSpPr>
        <p:spPr>
          <a:xfrm>
            <a:off x="4648201" y="1905001"/>
            <a:ext cx="936625" cy="1171575"/>
          </a:xfrm>
          <a:prstGeom prst="rect">
            <a:avLst/>
          </a:prstGeom>
        </p:spPr>
        <p:txBody>
          <a:bodyPr wrap="square" lIns="0" tIns="0" rIns="0" bIns="0" rtlCol="0">
            <a:noAutofit/>
          </a:bodyPr>
          <a:lstStyle/>
          <a:p>
            <a:pPr marL="92075">
              <a:lnSpc>
                <a:spcPct val="95825"/>
              </a:lnSpc>
              <a:spcBef>
                <a:spcPts val="425"/>
              </a:spcBef>
            </a:pPr>
            <a:r>
              <a:rPr dirty="0">
                <a:latin typeface="Arial"/>
                <a:cs typeface="Arial"/>
              </a:rPr>
              <a:t>VF01</a:t>
            </a:r>
          </a:p>
          <a:p>
            <a:pPr marL="92075">
              <a:lnSpc>
                <a:spcPct val="95825"/>
              </a:lnSpc>
              <a:spcBef>
                <a:spcPts val="525"/>
              </a:spcBef>
            </a:pPr>
            <a:r>
              <a:rPr dirty="0">
                <a:latin typeface="Arial"/>
                <a:cs typeface="Arial"/>
              </a:rPr>
              <a:t>VF</a:t>
            </a:r>
            <a:r>
              <a:rPr spc="-4" dirty="0">
                <a:latin typeface="Arial"/>
                <a:cs typeface="Arial"/>
              </a:rPr>
              <a:t>0</a:t>
            </a:r>
            <a:r>
              <a:rPr dirty="0">
                <a:latin typeface="Arial"/>
                <a:cs typeface="Arial"/>
              </a:rPr>
              <a:t>2</a:t>
            </a:r>
          </a:p>
          <a:p>
            <a:pPr marL="92075">
              <a:lnSpc>
                <a:spcPct val="95825"/>
              </a:lnSpc>
              <a:spcBef>
                <a:spcPts val="522"/>
              </a:spcBef>
            </a:pPr>
            <a:r>
              <a:rPr dirty="0">
                <a:latin typeface="Arial"/>
                <a:cs typeface="Arial"/>
              </a:rPr>
              <a:t>VF03</a:t>
            </a:r>
          </a:p>
        </p:txBody>
      </p:sp>
      <p:sp>
        <p:nvSpPr>
          <p:cNvPr id="12" name="object 12"/>
          <p:cNvSpPr txBox="1"/>
          <p:nvPr/>
        </p:nvSpPr>
        <p:spPr>
          <a:xfrm>
            <a:off x="5584826" y="1905001"/>
            <a:ext cx="4016375" cy="1171575"/>
          </a:xfrm>
          <a:prstGeom prst="rect">
            <a:avLst/>
          </a:prstGeom>
        </p:spPr>
        <p:txBody>
          <a:bodyPr wrap="square" lIns="0" tIns="0" rIns="0" bIns="0" rtlCol="0">
            <a:noAutofit/>
          </a:bodyPr>
          <a:lstStyle/>
          <a:p>
            <a:pPr marL="92075" marR="1311293">
              <a:lnSpc>
                <a:spcPts val="2069"/>
              </a:lnSpc>
              <a:spcBef>
                <a:spcPts val="425"/>
              </a:spcBef>
            </a:pPr>
            <a:r>
              <a:rPr dirty="0">
                <a:latin typeface="Arial"/>
                <a:cs typeface="Arial"/>
              </a:rPr>
              <a:t>Cr</a:t>
            </a:r>
            <a:r>
              <a:rPr spc="-4" dirty="0">
                <a:latin typeface="Arial"/>
                <a:cs typeface="Arial"/>
              </a:rPr>
              <a:t>e</a:t>
            </a:r>
            <a:r>
              <a:rPr dirty="0">
                <a:latin typeface="Arial"/>
                <a:cs typeface="Arial"/>
              </a:rPr>
              <a:t>ate Bil</a:t>
            </a:r>
            <a:r>
              <a:rPr spc="-4"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9"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 </a:t>
            </a:r>
            <a:endParaRPr>
              <a:latin typeface="Arial"/>
              <a:cs typeface="Arial"/>
            </a:endParaRPr>
          </a:p>
          <a:p>
            <a:pPr marL="92075" marR="1311293">
              <a:lnSpc>
                <a:spcPts val="2069"/>
              </a:lnSpc>
              <a:spcBef>
                <a:spcPts val="523"/>
              </a:spcBef>
            </a:pPr>
            <a:r>
              <a:rPr dirty="0">
                <a:latin typeface="Arial"/>
                <a:cs typeface="Arial"/>
              </a:rPr>
              <a:t>C</a:t>
            </a:r>
            <a:r>
              <a:rPr spc="-9" dirty="0">
                <a:latin typeface="Arial"/>
                <a:cs typeface="Arial"/>
              </a:rPr>
              <a:t>h</a:t>
            </a:r>
            <a:r>
              <a:rPr spc="-4" dirty="0">
                <a:latin typeface="Arial"/>
                <a:cs typeface="Arial"/>
              </a:rPr>
              <a:t>ang</a:t>
            </a:r>
            <a:r>
              <a:rPr dirty="0">
                <a:latin typeface="Arial"/>
                <a:cs typeface="Arial"/>
              </a:rPr>
              <a:t>e</a:t>
            </a:r>
            <a:r>
              <a:rPr spc="9" dirty="0">
                <a:latin typeface="Arial"/>
                <a:cs typeface="Arial"/>
              </a:rPr>
              <a:t> </a:t>
            </a:r>
            <a:r>
              <a:rPr dirty="0">
                <a:latin typeface="Arial"/>
                <a:cs typeface="Arial"/>
              </a:rPr>
              <a:t>B</a:t>
            </a:r>
            <a:r>
              <a:rPr spc="-4" dirty="0">
                <a:latin typeface="Arial"/>
                <a:cs typeface="Arial"/>
              </a:rPr>
              <a:t>i</a:t>
            </a:r>
            <a:r>
              <a:rPr dirty="0">
                <a:latin typeface="Arial"/>
                <a:cs typeface="Arial"/>
              </a:rPr>
              <a:t>l</a:t>
            </a:r>
            <a:r>
              <a:rPr spc="-9"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9" dirty="0">
                <a:latin typeface="Arial"/>
                <a:cs typeface="Arial"/>
              </a:rPr>
              <a:t> </a:t>
            </a:r>
            <a:r>
              <a:rPr dirty="0">
                <a:latin typeface="Arial"/>
                <a:cs typeface="Arial"/>
              </a:rPr>
              <a:t>D</a:t>
            </a:r>
            <a:r>
              <a:rPr spc="-9" dirty="0">
                <a:latin typeface="Arial"/>
                <a:cs typeface="Arial"/>
              </a:rPr>
              <a:t>o</a:t>
            </a:r>
            <a:r>
              <a:rPr dirty="0">
                <a:latin typeface="Arial"/>
                <a:cs typeface="Arial"/>
              </a:rPr>
              <a:t>c</a:t>
            </a:r>
            <a:r>
              <a:rPr spc="-4" dirty="0">
                <a:latin typeface="Arial"/>
                <a:cs typeface="Arial"/>
              </a:rPr>
              <a:t>u</a:t>
            </a:r>
            <a:r>
              <a:rPr dirty="0">
                <a:latin typeface="Arial"/>
                <a:cs typeface="Arial"/>
              </a:rPr>
              <a:t>m</a:t>
            </a:r>
            <a:r>
              <a:rPr spc="-4" dirty="0">
                <a:latin typeface="Arial"/>
                <a:cs typeface="Arial"/>
              </a:rPr>
              <a:t>en</a:t>
            </a:r>
            <a:r>
              <a:rPr dirty="0">
                <a:latin typeface="Arial"/>
                <a:cs typeface="Arial"/>
              </a:rPr>
              <a:t>t </a:t>
            </a:r>
            <a:endParaRPr>
              <a:latin typeface="Arial"/>
              <a:cs typeface="Arial"/>
            </a:endParaRPr>
          </a:p>
          <a:p>
            <a:pPr marL="92075" marR="1311293">
              <a:lnSpc>
                <a:spcPts val="2069"/>
              </a:lnSpc>
              <a:spcBef>
                <a:spcPts val="523"/>
              </a:spcBef>
            </a:pPr>
            <a:r>
              <a:rPr dirty="0">
                <a:latin typeface="Arial"/>
                <a:cs typeface="Arial"/>
              </a:rPr>
              <a:t>D</a:t>
            </a:r>
            <a:r>
              <a:rPr spc="-4" dirty="0">
                <a:latin typeface="Arial"/>
                <a:cs typeface="Arial"/>
              </a:rPr>
              <a:t>i</a:t>
            </a:r>
            <a:r>
              <a:rPr dirty="0">
                <a:latin typeface="Arial"/>
                <a:cs typeface="Arial"/>
              </a:rPr>
              <a:t>sp</a:t>
            </a:r>
            <a:r>
              <a:rPr spc="-9" dirty="0">
                <a:latin typeface="Arial"/>
                <a:cs typeface="Arial"/>
              </a:rPr>
              <a:t>l</a:t>
            </a:r>
            <a:r>
              <a:rPr dirty="0">
                <a:latin typeface="Arial"/>
                <a:cs typeface="Arial"/>
              </a:rPr>
              <a:t>ay 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r>
              <a:rPr spc="19"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11" name="object 11"/>
          <p:cNvSpPr txBox="1"/>
          <p:nvPr/>
        </p:nvSpPr>
        <p:spPr>
          <a:xfrm>
            <a:off x="4648201" y="3076575"/>
            <a:ext cx="936625" cy="495300"/>
          </a:xfrm>
          <a:prstGeom prst="rect">
            <a:avLst/>
          </a:prstGeom>
        </p:spPr>
        <p:txBody>
          <a:bodyPr wrap="square" lIns="0" tIns="0" rIns="0" bIns="0" rtlCol="0">
            <a:noAutofit/>
          </a:bodyPr>
          <a:lstStyle/>
          <a:p>
            <a:pPr marL="92075">
              <a:lnSpc>
                <a:spcPct val="95825"/>
              </a:lnSpc>
              <a:spcBef>
                <a:spcPts val="425"/>
              </a:spcBef>
            </a:pPr>
            <a:r>
              <a:rPr dirty="0">
                <a:latin typeface="Arial"/>
                <a:cs typeface="Arial"/>
              </a:rPr>
              <a:t>VF</a:t>
            </a:r>
            <a:r>
              <a:rPr spc="-134" dirty="0">
                <a:latin typeface="Arial"/>
                <a:cs typeface="Arial"/>
              </a:rPr>
              <a:t>1</a:t>
            </a:r>
            <a:r>
              <a:rPr dirty="0">
                <a:latin typeface="Arial"/>
                <a:cs typeface="Arial"/>
              </a:rPr>
              <a:t>1</a:t>
            </a:r>
            <a:endParaRPr>
              <a:latin typeface="Arial"/>
              <a:cs typeface="Arial"/>
            </a:endParaRPr>
          </a:p>
        </p:txBody>
      </p:sp>
      <p:sp>
        <p:nvSpPr>
          <p:cNvPr id="10" name="object 10"/>
          <p:cNvSpPr txBox="1"/>
          <p:nvPr/>
        </p:nvSpPr>
        <p:spPr>
          <a:xfrm>
            <a:off x="5584826" y="3076575"/>
            <a:ext cx="4016375" cy="495300"/>
          </a:xfrm>
          <a:prstGeom prst="rect">
            <a:avLst/>
          </a:prstGeom>
        </p:spPr>
        <p:txBody>
          <a:bodyPr wrap="square" lIns="0" tIns="0" rIns="0" bIns="0" rtlCol="0">
            <a:noAutofit/>
          </a:bodyPr>
          <a:lstStyle/>
          <a:p>
            <a:pPr marL="92075">
              <a:lnSpc>
                <a:spcPct val="95825"/>
              </a:lnSpc>
              <a:spcBef>
                <a:spcPts val="425"/>
              </a:spcBef>
            </a:pPr>
            <a:r>
              <a:rPr dirty="0">
                <a:latin typeface="Arial"/>
                <a:cs typeface="Arial"/>
              </a:rPr>
              <a:t>C</a:t>
            </a:r>
            <a:r>
              <a:rPr spc="-9" dirty="0">
                <a:latin typeface="Arial"/>
                <a:cs typeface="Arial"/>
              </a:rPr>
              <a:t>a</a:t>
            </a:r>
            <a:r>
              <a:rPr dirty="0">
                <a:latin typeface="Arial"/>
                <a:cs typeface="Arial"/>
              </a:rPr>
              <a:t>nc</a:t>
            </a:r>
            <a:r>
              <a:rPr spc="-9" dirty="0">
                <a:latin typeface="Arial"/>
                <a:cs typeface="Arial"/>
              </a:rPr>
              <a:t>e</a:t>
            </a:r>
            <a:r>
              <a:rPr dirty="0">
                <a:latin typeface="Arial"/>
                <a:cs typeface="Arial"/>
              </a:rPr>
              <a:t>l Inv</a:t>
            </a:r>
            <a:r>
              <a:rPr spc="-4" dirty="0">
                <a:latin typeface="Arial"/>
                <a:cs typeface="Arial"/>
              </a:rPr>
              <a:t>o</a:t>
            </a:r>
            <a:r>
              <a:rPr dirty="0">
                <a:latin typeface="Arial"/>
                <a:cs typeface="Arial"/>
              </a:rPr>
              <a:t>ice</a:t>
            </a:r>
            <a:endParaRPr>
              <a:latin typeface="Arial"/>
              <a:cs typeface="Arial"/>
            </a:endParaRPr>
          </a:p>
        </p:txBody>
      </p:sp>
      <p:sp>
        <p:nvSpPr>
          <p:cNvPr id="9" name="object 9"/>
          <p:cNvSpPr txBox="1"/>
          <p:nvPr/>
        </p:nvSpPr>
        <p:spPr>
          <a:xfrm>
            <a:off x="4648201" y="3571875"/>
            <a:ext cx="936625" cy="515874"/>
          </a:xfrm>
          <a:prstGeom prst="rect">
            <a:avLst/>
          </a:prstGeom>
        </p:spPr>
        <p:txBody>
          <a:bodyPr wrap="square" lIns="0" tIns="0" rIns="0" bIns="0" rtlCol="0">
            <a:noAutofit/>
          </a:bodyPr>
          <a:lstStyle/>
          <a:p>
            <a:pPr marL="92075">
              <a:lnSpc>
                <a:spcPct val="95825"/>
              </a:lnSpc>
              <a:spcBef>
                <a:spcPts val="425"/>
              </a:spcBef>
            </a:pPr>
            <a:r>
              <a:rPr dirty="0">
                <a:latin typeface="Arial"/>
                <a:cs typeface="Arial"/>
              </a:rPr>
              <a:t>VF04</a:t>
            </a:r>
            <a:endParaRPr>
              <a:latin typeface="Arial"/>
              <a:cs typeface="Arial"/>
            </a:endParaRPr>
          </a:p>
        </p:txBody>
      </p:sp>
      <p:sp>
        <p:nvSpPr>
          <p:cNvPr id="8" name="object 8"/>
          <p:cNvSpPr txBox="1"/>
          <p:nvPr/>
        </p:nvSpPr>
        <p:spPr>
          <a:xfrm>
            <a:off x="5584826" y="3571875"/>
            <a:ext cx="4016375" cy="515874"/>
          </a:xfrm>
          <a:prstGeom prst="rect">
            <a:avLst/>
          </a:prstGeom>
        </p:spPr>
        <p:txBody>
          <a:bodyPr wrap="square" lIns="0" tIns="0" rIns="0" bIns="0" rtlCol="0">
            <a:noAutofit/>
          </a:bodyPr>
          <a:lstStyle/>
          <a:p>
            <a:pPr marL="92075">
              <a:lnSpc>
                <a:spcPct val="95825"/>
              </a:lnSpc>
              <a:spcBef>
                <a:spcPts val="425"/>
              </a:spcBef>
            </a:pPr>
            <a:r>
              <a:rPr dirty="0">
                <a:latin typeface="Arial"/>
                <a:cs typeface="Arial"/>
              </a:rPr>
              <a:t>Proc</a:t>
            </a:r>
            <a:r>
              <a:rPr spc="-9" dirty="0">
                <a:latin typeface="Arial"/>
                <a:cs typeface="Arial"/>
              </a:rPr>
              <a:t>e</a:t>
            </a:r>
            <a:r>
              <a:rPr dirty="0">
                <a:latin typeface="Arial"/>
                <a:cs typeface="Arial"/>
              </a:rPr>
              <a:t>ss</a:t>
            </a:r>
            <a:r>
              <a:rPr spc="-4" dirty="0">
                <a:latin typeface="Arial"/>
                <a:cs typeface="Arial"/>
              </a:rPr>
              <a:t> </a:t>
            </a:r>
            <a:r>
              <a:rPr dirty="0">
                <a:latin typeface="Arial"/>
                <a:cs typeface="Arial"/>
              </a:rPr>
              <a:t>Bi</a:t>
            </a:r>
            <a:r>
              <a:rPr spc="-4" dirty="0">
                <a:latin typeface="Arial"/>
                <a:cs typeface="Arial"/>
              </a:rPr>
              <a:t>l</a:t>
            </a:r>
            <a:r>
              <a:rPr dirty="0">
                <a:latin typeface="Arial"/>
                <a:cs typeface="Arial"/>
              </a:rPr>
              <a:t>l</a:t>
            </a:r>
            <a:r>
              <a:rPr spc="-4" dirty="0">
                <a:latin typeface="Arial"/>
                <a:cs typeface="Arial"/>
              </a:rPr>
              <a:t>i</a:t>
            </a:r>
            <a:r>
              <a:rPr dirty="0">
                <a:latin typeface="Arial"/>
                <a:cs typeface="Arial"/>
              </a:rPr>
              <a:t>ng</a:t>
            </a:r>
            <a:r>
              <a:rPr spc="19" dirty="0">
                <a:latin typeface="Arial"/>
                <a:cs typeface="Arial"/>
              </a:rPr>
              <a:t> </a:t>
            </a:r>
            <a:r>
              <a:rPr dirty="0">
                <a:latin typeface="Arial"/>
                <a:cs typeface="Arial"/>
              </a:rPr>
              <a:t>D</a:t>
            </a:r>
            <a:r>
              <a:rPr spc="-9" dirty="0">
                <a:latin typeface="Arial"/>
                <a:cs typeface="Arial"/>
              </a:rPr>
              <a:t>u</a:t>
            </a:r>
            <a:r>
              <a:rPr dirty="0">
                <a:latin typeface="Arial"/>
                <a:cs typeface="Arial"/>
              </a:rPr>
              <a:t>e</a:t>
            </a:r>
            <a:r>
              <a:rPr spc="9" dirty="0">
                <a:latin typeface="Arial"/>
                <a:cs typeface="Arial"/>
              </a:rPr>
              <a:t> </a:t>
            </a:r>
            <a:r>
              <a:rPr dirty="0">
                <a:latin typeface="Arial"/>
                <a:cs typeface="Arial"/>
              </a:rPr>
              <a:t>L</a:t>
            </a:r>
            <a:r>
              <a:rPr spc="-9" dirty="0">
                <a:latin typeface="Arial"/>
                <a:cs typeface="Arial"/>
              </a:rPr>
              <a:t>i</a:t>
            </a:r>
            <a:r>
              <a:rPr dirty="0">
                <a:latin typeface="Arial"/>
                <a:cs typeface="Arial"/>
              </a:rPr>
              <a:t>st</a:t>
            </a:r>
            <a:endParaRPr>
              <a:latin typeface="Arial"/>
              <a:cs typeface="Arial"/>
            </a:endParaRPr>
          </a:p>
        </p:txBody>
      </p:sp>
      <p:sp>
        <p:nvSpPr>
          <p:cNvPr id="7" name="object 7"/>
          <p:cNvSpPr txBox="1"/>
          <p:nvPr/>
        </p:nvSpPr>
        <p:spPr>
          <a:xfrm>
            <a:off x="4648201" y="4087750"/>
            <a:ext cx="936625" cy="492125"/>
          </a:xfrm>
          <a:prstGeom prst="rect">
            <a:avLst/>
          </a:prstGeom>
        </p:spPr>
        <p:txBody>
          <a:bodyPr wrap="square" lIns="0" tIns="0" rIns="0" bIns="0" rtlCol="0">
            <a:noAutofit/>
          </a:bodyPr>
          <a:lstStyle/>
          <a:p>
            <a:pPr marL="92075">
              <a:lnSpc>
                <a:spcPct val="95825"/>
              </a:lnSpc>
              <a:spcBef>
                <a:spcPts val="430"/>
              </a:spcBef>
            </a:pPr>
            <a:r>
              <a:rPr dirty="0">
                <a:latin typeface="Arial"/>
                <a:cs typeface="Arial"/>
              </a:rPr>
              <a:t>VF</a:t>
            </a:r>
            <a:r>
              <a:rPr spc="-9" dirty="0">
                <a:latin typeface="Arial"/>
                <a:cs typeface="Arial"/>
              </a:rPr>
              <a:t>X</a:t>
            </a:r>
            <a:r>
              <a:rPr dirty="0">
                <a:latin typeface="Arial"/>
                <a:cs typeface="Arial"/>
              </a:rPr>
              <a:t>3</a:t>
            </a:r>
            <a:endParaRPr>
              <a:latin typeface="Arial"/>
              <a:cs typeface="Arial"/>
            </a:endParaRPr>
          </a:p>
        </p:txBody>
      </p:sp>
      <p:sp>
        <p:nvSpPr>
          <p:cNvPr id="6" name="object 6"/>
          <p:cNvSpPr txBox="1"/>
          <p:nvPr/>
        </p:nvSpPr>
        <p:spPr>
          <a:xfrm>
            <a:off x="5584826" y="4087750"/>
            <a:ext cx="4016375" cy="492125"/>
          </a:xfrm>
          <a:prstGeom prst="rect">
            <a:avLst/>
          </a:prstGeom>
        </p:spPr>
        <p:txBody>
          <a:bodyPr wrap="square" lIns="0" tIns="0" rIns="0" bIns="0" rtlCol="0">
            <a:noAutofit/>
          </a:bodyPr>
          <a:lstStyle/>
          <a:p>
            <a:pPr marL="92075">
              <a:lnSpc>
                <a:spcPct val="95825"/>
              </a:lnSpc>
              <a:spcBef>
                <a:spcPts val="430"/>
              </a:spcBef>
            </a:pPr>
            <a:r>
              <a:rPr dirty="0">
                <a:latin typeface="Arial"/>
                <a:cs typeface="Arial"/>
              </a:rPr>
              <a:t>Bl</a:t>
            </a:r>
            <a:r>
              <a:rPr spc="-9" dirty="0">
                <a:latin typeface="Arial"/>
                <a:cs typeface="Arial"/>
              </a:rPr>
              <a:t>o</a:t>
            </a:r>
            <a:r>
              <a:rPr dirty="0">
                <a:latin typeface="Arial"/>
                <a:cs typeface="Arial"/>
              </a:rPr>
              <a:t>cked</a:t>
            </a:r>
            <a:r>
              <a:rPr spc="-4" dirty="0">
                <a:latin typeface="Arial"/>
                <a:cs typeface="Arial"/>
              </a:rPr>
              <a:t> </a:t>
            </a:r>
            <a:r>
              <a:rPr dirty="0">
                <a:latin typeface="Arial"/>
                <a:cs typeface="Arial"/>
              </a:rPr>
              <a:t>Bil</a:t>
            </a:r>
            <a:r>
              <a:rPr spc="-4" dirty="0">
                <a:latin typeface="Arial"/>
                <a:cs typeface="Arial"/>
              </a:rPr>
              <a:t>l</a:t>
            </a:r>
            <a:r>
              <a:rPr dirty="0">
                <a:latin typeface="Arial"/>
                <a:cs typeface="Arial"/>
              </a:rPr>
              <a:t>i</a:t>
            </a:r>
            <a:r>
              <a:rPr spc="-9" dirty="0">
                <a:latin typeface="Arial"/>
                <a:cs typeface="Arial"/>
              </a:rPr>
              <a:t>n</a:t>
            </a:r>
            <a:r>
              <a:rPr dirty="0">
                <a:latin typeface="Arial"/>
                <a:cs typeface="Arial"/>
              </a:rPr>
              <a:t>g</a:t>
            </a:r>
            <a:r>
              <a:rPr spc="25" dirty="0">
                <a:latin typeface="Arial"/>
                <a:cs typeface="Arial"/>
              </a:rPr>
              <a:t> </a:t>
            </a:r>
            <a:r>
              <a:rPr dirty="0">
                <a:latin typeface="Arial"/>
                <a:cs typeface="Arial"/>
              </a:rPr>
              <a:t>D</a:t>
            </a:r>
            <a:r>
              <a:rPr spc="-9" dirty="0">
                <a:latin typeface="Arial"/>
                <a:cs typeface="Arial"/>
              </a:rPr>
              <a:t>o</a:t>
            </a:r>
            <a:r>
              <a:rPr dirty="0">
                <a:latin typeface="Arial"/>
                <a:cs typeface="Arial"/>
              </a:rPr>
              <a:t>cum</a:t>
            </a:r>
            <a:r>
              <a:rPr spc="-9" dirty="0">
                <a:latin typeface="Arial"/>
                <a:cs typeface="Arial"/>
              </a:rPr>
              <a:t>e</a:t>
            </a:r>
            <a:r>
              <a:rPr dirty="0">
                <a:latin typeface="Arial"/>
                <a:cs typeface="Arial"/>
              </a:rPr>
              <a:t>nt</a:t>
            </a:r>
            <a:endParaRPr>
              <a:latin typeface="Arial"/>
              <a:cs typeface="Arial"/>
            </a:endParaRPr>
          </a:p>
        </p:txBody>
      </p:sp>
      <p:sp>
        <p:nvSpPr>
          <p:cNvPr id="5" name="object 5"/>
          <p:cNvSpPr txBox="1"/>
          <p:nvPr/>
        </p:nvSpPr>
        <p:spPr>
          <a:xfrm>
            <a:off x="4648201" y="4579874"/>
            <a:ext cx="936625" cy="1173226"/>
          </a:xfrm>
          <a:prstGeom prst="rect">
            <a:avLst/>
          </a:prstGeom>
        </p:spPr>
        <p:txBody>
          <a:bodyPr wrap="square" lIns="0" tIns="0" rIns="0" bIns="0" rtlCol="0">
            <a:noAutofit/>
          </a:bodyPr>
          <a:lstStyle/>
          <a:p>
            <a:pPr marL="92075">
              <a:lnSpc>
                <a:spcPct val="95825"/>
              </a:lnSpc>
              <a:spcBef>
                <a:spcPts val="430"/>
              </a:spcBef>
            </a:pPr>
            <a:r>
              <a:rPr dirty="0">
                <a:latin typeface="Arial"/>
                <a:cs typeface="Arial"/>
              </a:rPr>
              <a:t>VF21</a:t>
            </a:r>
            <a:endParaRPr>
              <a:latin typeface="Arial"/>
              <a:cs typeface="Arial"/>
            </a:endParaRPr>
          </a:p>
          <a:p>
            <a:pPr marL="92075">
              <a:lnSpc>
                <a:spcPct val="95825"/>
              </a:lnSpc>
              <a:spcBef>
                <a:spcPts val="522"/>
              </a:spcBef>
            </a:pPr>
            <a:r>
              <a:rPr dirty="0">
                <a:latin typeface="Arial"/>
                <a:cs typeface="Arial"/>
              </a:rPr>
              <a:t>VF22</a:t>
            </a:r>
            <a:endParaRPr>
              <a:latin typeface="Arial"/>
              <a:cs typeface="Arial"/>
            </a:endParaRPr>
          </a:p>
          <a:p>
            <a:pPr marL="92075">
              <a:lnSpc>
                <a:spcPct val="95825"/>
              </a:lnSpc>
              <a:spcBef>
                <a:spcPts val="524"/>
              </a:spcBef>
            </a:pPr>
            <a:r>
              <a:rPr dirty="0">
                <a:latin typeface="Arial"/>
                <a:cs typeface="Arial"/>
              </a:rPr>
              <a:t>VF</a:t>
            </a:r>
            <a:r>
              <a:rPr spc="-4" dirty="0">
                <a:latin typeface="Arial"/>
                <a:cs typeface="Arial"/>
              </a:rPr>
              <a:t>2</a:t>
            </a:r>
            <a:r>
              <a:rPr dirty="0">
                <a:latin typeface="Arial"/>
                <a:cs typeface="Arial"/>
              </a:rPr>
              <a:t>3</a:t>
            </a:r>
            <a:endParaRPr>
              <a:latin typeface="Arial"/>
              <a:cs typeface="Arial"/>
            </a:endParaRPr>
          </a:p>
        </p:txBody>
      </p:sp>
      <p:sp>
        <p:nvSpPr>
          <p:cNvPr id="4" name="object 4"/>
          <p:cNvSpPr txBox="1"/>
          <p:nvPr/>
        </p:nvSpPr>
        <p:spPr>
          <a:xfrm>
            <a:off x="5584826" y="4579874"/>
            <a:ext cx="4016375" cy="1173226"/>
          </a:xfrm>
          <a:prstGeom prst="rect">
            <a:avLst/>
          </a:prstGeom>
        </p:spPr>
        <p:txBody>
          <a:bodyPr wrap="square" lIns="0" tIns="0" rIns="0" bIns="0" rtlCol="0">
            <a:noAutofit/>
          </a:bodyPr>
          <a:lstStyle/>
          <a:p>
            <a:pPr marL="92075" marR="1970116">
              <a:lnSpc>
                <a:spcPts val="2069"/>
              </a:lnSpc>
              <a:spcBef>
                <a:spcPts val="430"/>
              </a:spcBef>
            </a:pPr>
            <a:r>
              <a:rPr dirty="0">
                <a:latin typeface="Arial"/>
                <a:cs typeface="Arial"/>
              </a:rPr>
              <a:t>Cr</a:t>
            </a:r>
            <a:r>
              <a:rPr spc="-4" dirty="0">
                <a:latin typeface="Arial"/>
                <a:cs typeface="Arial"/>
              </a:rPr>
              <a:t>e</a:t>
            </a:r>
            <a:r>
              <a:rPr dirty="0">
                <a:latin typeface="Arial"/>
                <a:cs typeface="Arial"/>
              </a:rPr>
              <a:t>ate inv</a:t>
            </a:r>
            <a:r>
              <a:rPr spc="-9" dirty="0">
                <a:latin typeface="Arial"/>
                <a:cs typeface="Arial"/>
              </a:rPr>
              <a:t>o</a:t>
            </a:r>
            <a:r>
              <a:rPr dirty="0">
                <a:latin typeface="Arial"/>
                <a:cs typeface="Arial"/>
              </a:rPr>
              <a:t>ice</a:t>
            </a:r>
            <a:r>
              <a:rPr spc="4" dirty="0">
                <a:latin typeface="Arial"/>
                <a:cs typeface="Arial"/>
              </a:rPr>
              <a:t> </a:t>
            </a:r>
            <a:r>
              <a:rPr dirty="0">
                <a:latin typeface="Arial"/>
                <a:cs typeface="Arial"/>
              </a:rPr>
              <a:t>l</a:t>
            </a:r>
            <a:r>
              <a:rPr spc="-4" dirty="0">
                <a:latin typeface="Arial"/>
                <a:cs typeface="Arial"/>
              </a:rPr>
              <a:t>i</a:t>
            </a:r>
            <a:r>
              <a:rPr dirty="0">
                <a:latin typeface="Arial"/>
                <a:cs typeface="Arial"/>
              </a:rPr>
              <a:t>st </a:t>
            </a:r>
            <a:endParaRPr>
              <a:latin typeface="Arial"/>
              <a:cs typeface="Arial"/>
            </a:endParaRPr>
          </a:p>
          <a:p>
            <a:pPr marL="92075" marR="1970116">
              <a:lnSpc>
                <a:spcPts val="2069"/>
              </a:lnSpc>
              <a:spcBef>
                <a:spcPts val="523"/>
              </a:spcBef>
            </a:pPr>
            <a:r>
              <a:rPr dirty="0">
                <a:latin typeface="Arial"/>
                <a:cs typeface="Arial"/>
              </a:rPr>
              <a:t>C</a:t>
            </a:r>
            <a:r>
              <a:rPr spc="-9" dirty="0">
                <a:latin typeface="Arial"/>
                <a:cs typeface="Arial"/>
              </a:rPr>
              <a:t>h</a:t>
            </a:r>
            <a:r>
              <a:rPr dirty="0">
                <a:latin typeface="Arial"/>
                <a:cs typeface="Arial"/>
              </a:rPr>
              <a:t>a</a:t>
            </a:r>
            <a:r>
              <a:rPr spc="-9" dirty="0">
                <a:latin typeface="Arial"/>
                <a:cs typeface="Arial"/>
              </a:rPr>
              <a:t>n</a:t>
            </a:r>
            <a:r>
              <a:rPr dirty="0">
                <a:latin typeface="Arial"/>
                <a:cs typeface="Arial"/>
              </a:rPr>
              <a:t>ge</a:t>
            </a:r>
            <a:r>
              <a:rPr spc="4" dirty="0">
                <a:latin typeface="Arial"/>
                <a:cs typeface="Arial"/>
              </a:rPr>
              <a:t> </a:t>
            </a:r>
            <a:r>
              <a:rPr dirty="0">
                <a:latin typeface="Arial"/>
                <a:cs typeface="Arial"/>
              </a:rPr>
              <a:t>i</a:t>
            </a:r>
            <a:r>
              <a:rPr spc="-9" dirty="0">
                <a:latin typeface="Arial"/>
                <a:cs typeface="Arial"/>
              </a:rPr>
              <a:t>n</a:t>
            </a:r>
            <a:r>
              <a:rPr dirty="0">
                <a:latin typeface="Arial"/>
                <a:cs typeface="Arial"/>
              </a:rPr>
              <a:t>vo</a:t>
            </a:r>
            <a:r>
              <a:rPr spc="-9" dirty="0">
                <a:latin typeface="Arial"/>
                <a:cs typeface="Arial"/>
              </a:rPr>
              <a:t>i</a:t>
            </a:r>
            <a:r>
              <a:rPr dirty="0">
                <a:latin typeface="Arial"/>
                <a:cs typeface="Arial"/>
              </a:rPr>
              <a:t>ce</a:t>
            </a:r>
            <a:r>
              <a:rPr spc="9" dirty="0">
                <a:latin typeface="Arial"/>
                <a:cs typeface="Arial"/>
              </a:rPr>
              <a:t> </a:t>
            </a:r>
            <a:r>
              <a:rPr dirty="0">
                <a:latin typeface="Arial"/>
                <a:cs typeface="Arial"/>
              </a:rPr>
              <a:t>l</a:t>
            </a:r>
            <a:r>
              <a:rPr spc="-4" dirty="0">
                <a:latin typeface="Arial"/>
                <a:cs typeface="Arial"/>
              </a:rPr>
              <a:t>i</a:t>
            </a:r>
            <a:r>
              <a:rPr dirty="0">
                <a:latin typeface="Arial"/>
                <a:cs typeface="Arial"/>
              </a:rPr>
              <a:t>st </a:t>
            </a:r>
            <a:endParaRPr>
              <a:latin typeface="Arial"/>
              <a:cs typeface="Arial"/>
            </a:endParaRPr>
          </a:p>
          <a:p>
            <a:pPr marL="92075" marR="1970116">
              <a:lnSpc>
                <a:spcPts val="2069"/>
              </a:lnSpc>
              <a:spcBef>
                <a:spcPts val="523"/>
              </a:spcBef>
            </a:pPr>
            <a:r>
              <a:rPr dirty="0">
                <a:latin typeface="Arial"/>
                <a:cs typeface="Arial"/>
              </a:rPr>
              <a:t>D</a:t>
            </a:r>
            <a:r>
              <a:rPr spc="-9" dirty="0">
                <a:latin typeface="Arial"/>
                <a:cs typeface="Arial"/>
              </a:rPr>
              <a:t>i</a:t>
            </a:r>
            <a:r>
              <a:rPr dirty="0">
                <a:latin typeface="Arial"/>
                <a:cs typeface="Arial"/>
              </a:rPr>
              <a:t>s</a:t>
            </a:r>
            <a:r>
              <a:rPr spc="-4" dirty="0">
                <a:latin typeface="Arial"/>
                <a:cs typeface="Arial"/>
              </a:rPr>
              <a:t>p</a:t>
            </a:r>
            <a:r>
              <a:rPr dirty="0">
                <a:latin typeface="Arial"/>
                <a:cs typeface="Arial"/>
              </a:rPr>
              <a:t>l</a:t>
            </a:r>
            <a:r>
              <a:rPr spc="-9" dirty="0">
                <a:latin typeface="Arial"/>
                <a:cs typeface="Arial"/>
              </a:rPr>
              <a:t>a</a:t>
            </a:r>
            <a:r>
              <a:rPr dirty="0">
                <a:latin typeface="Arial"/>
                <a:cs typeface="Arial"/>
              </a:rPr>
              <a:t>y i</a:t>
            </a:r>
            <a:r>
              <a:rPr spc="-9" dirty="0">
                <a:latin typeface="Arial"/>
                <a:cs typeface="Arial"/>
              </a:rPr>
              <a:t>n</a:t>
            </a:r>
            <a:r>
              <a:rPr dirty="0">
                <a:latin typeface="Arial"/>
                <a:cs typeface="Arial"/>
              </a:rPr>
              <a:t>v</a:t>
            </a:r>
            <a:r>
              <a:rPr spc="-4" dirty="0">
                <a:latin typeface="Arial"/>
                <a:cs typeface="Arial"/>
              </a:rPr>
              <a:t>o</a:t>
            </a:r>
            <a:r>
              <a:rPr dirty="0">
                <a:latin typeface="Arial"/>
                <a:cs typeface="Arial"/>
              </a:rPr>
              <a:t>ice</a:t>
            </a:r>
            <a:r>
              <a:rPr spc="14" dirty="0">
                <a:latin typeface="Arial"/>
                <a:cs typeface="Arial"/>
              </a:rPr>
              <a:t> </a:t>
            </a:r>
            <a:r>
              <a:rPr dirty="0">
                <a:latin typeface="Arial"/>
                <a:cs typeface="Arial"/>
              </a:rPr>
              <a:t>l</a:t>
            </a:r>
            <a:r>
              <a:rPr spc="-9" dirty="0">
                <a:latin typeface="Arial"/>
                <a:cs typeface="Arial"/>
              </a:rPr>
              <a:t>i</a:t>
            </a:r>
            <a:r>
              <a:rPr dirty="0">
                <a:latin typeface="Arial"/>
                <a:cs typeface="Arial"/>
              </a:rPr>
              <a:t>st</a:t>
            </a:r>
            <a:endParaRPr>
              <a:latin typeface="Arial"/>
              <a:cs typeface="Arial"/>
            </a:endParaRPr>
          </a:p>
        </p:txBody>
      </p:sp>
      <p:sp>
        <p:nvSpPr>
          <p:cNvPr id="3" name="object 3"/>
          <p:cNvSpPr txBox="1"/>
          <p:nvPr/>
        </p:nvSpPr>
        <p:spPr>
          <a:xfrm>
            <a:off x="4648201" y="5753100"/>
            <a:ext cx="936625" cy="495300"/>
          </a:xfrm>
          <a:prstGeom prst="rect">
            <a:avLst/>
          </a:prstGeom>
        </p:spPr>
        <p:txBody>
          <a:bodyPr wrap="square" lIns="0" tIns="0" rIns="0" bIns="0" rtlCol="0">
            <a:noAutofit/>
          </a:bodyPr>
          <a:lstStyle/>
          <a:p>
            <a:pPr marL="92075">
              <a:lnSpc>
                <a:spcPct val="95825"/>
              </a:lnSpc>
              <a:spcBef>
                <a:spcPts val="430"/>
              </a:spcBef>
            </a:pPr>
            <a:r>
              <a:rPr dirty="0">
                <a:latin typeface="Arial"/>
                <a:cs typeface="Arial"/>
              </a:rPr>
              <a:t>VF26</a:t>
            </a:r>
            <a:endParaRPr>
              <a:latin typeface="Arial"/>
              <a:cs typeface="Arial"/>
            </a:endParaRPr>
          </a:p>
        </p:txBody>
      </p:sp>
      <p:sp>
        <p:nvSpPr>
          <p:cNvPr id="2" name="object 2"/>
          <p:cNvSpPr txBox="1"/>
          <p:nvPr/>
        </p:nvSpPr>
        <p:spPr>
          <a:xfrm>
            <a:off x="5584826" y="5753100"/>
            <a:ext cx="4016375" cy="495300"/>
          </a:xfrm>
          <a:prstGeom prst="rect">
            <a:avLst/>
          </a:prstGeom>
        </p:spPr>
        <p:txBody>
          <a:bodyPr wrap="square" lIns="0" tIns="0" rIns="0" bIns="0" rtlCol="0">
            <a:noAutofit/>
          </a:bodyPr>
          <a:lstStyle/>
          <a:p>
            <a:pPr marL="92075">
              <a:lnSpc>
                <a:spcPct val="95825"/>
              </a:lnSpc>
              <a:spcBef>
                <a:spcPts val="430"/>
              </a:spcBef>
            </a:pPr>
            <a:r>
              <a:rPr dirty="0">
                <a:latin typeface="Arial"/>
                <a:cs typeface="Arial"/>
              </a:rPr>
              <a:t>C</a:t>
            </a:r>
            <a:r>
              <a:rPr spc="-9" dirty="0">
                <a:latin typeface="Arial"/>
                <a:cs typeface="Arial"/>
              </a:rPr>
              <a:t>a</a:t>
            </a:r>
            <a:r>
              <a:rPr dirty="0">
                <a:latin typeface="Arial"/>
                <a:cs typeface="Arial"/>
              </a:rPr>
              <a:t>nc</a:t>
            </a:r>
            <a:r>
              <a:rPr spc="-9" dirty="0">
                <a:latin typeface="Arial"/>
                <a:cs typeface="Arial"/>
              </a:rPr>
              <a:t>e</a:t>
            </a:r>
            <a:r>
              <a:rPr dirty="0">
                <a:latin typeface="Arial"/>
                <a:cs typeface="Arial"/>
              </a:rPr>
              <a:t>l /</a:t>
            </a:r>
            <a:r>
              <a:rPr spc="4" dirty="0">
                <a:latin typeface="Arial"/>
                <a:cs typeface="Arial"/>
              </a:rPr>
              <a:t> </a:t>
            </a:r>
            <a:r>
              <a:rPr dirty="0">
                <a:latin typeface="Arial"/>
                <a:cs typeface="Arial"/>
              </a:rPr>
              <a:t>R</a:t>
            </a:r>
            <a:r>
              <a:rPr spc="-9" dirty="0">
                <a:latin typeface="Arial"/>
                <a:cs typeface="Arial"/>
              </a:rPr>
              <a:t>e</a:t>
            </a:r>
            <a:r>
              <a:rPr dirty="0">
                <a:latin typeface="Arial"/>
                <a:cs typeface="Arial"/>
              </a:rPr>
              <a:t>verse</a:t>
            </a:r>
          </a:p>
        </p:txBody>
      </p:sp>
      <p:sp>
        <p:nvSpPr>
          <p:cNvPr id="14" name="Title 13"/>
          <p:cNvSpPr>
            <a:spLocks noGrp="1"/>
          </p:cNvSpPr>
          <p:nvPr>
            <p:ph type="title"/>
          </p:nvPr>
        </p:nvSpPr>
        <p:spPr/>
        <p:txBody>
          <a:bodyPr>
            <a:normAutofit fontScale="90000"/>
          </a:bodyPr>
          <a:lstStyle/>
          <a:p>
            <a:r>
              <a:rPr lang="en-US" sz="2700" dirty="0">
                <a:latin typeface="+mn-lt"/>
                <a:cs typeface="Arial"/>
              </a:rPr>
              <a:t>Transaction Codes</a:t>
            </a:r>
            <a:br>
              <a:rPr lang="en-US" sz="2800" dirty="0">
                <a:latin typeface="Arial"/>
                <a:cs typeface="Arial"/>
              </a:rPr>
            </a:b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9"/>
          </p:nvPr>
        </p:nvSpPr>
        <p:spPr/>
        <p:txBody>
          <a:bodyPr/>
          <a:lstStyle/>
          <a:p>
            <a:r>
              <a:rPr lang="en-US" dirty="0"/>
              <a:t>Some Important Fiori Apps</a:t>
            </a:r>
          </a:p>
        </p:txBody>
      </p:sp>
      <p:sp>
        <p:nvSpPr>
          <p:cNvPr id="4" name="Text Placeholder 1"/>
          <p:cNvSpPr>
            <a:spLocks noGrp="1"/>
          </p:cNvSpPr>
          <p:nvPr>
            <p:ph type="body" sz="quarter" idx="11"/>
          </p:nvPr>
        </p:nvSpPr>
        <p:spPr>
          <a:xfrm>
            <a:off x="6456001" y="1749950"/>
            <a:ext cx="4032613" cy="1692771"/>
          </a:xfrm>
        </p:spPr>
        <p:txBody>
          <a:bodyPr wrap="square" anchor="t">
            <a:spAutoFit/>
          </a:bodyPr>
          <a:lstStyle/>
          <a:p>
            <a:pPr>
              <a:spcBef>
                <a:spcPts val="3000"/>
              </a:spcBef>
            </a:pPr>
            <a:r>
              <a:rPr lang="en-US" b="1" dirty="0"/>
              <a:t>Fiori Apps : </a:t>
            </a:r>
          </a:p>
          <a:p>
            <a:pPr>
              <a:spcBef>
                <a:spcPts val="3000"/>
              </a:spcBef>
            </a:pPr>
            <a:r>
              <a:rPr lang="en-US" dirty="0"/>
              <a:t>Create Billing Document</a:t>
            </a:r>
          </a:p>
          <a:p>
            <a:pPr>
              <a:spcBef>
                <a:spcPts val="3000"/>
              </a:spcBef>
            </a:pPr>
            <a:r>
              <a:rPr lang="en-US" dirty="0">
                <a:solidFill>
                  <a:schemeClr val="bg1">
                    <a:lumMod val="85000"/>
                  </a:schemeClr>
                </a:solidFill>
              </a:rPr>
              <a:t>Cancel Billing Document</a:t>
            </a:r>
          </a:p>
        </p:txBody>
      </p:sp>
    </p:spTree>
    <p:extLst>
      <p:ext uri="{BB962C8B-B14F-4D97-AF65-F5344CB8AC3E}">
        <p14:creationId xmlns:p14="http://schemas.microsoft.com/office/powerpoint/2010/main" val="1705383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e Billing Document</a:t>
            </a:r>
          </a:p>
        </p:txBody>
      </p:sp>
      <p:pic>
        <p:nvPicPr>
          <p:cNvPr id="4" name="Picture 3"/>
          <p:cNvPicPr>
            <a:picLocks noChangeAspect="1"/>
          </p:cNvPicPr>
          <p:nvPr/>
        </p:nvPicPr>
        <p:blipFill>
          <a:blip r:embed="rId2"/>
          <a:stretch>
            <a:fillRect/>
          </a:stretch>
        </p:blipFill>
        <p:spPr>
          <a:xfrm>
            <a:off x="1859903" y="1011832"/>
            <a:ext cx="8418404" cy="5303036"/>
          </a:xfrm>
          <a:prstGeom prst="rect">
            <a:avLst/>
          </a:prstGeom>
        </p:spPr>
      </p:pic>
      <p:sp>
        <p:nvSpPr>
          <p:cNvPr id="7" name="Oval Callout 18">
            <a:extLst>
              <a:ext uri="{FF2B5EF4-FFF2-40B4-BE49-F238E27FC236}">
                <a16:creationId xmlns:a16="http://schemas.microsoft.com/office/drawing/2014/main" id="{E863C154-14AB-45E2-A0C5-DA7153810896}"/>
              </a:ext>
            </a:extLst>
          </p:cNvPr>
          <p:cNvSpPr/>
          <p:nvPr/>
        </p:nvSpPr>
        <p:spPr>
          <a:xfrm>
            <a:off x="3054757" y="2808515"/>
            <a:ext cx="1287088" cy="52555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Enter Delivery Number</a:t>
            </a:r>
          </a:p>
        </p:txBody>
      </p:sp>
      <p:sp>
        <p:nvSpPr>
          <p:cNvPr id="8" name="Oval Callout 18">
            <a:extLst>
              <a:ext uri="{FF2B5EF4-FFF2-40B4-BE49-F238E27FC236}">
                <a16:creationId xmlns:a16="http://schemas.microsoft.com/office/drawing/2014/main" id="{E863C154-14AB-45E2-A0C5-DA7153810896}"/>
              </a:ext>
            </a:extLst>
          </p:cNvPr>
          <p:cNvSpPr/>
          <p:nvPr/>
        </p:nvSpPr>
        <p:spPr>
          <a:xfrm flipH="1">
            <a:off x="8670264" y="5511769"/>
            <a:ext cx="1071568" cy="43093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Click on Execute</a:t>
            </a:r>
          </a:p>
        </p:txBody>
      </p:sp>
      <p:sp>
        <p:nvSpPr>
          <p:cNvPr id="9" name="Oval Callout 18">
            <a:extLst>
              <a:ext uri="{FF2B5EF4-FFF2-40B4-BE49-F238E27FC236}">
                <a16:creationId xmlns:a16="http://schemas.microsoft.com/office/drawing/2014/main" id="{3C5CFC1A-856B-427E-906F-8893190EE9D5}"/>
              </a:ext>
            </a:extLst>
          </p:cNvPr>
          <p:cNvSpPr/>
          <p:nvPr/>
        </p:nvSpPr>
        <p:spPr>
          <a:xfrm>
            <a:off x="4338135" y="1687295"/>
            <a:ext cx="1215832" cy="405277"/>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Choose Billing Type</a:t>
            </a:r>
          </a:p>
        </p:txBody>
      </p:sp>
    </p:spTree>
    <p:extLst>
      <p:ext uri="{BB962C8B-B14F-4D97-AF65-F5344CB8AC3E}">
        <p14:creationId xmlns:p14="http://schemas.microsoft.com/office/powerpoint/2010/main" val="3186530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1A28922B-B702-46CB-83EC-324B86AD1D8F}"/>
              </a:ext>
            </a:extLst>
          </p:cNvPr>
          <p:cNvSpPr txBox="1">
            <a:spLocks/>
          </p:cNvSpPr>
          <p:nvPr/>
        </p:nvSpPr>
        <p:spPr>
          <a:xfrm>
            <a:off x="6096000" y="3200400"/>
            <a:ext cx="5419268" cy="1902287"/>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sz="2025" kern="1200">
                <a:solidFill>
                  <a:schemeClr val="bg1"/>
                </a:solidFill>
                <a:latin typeface="+mj-lt"/>
                <a:ea typeface="+mn-ea"/>
                <a:cs typeface="+mn-cs"/>
              </a:defRPr>
            </a:lvl1pPr>
            <a:lvl2pPr marL="257175" indent="0" algn="l" defTabSz="685800" rtl="0" eaLnBrk="1" latinLnBrk="0" hangingPunct="1">
              <a:lnSpc>
                <a:spcPct val="90000"/>
              </a:lnSpc>
              <a:spcBef>
                <a:spcPts val="375"/>
              </a:spcBef>
              <a:buClr>
                <a:schemeClr val="accent1"/>
              </a:buClr>
              <a:buFont typeface="Wingdings" panose="05000000000000000000" pitchFamily="2" charset="2"/>
              <a:buNone/>
              <a:defRPr sz="3375" kern="1200">
                <a:solidFill>
                  <a:schemeClr val="bg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05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05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dirty="0">
                <a:solidFill>
                  <a:schemeClr val="tx1"/>
                </a:solidFill>
              </a:rPr>
              <a:t>Billing Process Overview</a:t>
            </a:r>
            <a:endParaRPr lang="en-US" dirty="0">
              <a:solidFill>
                <a:schemeClr val="tx1"/>
              </a:solidFill>
            </a:endParaRPr>
          </a:p>
        </p:txBody>
      </p:sp>
    </p:spTree>
    <p:extLst>
      <p:ext uri="{BB962C8B-B14F-4D97-AF65-F5344CB8AC3E}">
        <p14:creationId xmlns:p14="http://schemas.microsoft.com/office/powerpoint/2010/main" val="20816107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693863" y="933384"/>
            <a:ext cx="8804274" cy="2835260"/>
          </a:xfrm>
          <a:prstGeom prst="rect">
            <a:avLst/>
          </a:prstGeom>
        </p:spPr>
      </p:pic>
      <p:pic>
        <p:nvPicPr>
          <p:cNvPr id="8" name="Picture 7"/>
          <p:cNvPicPr>
            <a:picLocks noChangeAspect="1"/>
          </p:cNvPicPr>
          <p:nvPr/>
        </p:nvPicPr>
        <p:blipFill>
          <a:blip r:embed="rId3"/>
          <a:stretch>
            <a:fillRect/>
          </a:stretch>
        </p:blipFill>
        <p:spPr>
          <a:xfrm>
            <a:off x="1693864" y="3768646"/>
            <a:ext cx="8803753" cy="2721055"/>
          </a:xfrm>
          <a:prstGeom prst="rect">
            <a:avLst/>
          </a:prstGeom>
        </p:spPr>
      </p:pic>
      <p:sp>
        <p:nvSpPr>
          <p:cNvPr id="9" name="Rounded Rectangle 11">
            <a:extLst>
              <a:ext uri="{FF2B5EF4-FFF2-40B4-BE49-F238E27FC236}">
                <a16:creationId xmlns:a16="http://schemas.microsoft.com/office/drawing/2014/main" id="{388EBD51-40E1-44BB-8E7D-FF5CACEE2909}"/>
              </a:ext>
            </a:extLst>
          </p:cNvPr>
          <p:cNvSpPr/>
          <p:nvPr/>
        </p:nvSpPr>
        <p:spPr>
          <a:xfrm>
            <a:off x="3746145" y="4823626"/>
            <a:ext cx="636915" cy="263745"/>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Callout 18">
            <a:extLst>
              <a:ext uri="{FF2B5EF4-FFF2-40B4-BE49-F238E27FC236}">
                <a16:creationId xmlns:a16="http://schemas.microsoft.com/office/drawing/2014/main" id="{E863C154-14AB-45E2-A0C5-DA7153810896}"/>
              </a:ext>
            </a:extLst>
          </p:cNvPr>
          <p:cNvSpPr/>
          <p:nvPr/>
        </p:nvSpPr>
        <p:spPr>
          <a:xfrm flipH="1">
            <a:off x="8912232" y="5680797"/>
            <a:ext cx="809556" cy="504827"/>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Save</a:t>
            </a:r>
          </a:p>
        </p:txBody>
      </p:sp>
      <p:sp>
        <p:nvSpPr>
          <p:cNvPr id="3" name="Title 2"/>
          <p:cNvSpPr>
            <a:spLocks noGrp="1"/>
          </p:cNvSpPr>
          <p:nvPr>
            <p:ph type="title"/>
          </p:nvPr>
        </p:nvSpPr>
        <p:spPr/>
        <p:txBody>
          <a:bodyPr/>
          <a:lstStyle/>
          <a:p>
            <a:r>
              <a:rPr lang="en-US" dirty="0"/>
              <a:t>Create Billing Document</a:t>
            </a:r>
          </a:p>
        </p:txBody>
      </p:sp>
    </p:spTree>
    <p:extLst>
      <p:ext uri="{BB962C8B-B14F-4D97-AF65-F5344CB8AC3E}">
        <p14:creationId xmlns:p14="http://schemas.microsoft.com/office/powerpoint/2010/main" val="1877581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Effect transition="in" filter="fade">
                                      <p:cBhvr>
                                        <p:cTn id="16" dur="10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fltVal val="0"/>
                                          </p:val>
                                        </p:tav>
                                        <p:tav tm="100000">
                                          <p:val>
                                            <p:strVal val="#ppt_w"/>
                                          </p:val>
                                        </p:tav>
                                      </p:tavLst>
                                    </p:anim>
                                    <p:anim calcmode="lin" valueType="num">
                                      <p:cBhvr>
                                        <p:cTn id="22" dur="1000" fill="hold"/>
                                        <p:tgtEl>
                                          <p:spTgt spid="9"/>
                                        </p:tgtEl>
                                        <p:attrNameLst>
                                          <p:attrName>ppt_h</p:attrName>
                                        </p:attrNameLst>
                                      </p:cBhvr>
                                      <p:tavLst>
                                        <p:tav tm="0">
                                          <p:val>
                                            <p:fltVal val="0"/>
                                          </p:val>
                                        </p:tav>
                                        <p:tav tm="100000">
                                          <p:val>
                                            <p:strVal val="#ppt_h"/>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e Billing Document</a:t>
            </a:r>
          </a:p>
        </p:txBody>
      </p:sp>
      <p:sp>
        <p:nvSpPr>
          <p:cNvPr id="5" name="Footer Placeholder 4"/>
          <p:cNvSpPr>
            <a:spLocks noGrp="1"/>
          </p:cNvSpPr>
          <p:nvPr>
            <p:ph type="ftr" sz="quarter" idx="12"/>
          </p:nvPr>
        </p:nvSpPr>
        <p:spPr/>
        <p:txBody>
          <a:bodyPr/>
          <a:lstStyle/>
          <a:p>
            <a:pPr defTabSz="914377">
              <a:spcBef>
                <a:spcPts val="1000"/>
              </a:spcBef>
            </a:pPr>
            <a:r>
              <a:rPr dirty="0">
                <a:solidFill>
                  <a:srgbClr val="FFFFFF">
                    <a:lumMod val="65000"/>
                  </a:srgbClr>
                </a:solidFill>
              </a:rPr>
              <a:t>© Capgemini 2017. All rights reserved |</a:t>
            </a:r>
          </a:p>
        </p:txBody>
      </p:sp>
      <p:sp>
        <p:nvSpPr>
          <p:cNvPr id="6" name="Slide Number Placeholder 5"/>
          <p:cNvSpPr>
            <a:spLocks noGrp="1"/>
          </p:cNvSpPr>
          <p:nvPr>
            <p:ph type="sldNum" sz="quarter" idx="13"/>
          </p:nvPr>
        </p:nvSpPr>
        <p:spPr/>
        <p:txBody>
          <a:bodyPr/>
          <a:lstStyle/>
          <a:p>
            <a:fld id="{5630DC53-6059-4515-8478-43D1D926795C}" type="slidenum">
              <a:rPr lang="en-US" smtClean="0">
                <a:solidFill>
                  <a:prstClr val="black">
                    <a:tint val="75000"/>
                  </a:prstClr>
                </a:solidFill>
              </a:rPr>
              <a:pPr/>
              <a:t>41</a:t>
            </a:fld>
            <a:endParaRPr lang="en-US" dirty="0">
              <a:solidFill>
                <a:prstClr val="black">
                  <a:tint val="75000"/>
                </a:prstClr>
              </a:solidFill>
            </a:endParaRPr>
          </a:p>
        </p:txBody>
      </p:sp>
      <p:pic>
        <p:nvPicPr>
          <p:cNvPr id="2" name="Picture 1"/>
          <p:cNvPicPr>
            <a:picLocks noChangeAspect="1"/>
          </p:cNvPicPr>
          <p:nvPr/>
        </p:nvPicPr>
        <p:blipFill>
          <a:blip r:embed="rId2"/>
          <a:stretch>
            <a:fillRect/>
          </a:stretch>
        </p:blipFill>
        <p:spPr>
          <a:xfrm>
            <a:off x="1679254" y="981075"/>
            <a:ext cx="8833492" cy="5543925"/>
          </a:xfrm>
          <a:prstGeom prst="rect">
            <a:avLst/>
          </a:prstGeom>
        </p:spPr>
      </p:pic>
      <p:sp>
        <p:nvSpPr>
          <p:cNvPr id="8" name="Oval Callout 18">
            <a:extLst>
              <a:ext uri="{FF2B5EF4-FFF2-40B4-BE49-F238E27FC236}">
                <a16:creationId xmlns:a16="http://schemas.microsoft.com/office/drawing/2014/main" id="{E863C154-14AB-45E2-A0C5-DA7153810896}"/>
              </a:ext>
            </a:extLst>
          </p:cNvPr>
          <p:cNvSpPr/>
          <p:nvPr/>
        </p:nvSpPr>
        <p:spPr>
          <a:xfrm>
            <a:off x="3504001" y="5561646"/>
            <a:ext cx="1352645" cy="53135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Billing Document Saved</a:t>
            </a:r>
          </a:p>
        </p:txBody>
      </p:sp>
      <p:sp>
        <p:nvSpPr>
          <p:cNvPr id="7" name="Rounded Rectangle 11">
            <a:extLst>
              <a:ext uri="{FF2B5EF4-FFF2-40B4-BE49-F238E27FC236}">
                <a16:creationId xmlns:a16="http://schemas.microsoft.com/office/drawing/2014/main" id="{8A7EE0F0-D5D7-4677-8E70-95DB6C419AC2}"/>
              </a:ext>
            </a:extLst>
          </p:cNvPr>
          <p:cNvSpPr/>
          <p:nvPr/>
        </p:nvSpPr>
        <p:spPr>
          <a:xfrm>
            <a:off x="2424000" y="6165000"/>
            <a:ext cx="432000" cy="288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83163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Effect transition="in" filter="fade">
                                      <p:cBhvr>
                                        <p:cTn id="16" dur="10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9"/>
          </p:nvPr>
        </p:nvSpPr>
        <p:spPr/>
        <p:txBody>
          <a:bodyPr/>
          <a:lstStyle/>
          <a:p>
            <a:r>
              <a:rPr lang="en-US" dirty="0"/>
              <a:t>Some Important Fiori apps</a:t>
            </a:r>
          </a:p>
        </p:txBody>
      </p:sp>
      <p:sp>
        <p:nvSpPr>
          <p:cNvPr id="4" name="Text Placeholder 1"/>
          <p:cNvSpPr>
            <a:spLocks noGrp="1"/>
          </p:cNvSpPr>
          <p:nvPr>
            <p:ph type="body" sz="quarter" idx="11"/>
          </p:nvPr>
        </p:nvSpPr>
        <p:spPr>
          <a:xfrm>
            <a:off x="6456001" y="1749950"/>
            <a:ext cx="4032613" cy="1692771"/>
          </a:xfrm>
        </p:spPr>
        <p:txBody>
          <a:bodyPr wrap="square" anchor="t">
            <a:spAutoFit/>
          </a:bodyPr>
          <a:lstStyle/>
          <a:p>
            <a:pPr>
              <a:spcBef>
                <a:spcPts val="3000"/>
              </a:spcBef>
            </a:pPr>
            <a:r>
              <a:rPr lang="en-US" b="1" dirty="0"/>
              <a:t>Fiori Apps : </a:t>
            </a:r>
          </a:p>
          <a:p>
            <a:pPr>
              <a:spcBef>
                <a:spcPts val="3000"/>
              </a:spcBef>
            </a:pPr>
            <a:r>
              <a:rPr lang="en-US" dirty="0">
                <a:solidFill>
                  <a:schemeClr val="bg1">
                    <a:lumMod val="85000"/>
                  </a:schemeClr>
                </a:solidFill>
              </a:rPr>
              <a:t>Create Billing Document</a:t>
            </a:r>
          </a:p>
          <a:p>
            <a:pPr>
              <a:spcBef>
                <a:spcPts val="3000"/>
              </a:spcBef>
            </a:pPr>
            <a:r>
              <a:rPr lang="en-US" dirty="0"/>
              <a:t>Cancel Billing Document</a:t>
            </a:r>
          </a:p>
        </p:txBody>
      </p:sp>
    </p:spTree>
    <p:extLst>
      <p:ext uri="{BB962C8B-B14F-4D97-AF65-F5344CB8AC3E}">
        <p14:creationId xmlns:p14="http://schemas.microsoft.com/office/powerpoint/2010/main" val="15372138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ncel Billing Document</a:t>
            </a:r>
          </a:p>
        </p:txBody>
      </p:sp>
      <p:pic>
        <p:nvPicPr>
          <p:cNvPr id="7" name="Picture 6"/>
          <p:cNvPicPr>
            <a:picLocks noChangeAspect="1"/>
          </p:cNvPicPr>
          <p:nvPr/>
        </p:nvPicPr>
        <p:blipFill>
          <a:blip r:embed="rId2"/>
          <a:stretch>
            <a:fillRect/>
          </a:stretch>
        </p:blipFill>
        <p:spPr>
          <a:xfrm>
            <a:off x="1757265" y="3566076"/>
            <a:ext cx="8680040" cy="2923624"/>
          </a:xfrm>
          <a:prstGeom prst="rect">
            <a:avLst/>
          </a:prstGeom>
        </p:spPr>
      </p:pic>
      <p:pic>
        <p:nvPicPr>
          <p:cNvPr id="2" name="Picture 1"/>
          <p:cNvPicPr>
            <a:picLocks noChangeAspect="1"/>
          </p:cNvPicPr>
          <p:nvPr/>
        </p:nvPicPr>
        <p:blipFill>
          <a:blip r:embed="rId3"/>
          <a:stretch>
            <a:fillRect/>
          </a:stretch>
        </p:blipFill>
        <p:spPr>
          <a:xfrm>
            <a:off x="1694513" y="974682"/>
            <a:ext cx="8802974" cy="2545228"/>
          </a:xfrm>
          <a:prstGeom prst="rect">
            <a:avLst/>
          </a:prstGeom>
        </p:spPr>
      </p:pic>
      <p:sp>
        <p:nvSpPr>
          <p:cNvPr id="11" name="Oval Callout 18">
            <a:extLst>
              <a:ext uri="{FF2B5EF4-FFF2-40B4-BE49-F238E27FC236}">
                <a16:creationId xmlns:a16="http://schemas.microsoft.com/office/drawing/2014/main" id="{E863C154-14AB-45E2-A0C5-DA7153810896}"/>
              </a:ext>
            </a:extLst>
          </p:cNvPr>
          <p:cNvSpPr/>
          <p:nvPr/>
        </p:nvSpPr>
        <p:spPr>
          <a:xfrm>
            <a:off x="2878397" y="1371601"/>
            <a:ext cx="1491441" cy="60873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Enter Billing Document Number</a:t>
            </a:r>
          </a:p>
        </p:txBody>
      </p:sp>
      <p:sp>
        <p:nvSpPr>
          <p:cNvPr id="12" name="Oval Callout 18">
            <a:extLst>
              <a:ext uri="{FF2B5EF4-FFF2-40B4-BE49-F238E27FC236}">
                <a16:creationId xmlns:a16="http://schemas.microsoft.com/office/drawing/2014/main" id="{E863C154-14AB-45E2-A0C5-DA7153810896}"/>
              </a:ext>
            </a:extLst>
          </p:cNvPr>
          <p:cNvSpPr/>
          <p:nvPr/>
        </p:nvSpPr>
        <p:spPr>
          <a:xfrm flipH="1">
            <a:off x="8867193" y="2920483"/>
            <a:ext cx="1170703" cy="357201"/>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Execute</a:t>
            </a:r>
          </a:p>
        </p:txBody>
      </p:sp>
      <p:sp>
        <p:nvSpPr>
          <p:cNvPr id="13" name="Oval Callout 18">
            <a:extLst>
              <a:ext uri="{FF2B5EF4-FFF2-40B4-BE49-F238E27FC236}">
                <a16:creationId xmlns:a16="http://schemas.microsoft.com/office/drawing/2014/main" id="{E863C154-14AB-45E2-A0C5-DA7153810896}"/>
              </a:ext>
            </a:extLst>
          </p:cNvPr>
          <p:cNvSpPr/>
          <p:nvPr/>
        </p:nvSpPr>
        <p:spPr>
          <a:xfrm>
            <a:off x="2181572" y="3964753"/>
            <a:ext cx="864578" cy="44347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Select</a:t>
            </a:r>
          </a:p>
        </p:txBody>
      </p:sp>
      <p:sp>
        <p:nvSpPr>
          <p:cNvPr id="14" name="Oval Callout 18">
            <a:extLst>
              <a:ext uri="{FF2B5EF4-FFF2-40B4-BE49-F238E27FC236}">
                <a16:creationId xmlns:a16="http://schemas.microsoft.com/office/drawing/2014/main" id="{E863C154-14AB-45E2-A0C5-DA7153810896}"/>
              </a:ext>
            </a:extLst>
          </p:cNvPr>
          <p:cNvSpPr/>
          <p:nvPr/>
        </p:nvSpPr>
        <p:spPr>
          <a:xfrm flipH="1">
            <a:off x="8729962" y="5800088"/>
            <a:ext cx="859215" cy="35738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Save</a:t>
            </a:r>
          </a:p>
        </p:txBody>
      </p:sp>
    </p:spTree>
    <p:extLst>
      <p:ext uri="{BB962C8B-B14F-4D97-AF65-F5344CB8AC3E}">
        <p14:creationId xmlns:p14="http://schemas.microsoft.com/office/powerpoint/2010/main" val="1724214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1000" fill="hold"/>
                                        <p:tgtEl>
                                          <p:spTgt spid="7"/>
                                        </p:tgtEl>
                                        <p:attrNameLst>
                                          <p:attrName>ppt_w</p:attrName>
                                        </p:attrNameLst>
                                      </p:cBhvr>
                                      <p:tavLst>
                                        <p:tav tm="0">
                                          <p:val>
                                            <p:fltVal val="0"/>
                                          </p:val>
                                        </p:tav>
                                        <p:tav tm="100000">
                                          <p:val>
                                            <p:strVal val="#ppt_w"/>
                                          </p:val>
                                        </p:tav>
                                      </p:tavLst>
                                    </p:anim>
                                    <p:anim calcmode="lin" valueType="num">
                                      <p:cBhvr>
                                        <p:cTn id="29" dur="1000" fill="hold"/>
                                        <p:tgtEl>
                                          <p:spTgt spid="7"/>
                                        </p:tgtEl>
                                        <p:attrNameLst>
                                          <p:attrName>ppt_h</p:attrName>
                                        </p:attrNameLst>
                                      </p:cBhvr>
                                      <p:tavLst>
                                        <p:tav tm="0">
                                          <p:val>
                                            <p:fltVal val="0"/>
                                          </p:val>
                                        </p:tav>
                                        <p:tav tm="100000">
                                          <p:val>
                                            <p:strVal val="#ppt_h"/>
                                          </p:val>
                                        </p:tav>
                                      </p:tavLst>
                                    </p:anim>
                                    <p:animEffect transition="in" filter="fade">
                                      <p:cBhvr>
                                        <p:cTn id="30" dur="10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Tips and Tricks</a:t>
            </a:r>
          </a:p>
        </p:txBody>
      </p:sp>
      <p:sp>
        <p:nvSpPr>
          <p:cNvPr id="3" name="Content Placeholder 2"/>
          <p:cNvSpPr>
            <a:spLocks noGrp="1"/>
          </p:cNvSpPr>
          <p:nvPr>
            <p:ph type="body" sz="quarter" idx="10"/>
          </p:nvPr>
        </p:nvSpPr>
        <p:spPr>
          <a:prstGeom prst="rect">
            <a:avLst/>
          </a:prstGeom>
        </p:spPr>
        <p:txBody>
          <a:bodyPr>
            <a:normAutofit fontScale="40000" lnSpcReduction="20000"/>
          </a:bodyPr>
          <a:lstStyle/>
          <a:p>
            <a:pPr marL="685800" indent="-685800">
              <a:lnSpc>
                <a:spcPct val="120000"/>
              </a:lnSpc>
              <a:spcBef>
                <a:spcPts val="1564"/>
              </a:spcBef>
              <a:buFont typeface="Wingdings" panose="05000000000000000000" pitchFamily="2" charset="2"/>
              <a:buChar char="§"/>
            </a:pPr>
            <a:r>
              <a:rPr lang="en-US" sz="4600" dirty="0">
                <a:latin typeface="+mn-lt"/>
                <a:cs typeface="Arial"/>
              </a:rPr>
              <a:t>Y</a:t>
            </a:r>
            <a:r>
              <a:rPr lang="en-US" sz="4600" spc="-4" dirty="0">
                <a:latin typeface="+mn-lt"/>
                <a:cs typeface="Arial"/>
              </a:rPr>
              <a:t>o</a:t>
            </a:r>
            <a:r>
              <a:rPr lang="en-US" sz="4600" dirty="0">
                <a:latin typeface="+mn-lt"/>
                <a:cs typeface="Arial"/>
              </a:rPr>
              <a:t>u</a:t>
            </a:r>
            <a:r>
              <a:rPr lang="en-US" sz="4600" spc="-9" dirty="0">
                <a:latin typeface="+mn-lt"/>
                <a:cs typeface="Arial"/>
              </a:rPr>
              <a:t> </a:t>
            </a:r>
            <a:r>
              <a:rPr lang="en-US" sz="4600" dirty="0">
                <a:latin typeface="+mn-lt"/>
                <a:cs typeface="Arial"/>
              </a:rPr>
              <a:t>can</a:t>
            </a:r>
            <a:r>
              <a:rPr lang="en-US" sz="4600" spc="-25" dirty="0">
                <a:latin typeface="+mn-lt"/>
                <a:cs typeface="Arial"/>
              </a:rPr>
              <a:t> </a:t>
            </a:r>
            <a:r>
              <a:rPr lang="en-US" sz="4600" dirty="0">
                <a:latin typeface="+mn-lt"/>
                <a:cs typeface="Arial"/>
              </a:rPr>
              <a:t>c</a:t>
            </a:r>
            <a:r>
              <a:rPr lang="en-US" sz="4600" spc="4" dirty="0">
                <a:latin typeface="+mn-lt"/>
                <a:cs typeface="Arial"/>
              </a:rPr>
              <a:t>r</a:t>
            </a:r>
            <a:r>
              <a:rPr lang="en-US" sz="4600" dirty="0">
                <a:latin typeface="+mn-lt"/>
                <a:cs typeface="Arial"/>
              </a:rPr>
              <a:t>eate</a:t>
            </a:r>
            <a:r>
              <a:rPr lang="en-US" sz="4600" spc="-29" dirty="0">
                <a:latin typeface="+mn-lt"/>
                <a:cs typeface="Arial"/>
              </a:rPr>
              <a:t> </a:t>
            </a:r>
            <a:r>
              <a:rPr lang="en-US" sz="4600" spc="4" dirty="0">
                <a:latin typeface="+mn-lt"/>
                <a:cs typeface="Arial"/>
              </a:rPr>
              <a:t>i</a:t>
            </a:r>
            <a:r>
              <a:rPr lang="en-US" sz="4600" spc="-4" dirty="0">
                <a:latin typeface="+mn-lt"/>
                <a:cs typeface="Arial"/>
              </a:rPr>
              <a:t>n</a:t>
            </a:r>
            <a:r>
              <a:rPr lang="en-US" sz="4600" spc="-14" dirty="0">
                <a:latin typeface="+mn-lt"/>
                <a:cs typeface="Arial"/>
              </a:rPr>
              <a:t>v</a:t>
            </a:r>
            <a:r>
              <a:rPr lang="en-US" sz="4600" spc="-4" dirty="0">
                <a:latin typeface="+mn-lt"/>
                <a:cs typeface="Arial"/>
              </a:rPr>
              <a:t>o</a:t>
            </a:r>
            <a:r>
              <a:rPr lang="en-US" sz="4600" spc="4" dirty="0">
                <a:latin typeface="+mn-lt"/>
                <a:cs typeface="Arial"/>
              </a:rPr>
              <a:t>i</a:t>
            </a:r>
            <a:r>
              <a:rPr lang="en-US" sz="4600" dirty="0">
                <a:latin typeface="+mn-lt"/>
                <a:cs typeface="Arial"/>
              </a:rPr>
              <a:t>ces</a:t>
            </a:r>
            <a:r>
              <a:rPr lang="en-US" sz="4600" spc="-29" dirty="0">
                <a:latin typeface="+mn-lt"/>
                <a:cs typeface="Arial"/>
              </a:rPr>
              <a:t> </a:t>
            </a:r>
            <a:r>
              <a:rPr lang="en-US" sz="4600" spc="-4" dirty="0">
                <a:latin typeface="+mn-lt"/>
                <a:cs typeface="Arial"/>
              </a:rPr>
              <a:t>u</a:t>
            </a:r>
            <a:r>
              <a:rPr lang="en-US" sz="4600" dirty="0">
                <a:latin typeface="+mn-lt"/>
                <a:cs typeface="Arial"/>
              </a:rPr>
              <a:t>s</a:t>
            </a:r>
            <a:r>
              <a:rPr lang="en-US" sz="4600" spc="4" dirty="0">
                <a:latin typeface="+mn-lt"/>
                <a:cs typeface="Arial"/>
              </a:rPr>
              <a:t>i</a:t>
            </a:r>
            <a:r>
              <a:rPr lang="en-US" sz="4600" spc="-4" dirty="0">
                <a:latin typeface="+mn-lt"/>
                <a:cs typeface="Arial"/>
              </a:rPr>
              <a:t>n</a:t>
            </a:r>
            <a:r>
              <a:rPr lang="en-US" sz="4600" dirty="0">
                <a:latin typeface="+mn-lt"/>
                <a:cs typeface="Arial"/>
              </a:rPr>
              <a:t>g</a:t>
            </a:r>
            <a:r>
              <a:rPr lang="en-US" sz="4600" spc="-19" dirty="0">
                <a:latin typeface="+mn-lt"/>
                <a:cs typeface="Arial"/>
              </a:rPr>
              <a:t> </a:t>
            </a:r>
            <a:r>
              <a:rPr lang="en-US" sz="4600" spc="-4" dirty="0">
                <a:latin typeface="+mn-lt"/>
                <a:cs typeface="Arial"/>
              </a:rPr>
              <a:t>b</a:t>
            </a:r>
            <a:r>
              <a:rPr lang="en-US" sz="4600" dirty="0">
                <a:latin typeface="+mn-lt"/>
                <a:cs typeface="Arial"/>
              </a:rPr>
              <a:t>ack</a:t>
            </a:r>
            <a:r>
              <a:rPr lang="en-US" sz="4600" spc="-4" dirty="0">
                <a:latin typeface="+mn-lt"/>
                <a:cs typeface="Arial"/>
              </a:rPr>
              <a:t>g</a:t>
            </a:r>
            <a:r>
              <a:rPr lang="en-US" sz="4600" spc="4" dirty="0">
                <a:latin typeface="+mn-lt"/>
                <a:cs typeface="Arial"/>
              </a:rPr>
              <a:t>r</a:t>
            </a:r>
            <a:r>
              <a:rPr lang="en-US" sz="4600" spc="-4" dirty="0">
                <a:latin typeface="+mn-lt"/>
                <a:cs typeface="Arial"/>
              </a:rPr>
              <a:t>oun</a:t>
            </a:r>
            <a:r>
              <a:rPr lang="en-US" sz="4600" dirty="0">
                <a:latin typeface="+mn-lt"/>
                <a:cs typeface="Arial"/>
              </a:rPr>
              <a:t>d</a:t>
            </a:r>
            <a:r>
              <a:rPr lang="en-US" sz="4600" spc="-44" dirty="0">
                <a:latin typeface="+mn-lt"/>
                <a:cs typeface="Arial"/>
              </a:rPr>
              <a:t> </a:t>
            </a:r>
            <a:r>
              <a:rPr lang="en-US" sz="4600" spc="4" dirty="0">
                <a:latin typeface="+mn-lt"/>
                <a:cs typeface="Arial"/>
              </a:rPr>
              <a:t>j</a:t>
            </a:r>
            <a:r>
              <a:rPr lang="en-US" sz="4600" spc="-4" dirty="0">
                <a:latin typeface="+mn-lt"/>
                <a:cs typeface="Arial"/>
              </a:rPr>
              <a:t>o</a:t>
            </a:r>
            <a:r>
              <a:rPr lang="en-US" sz="4600" spc="4" dirty="0">
                <a:latin typeface="+mn-lt"/>
                <a:cs typeface="Arial"/>
              </a:rPr>
              <a:t>b</a:t>
            </a:r>
            <a:endParaRPr lang="en-US" sz="4600" dirty="0">
              <a:latin typeface="+mn-lt"/>
              <a:cs typeface="Arial"/>
            </a:endParaRPr>
          </a:p>
          <a:p>
            <a:pPr marL="800354" marR="1768152" lvl="1">
              <a:lnSpc>
                <a:spcPct val="120000"/>
              </a:lnSpc>
              <a:spcBef>
                <a:spcPts val="1113"/>
              </a:spcBef>
            </a:pPr>
            <a:r>
              <a:rPr lang="en-US" sz="4100" spc="-4" dirty="0">
                <a:latin typeface="+mn-lt"/>
                <a:cs typeface="Arial"/>
              </a:rPr>
              <a:t>You can run background job automatically as follows:</a:t>
            </a:r>
          </a:p>
          <a:p>
            <a:pPr marL="1600454" marR="1768152" lvl="2" indent="-571500">
              <a:lnSpc>
                <a:spcPct val="120000"/>
              </a:lnSpc>
              <a:spcBef>
                <a:spcPts val="1113"/>
              </a:spcBef>
            </a:pPr>
            <a:r>
              <a:rPr lang="en-US" sz="3800" spc="-4" dirty="0">
                <a:latin typeface="+mn-lt"/>
                <a:cs typeface="Arial"/>
              </a:rPr>
              <a:t>A</a:t>
            </a:r>
            <a:r>
              <a:rPr lang="en-US" sz="3800" dirty="0">
                <a:latin typeface="+mn-lt"/>
                <a:cs typeface="Arial"/>
              </a:rPr>
              <a:t>t a</a:t>
            </a:r>
            <a:r>
              <a:rPr lang="en-US" sz="3800" spc="-4" dirty="0">
                <a:latin typeface="+mn-lt"/>
                <a:cs typeface="Arial"/>
              </a:rPr>
              <a:t> </a:t>
            </a:r>
            <a:r>
              <a:rPr lang="en-US" sz="3800" dirty="0">
                <a:latin typeface="+mn-lt"/>
                <a:cs typeface="Arial"/>
              </a:rPr>
              <a:t>s</a:t>
            </a:r>
            <a:r>
              <a:rPr lang="en-US" sz="3800" spc="-4" dirty="0">
                <a:latin typeface="+mn-lt"/>
                <a:cs typeface="Arial"/>
              </a:rPr>
              <a:t>p</a:t>
            </a:r>
            <a:r>
              <a:rPr lang="en-US" sz="3800" dirty="0">
                <a:latin typeface="+mn-lt"/>
                <a:cs typeface="Arial"/>
              </a:rPr>
              <a:t>ec</a:t>
            </a:r>
            <a:r>
              <a:rPr lang="en-US" sz="3800" spc="4" dirty="0">
                <a:latin typeface="+mn-lt"/>
                <a:cs typeface="Arial"/>
              </a:rPr>
              <a:t>i</a:t>
            </a:r>
            <a:r>
              <a:rPr lang="en-US" sz="3800" dirty="0">
                <a:latin typeface="+mn-lt"/>
                <a:cs typeface="Arial"/>
              </a:rPr>
              <a:t>f</a:t>
            </a:r>
            <a:r>
              <a:rPr lang="en-US" sz="3800" spc="4" dirty="0">
                <a:latin typeface="+mn-lt"/>
                <a:cs typeface="Arial"/>
              </a:rPr>
              <a:t>i</a:t>
            </a:r>
            <a:r>
              <a:rPr lang="en-US" sz="3800" dirty="0">
                <a:latin typeface="+mn-lt"/>
                <a:cs typeface="Arial"/>
              </a:rPr>
              <a:t>c</a:t>
            </a:r>
            <a:r>
              <a:rPr lang="en-US" sz="3800" spc="-39" dirty="0">
                <a:latin typeface="+mn-lt"/>
                <a:cs typeface="Arial"/>
              </a:rPr>
              <a:t> </a:t>
            </a:r>
            <a:r>
              <a:rPr lang="en-US" sz="3800" dirty="0">
                <a:latin typeface="+mn-lt"/>
                <a:cs typeface="Arial"/>
              </a:rPr>
              <a:t>t</a:t>
            </a:r>
            <a:r>
              <a:rPr lang="en-US" sz="3800" spc="4" dirty="0">
                <a:latin typeface="+mn-lt"/>
                <a:cs typeface="Arial"/>
              </a:rPr>
              <a:t>i</a:t>
            </a:r>
            <a:r>
              <a:rPr lang="en-US" sz="3800" dirty="0">
                <a:latin typeface="+mn-lt"/>
                <a:cs typeface="Arial"/>
              </a:rPr>
              <a:t>me</a:t>
            </a:r>
          </a:p>
          <a:p>
            <a:pPr marL="1600454" marR="1768152" lvl="2" indent="-571500">
              <a:lnSpc>
                <a:spcPct val="120000"/>
              </a:lnSpc>
              <a:spcBef>
                <a:spcPts val="1113"/>
              </a:spcBef>
            </a:pPr>
            <a:r>
              <a:rPr lang="en-US" sz="3800" dirty="0">
                <a:latin typeface="+mn-lt"/>
                <a:cs typeface="Arial"/>
              </a:rPr>
              <a:t>Periodically</a:t>
            </a:r>
          </a:p>
          <a:p>
            <a:pPr marL="800354" marR="1768152" lvl="1">
              <a:lnSpc>
                <a:spcPct val="120000"/>
              </a:lnSpc>
              <a:spcBef>
                <a:spcPts val="1113"/>
              </a:spcBef>
            </a:pPr>
            <a:r>
              <a:rPr lang="en-US" sz="4000" spc="-4" dirty="0">
                <a:latin typeface="+mn-lt"/>
                <a:cs typeface="Arial"/>
              </a:rPr>
              <a:t>You can edit log by viewing ‘Change Billing Document’.</a:t>
            </a:r>
          </a:p>
          <a:p>
            <a:pPr marL="800354" marR="1768152" lvl="1">
              <a:lnSpc>
                <a:spcPct val="120000"/>
              </a:lnSpc>
              <a:spcBef>
                <a:spcPts val="1113"/>
              </a:spcBef>
            </a:pPr>
            <a:r>
              <a:rPr lang="en-US" sz="4000" spc="-4" dirty="0">
                <a:latin typeface="+mn-lt"/>
                <a:cs typeface="Arial"/>
              </a:rPr>
              <a:t>Billing Document type is determined automatically , hence no need to select in ‘Create Billing Document’ Screen</a:t>
            </a:r>
          </a:p>
          <a:p>
            <a:pPr marL="685800" indent="-685800">
              <a:lnSpc>
                <a:spcPct val="120000"/>
              </a:lnSpc>
              <a:spcBef>
                <a:spcPts val="1564"/>
              </a:spcBef>
              <a:buFont typeface="Wingdings" panose="05000000000000000000" pitchFamily="2" charset="2"/>
              <a:buChar char="§"/>
            </a:pPr>
            <a:r>
              <a:rPr lang="en-US" sz="4600" dirty="0">
                <a:latin typeface="+mn-lt"/>
                <a:cs typeface="Arial"/>
              </a:rPr>
              <a:t>You can create</a:t>
            </a:r>
          </a:p>
          <a:p>
            <a:pPr marL="800354" marR="1768152" lvl="1">
              <a:lnSpc>
                <a:spcPct val="120000"/>
              </a:lnSpc>
              <a:spcBef>
                <a:spcPts val="1113"/>
              </a:spcBef>
            </a:pPr>
            <a:r>
              <a:rPr lang="en-US" sz="4000" spc="-4" dirty="0">
                <a:latin typeface="+mn-lt"/>
                <a:cs typeface="Arial"/>
              </a:rPr>
              <a:t>Split Invoices(If Bill To Party is different)</a:t>
            </a:r>
          </a:p>
          <a:p>
            <a:pPr marL="800354" marR="1768152" lvl="1">
              <a:lnSpc>
                <a:spcPct val="120000"/>
              </a:lnSpc>
              <a:spcBef>
                <a:spcPts val="1113"/>
              </a:spcBef>
            </a:pPr>
            <a:r>
              <a:rPr lang="en-US" sz="4000" spc="-4" dirty="0">
                <a:latin typeface="+mn-lt"/>
                <a:cs typeface="Arial"/>
              </a:rPr>
              <a:t>Collective (if Bill to party is same or you want to combine items from one or more delivery)</a:t>
            </a:r>
          </a:p>
          <a:p>
            <a:endParaRPr lang="en-US" dirty="0"/>
          </a:p>
        </p:txBody>
      </p:sp>
    </p:spTree>
    <p:extLst>
      <p:ext uri="{BB962C8B-B14F-4D97-AF65-F5344CB8AC3E}">
        <p14:creationId xmlns:p14="http://schemas.microsoft.com/office/powerpoint/2010/main" val="20311069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2400" dirty="0"/>
              <a:t>Tips and Tricks</a:t>
            </a:r>
          </a:p>
        </p:txBody>
      </p:sp>
      <p:sp>
        <p:nvSpPr>
          <p:cNvPr id="3" name="Content Placeholder 2"/>
          <p:cNvSpPr>
            <a:spLocks noGrp="1"/>
          </p:cNvSpPr>
          <p:nvPr>
            <p:ph type="body" sz="quarter" idx="10"/>
          </p:nvPr>
        </p:nvSpPr>
        <p:spPr>
          <a:prstGeom prst="rect">
            <a:avLst/>
          </a:prstGeom>
        </p:spPr>
        <p:txBody>
          <a:bodyPr>
            <a:normAutofit/>
          </a:bodyPr>
          <a:lstStyle/>
          <a:p>
            <a:pPr marL="114554" marR="4233975" indent="-342900">
              <a:spcBef>
                <a:spcPts val="1108"/>
              </a:spcBef>
              <a:buFont typeface="Wingdings" panose="05000000000000000000" pitchFamily="2" charset="2"/>
              <a:buChar char="§"/>
            </a:pPr>
            <a:r>
              <a:rPr lang="en-US" dirty="0">
                <a:latin typeface="+mn-lt"/>
                <a:cs typeface="Arial"/>
              </a:rPr>
              <a:t>You can create invoice lists</a:t>
            </a:r>
          </a:p>
          <a:p>
            <a:pPr marL="914655" marR="4233975" lvl="1" indent="-457200">
              <a:spcBef>
                <a:spcPts val="2424"/>
              </a:spcBef>
            </a:pPr>
            <a:r>
              <a:rPr lang="en-US" sz="1500" dirty="0">
                <a:latin typeface="+mn-lt"/>
                <a:cs typeface="Arial"/>
              </a:rPr>
              <a:t>For invoice and debit memos</a:t>
            </a:r>
          </a:p>
          <a:p>
            <a:pPr marL="914655" marR="4233975" lvl="1" indent="-457200">
              <a:spcBef>
                <a:spcPts val="2424"/>
              </a:spcBef>
            </a:pPr>
            <a:r>
              <a:rPr lang="en-US" sz="1500" dirty="0">
                <a:latin typeface="+mn-lt"/>
                <a:cs typeface="Arial"/>
              </a:rPr>
              <a:t>For credit memos</a:t>
            </a:r>
          </a:p>
          <a:p>
            <a:pPr marL="114554" indent="-342900">
              <a:spcBef>
                <a:spcPts val="1108"/>
              </a:spcBef>
              <a:buFont typeface="Wingdings" panose="05000000000000000000" pitchFamily="2" charset="2"/>
              <a:buChar char="§"/>
            </a:pPr>
            <a:r>
              <a:rPr lang="en-US" dirty="0">
                <a:latin typeface="+mn-lt"/>
                <a:cs typeface="Arial"/>
              </a:rPr>
              <a:t>Use VFX3 transaction for collective release of blocked documents to accounting</a:t>
            </a:r>
          </a:p>
          <a:p>
            <a:pPr marL="114554" marR="1488908" indent="-342900">
              <a:spcBef>
                <a:spcPts val="1108"/>
              </a:spcBef>
              <a:buFont typeface="Wingdings" panose="05000000000000000000" pitchFamily="2" charset="2"/>
              <a:buChar char="§"/>
            </a:pPr>
            <a:r>
              <a:rPr lang="en-US" dirty="0">
                <a:latin typeface="+mn-lt"/>
                <a:cs typeface="Arial"/>
              </a:rPr>
              <a:t>You can select options for the billing documents which may be incomplete due to pricing error, Foreign Trade data and error in authorization</a:t>
            </a:r>
          </a:p>
          <a:p>
            <a:pPr>
              <a:lnSpc>
                <a:spcPct val="120000"/>
              </a:lnSpc>
            </a:pPr>
            <a:endParaRPr lang="en-US" dirty="0"/>
          </a:p>
        </p:txBody>
      </p:sp>
    </p:spTree>
    <p:extLst>
      <p:ext uri="{BB962C8B-B14F-4D97-AF65-F5344CB8AC3E}">
        <p14:creationId xmlns:p14="http://schemas.microsoft.com/office/powerpoint/2010/main" val="1491148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2400" dirty="0"/>
              <a:t>Tips and Tricks</a:t>
            </a:r>
          </a:p>
        </p:txBody>
      </p:sp>
      <p:sp>
        <p:nvSpPr>
          <p:cNvPr id="3" name="Content Placeholder 2"/>
          <p:cNvSpPr>
            <a:spLocks noGrp="1"/>
          </p:cNvSpPr>
          <p:nvPr>
            <p:ph type="body" sz="quarter" idx="10"/>
          </p:nvPr>
        </p:nvSpPr>
        <p:spPr>
          <a:prstGeom prst="rect">
            <a:avLst/>
          </a:prstGeom>
        </p:spPr>
        <p:txBody>
          <a:bodyPr>
            <a:normAutofit/>
          </a:bodyPr>
          <a:lstStyle/>
          <a:p>
            <a:pPr marL="571500" marR="171108" indent="-571500">
              <a:lnSpc>
                <a:spcPct val="120000"/>
              </a:lnSpc>
              <a:spcBef>
                <a:spcPts val="1419"/>
              </a:spcBef>
              <a:buFont typeface="Wingdings" panose="05000000000000000000" pitchFamily="2" charset="2"/>
              <a:buChar char="§"/>
            </a:pPr>
            <a:r>
              <a:rPr lang="en-US" dirty="0">
                <a:latin typeface="+mn-lt"/>
                <a:cs typeface="Arial"/>
              </a:rPr>
              <a:t>When you create billing document, system forwards related data to Accounting. To post data to appropriate General Ledger account, system uses ‘ Account determination technique.’</a:t>
            </a:r>
          </a:p>
          <a:p>
            <a:pPr marL="571500" marR="171108" indent="-571500">
              <a:lnSpc>
                <a:spcPct val="120000"/>
              </a:lnSpc>
              <a:spcBef>
                <a:spcPts val="1419"/>
              </a:spcBef>
              <a:buFont typeface="Wingdings" panose="05000000000000000000" pitchFamily="2" charset="2"/>
              <a:buChar char="§"/>
            </a:pPr>
            <a:r>
              <a:rPr lang="en-US" dirty="0">
                <a:latin typeface="+mn-lt"/>
                <a:cs typeface="Arial"/>
              </a:rPr>
              <a:t>Following are the checkpoints to generate accounting document without any errors :</a:t>
            </a:r>
          </a:p>
          <a:p>
            <a:pPr marL="998474" indent="-457200">
              <a:lnSpc>
                <a:spcPct val="120000"/>
              </a:lnSpc>
              <a:spcBef>
                <a:spcPts val="60"/>
              </a:spcBef>
              <a:buFont typeface="Wingdings" panose="05000000000000000000" pitchFamily="2" charset="2"/>
              <a:buChar char="§"/>
            </a:pPr>
            <a:r>
              <a:rPr lang="en-US" dirty="0">
                <a:latin typeface="+mn-lt"/>
                <a:cs typeface="Arial"/>
              </a:rPr>
              <a:t>In customer master, Account assignment group of customer has to be maintained</a:t>
            </a:r>
          </a:p>
          <a:p>
            <a:pPr marL="998474" indent="-457200">
              <a:lnSpc>
                <a:spcPct val="120000"/>
              </a:lnSpc>
              <a:spcBef>
                <a:spcPts val="60"/>
              </a:spcBef>
              <a:buFont typeface="Wingdings" panose="05000000000000000000" pitchFamily="2" charset="2"/>
              <a:buChar char="§"/>
            </a:pPr>
            <a:r>
              <a:rPr lang="en-US" dirty="0">
                <a:latin typeface="+mn-lt"/>
                <a:cs typeface="Arial"/>
              </a:rPr>
              <a:t>In material master, Account assignment group of material has to be maintained</a:t>
            </a:r>
          </a:p>
          <a:p>
            <a:pPr marL="998474" indent="-457200">
              <a:lnSpc>
                <a:spcPct val="120000"/>
              </a:lnSpc>
              <a:spcBef>
                <a:spcPts val="60"/>
              </a:spcBef>
              <a:buFont typeface="Wingdings" panose="05000000000000000000" pitchFamily="2" charset="2"/>
              <a:buChar char="§"/>
            </a:pPr>
            <a:r>
              <a:rPr lang="en-US" dirty="0">
                <a:latin typeface="+mn-lt"/>
                <a:cs typeface="Arial"/>
              </a:rPr>
              <a:t>In sales order header data, pricing procedure has to be checked</a:t>
            </a:r>
          </a:p>
        </p:txBody>
      </p:sp>
    </p:spTree>
    <p:extLst>
      <p:ext uri="{BB962C8B-B14F-4D97-AF65-F5344CB8AC3E}">
        <p14:creationId xmlns:p14="http://schemas.microsoft.com/office/powerpoint/2010/main" val="42075459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2400" dirty="0"/>
              <a:t>Tips and Tricks</a:t>
            </a:r>
          </a:p>
        </p:txBody>
      </p:sp>
      <p:sp>
        <p:nvSpPr>
          <p:cNvPr id="3" name="Content Placeholder 2"/>
          <p:cNvSpPr>
            <a:spLocks noGrp="1"/>
          </p:cNvSpPr>
          <p:nvPr>
            <p:ph type="body" sz="quarter" idx="10"/>
          </p:nvPr>
        </p:nvSpPr>
        <p:spPr>
          <a:prstGeom prst="rect">
            <a:avLst/>
          </a:prstGeom>
        </p:spPr>
        <p:txBody>
          <a:bodyPr>
            <a:normAutofit/>
          </a:bodyPr>
          <a:lstStyle/>
          <a:p>
            <a:pPr marL="285750" marR="171108" indent="-285750">
              <a:lnSpc>
                <a:spcPct val="110000"/>
              </a:lnSpc>
              <a:spcBef>
                <a:spcPts val="1419"/>
              </a:spcBef>
              <a:buFont typeface="Wingdings" panose="05000000000000000000" pitchFamily="2" charset="2"/>
              <a:buChar char="§"/>
            </a:pPr>
            <a:r>
              <a:rPr lang="en-US" dirty="0">
                <a:latin typeface="+mn-lt"/>
                <a:cs typeface="Arial"/>
              </a:rPr>
              <a:t>System uses following G/L accounts : Customer account receivable General Ledger</a:t>
            </a:r>
          </a:p>
          <a:p>
            <a:pPr marL="942086" indent="-342900">
              <a:lnSpc>
                <a:spcPct val="110000"/>
              </a:lnSpc>
              <a:buClr>
                <a:srgbClr val="C00000"/>
              </a:buClr>
              <a:buFont typeface="Wingdings" panose="05000000000000000000" pitchFamily="2" charset="2"/>
              <a:buChar char="§"/>
            </a:pPr>
            <a:r>
              <a:rPr lang="en-US" sz="1900" dirty="0">
                <a:latin typeface="+mn-lt"/>
                <a:cs typeface="Arial"/>
              </a:rPr>
              <a:t>Re</a:t>
            </a:r>
            <a:r>
              <a:rPr lang="en-US" sz="1900" spc="-9" dirty="0">
                <a:latin typeface="+mn-lt"/>
                <a:cs typeface="Arial"/>
              </a:rPr>
              <a:t>v</a:t>
            </a:r>
            <a:r>
              <a:rPr lang="en-US" sz="1900" spc="4" dirty="0">
                <a:latin typeface="+mn-lt"/>
                <a:cs typeface="Arial"/>
              </a:rPr>
              <a:t>enu</a:t>
            </a:r>
            <a:r>
              <a:rPr lang="en-US" sz="1900" dirty="0">
                <a:latin typeface="+mn-lt"/>
                <a:cs typeface="Arial"/>
              </a:rPr>
              <a:t>e</a:t>
            </a:r>
          </a:p>
          <a:p>
            <a:pPr marL="942086" indent="-342900">
              <a:lnSpc>
                <a:spcPct val="110000"/>
              </a:lnSpc>
              <a:spcBef>
                <a:spcPts val="60"/>
              </a:spcBef>
              <a:buClr>
                <a:srgbClr val="C00000"/>
              </a:buClr>
              <a:buFont typeface="Wingdings" panose="05000000000000000000" pitchFamily="2" charset="2"/>
              <a:buChar char="§"/>
            </a:pPr>
            <a:r>
              <a:rPr lang="en-US" sz="1900" dirty="0">
                <a:latin typeface="+mn-lt"/>
                <a:cs typeface="Arial"/>
              </a:rPr>
              <a:t>S</a:t>
            </a:r>
            <a:r>
              <a:rPr lang="en-US" sz="1900" spc="4" dirty="0">
                <a:latin typeface="+mn-lt"/>
                <a:cs typeface="Arial"/>
              </a:rPr>
              <a:t>a</a:t>
            </a:r>
            <a:r>
              <a:rPr lang="en-US" sz="1900" dirty="0">
                <a:latin typeface="+mn-lt"/>
                <a:cs typeface="Arial"/>
              </a:rPr>
              <a:t>les</a:t>
            </a:r>
            <a:r>
              <a:rPr lang="en-US" sz="1900" spc="-19" dirty="0">
                <a:latin typeface="+mn-lt"/>
                <a:cs typeface="Arial"/>
              </a:rPr>
              <a:t> </a:t>
            </a:r>
            <a:r>
              <a:rPr lang="en-US" sz="1900" dirty="0">
                <a:latin typeface="+mn-lt"/>
                <a:cs typeface="Arial"/>
              </a:rPr>
              <a:t>De</a:t>
            </a:r>
            <a:r>
              <a:rPr lang="en-US" sz="1900" spc="4" dirty="0">
                <a:latin typeface="+mn-lt"/>
                <a:cs typeface="Arial"/>
              </a:rPr>
              <a:t>du</a:t>
            </a:r>
            <a:r>
              <a:rPr lang="en-US" sz="1900" dirty="0">
                <a:latin typeface="+mn-lt"/>
                <a:cs typeface="Arial"/>
              </a:rPr>
              <a:t>cti</a:t>
            </a:r>
            <a:r>
              <a:rPr lang="en-US" sz="1900" spc="4" dirty="0">
                <a:latin typeface="+mn-lt"/>
                <a:cs typeface="Arial"/>
              </a:rPr>
              <a:t>on</a:t>
            </a:r>
            <a:r>
              <a:rPr lang="en-US" sz="1900" dirty="0">
                <a:latin typeface="+mn-lt"/>
                <a:cs typeface="Arial"/>
              </a:rPr>
              <a:t>s</a:t>
            </a:r>
          </a:p>
          <a:p>
            <a:pPr marL="942086" indent="-342900">
              <a:lnSpc>
                <a:spcPct val="110000"/>
              </a:lnSpc>
              <a:spcBef>
                <a:spcPts val="60"/>
              </a:spcBef>
              <a:buClr>
                <a:srgbClr val="C00000"/>
              </a:buClr>
              <a:buFont typeface="Wingdings" panose="05000000000000000000" pitchFamily="2" charset="2"/>
              <a:buChar char="§"/>
            </a:pPr>
            <a:r>
              <a:rPr lang="en-US" sz="1900" dirty="0">
                <a:latin typeface="+mn-lt"/>
                <a:cs typeface="Arial"/>
              </a:rPr>
              <a:t>Accru</a:t>
            </a:r>
            <a:r>
              <a:rPr lang="en-US" sz="1900" spc="4" dirty="0">
                <a:latin typeface="+mn-lt"/>
                <a:cs typeface="Arial"/>
              </a:rPr>
              <a:t>a</a:t>
            </a:r>
            <a:r>
              <a:rPr lang="en-US" sz="1900" dirty="0">
                <a:latin typeface="+mn-lt"/>
                <a:cs typeface="Arial"/>
              </a:rPr>
              <a:t>ls</a:t>
            </a:r>
          </a:p>
          <a:p>
            <a:pPr marL="286004" marR="242445" indent="-285750">
              <a:lnSpc>
                <a:spcPct val="110000"/>
              </a:lnSpc>
              <a:spcBef>
                <a:spcPts val="1502"/>
              </a:spcBef>
              <a:buFont typeface="Wingdings" panose="05000000000000000000" pitchFamily="2" charset="2"/>
              <a:buChar char="§"/>
            </a:pPr>
            <a:r>
              <a:rPr lang="en-US" spc="-4" dirty="0">
                <a:latin typeface="+mn-lt"/>
                <a:cs typeface="Arial"/>
              </a:rPr>
              <a:t> M</a:t>
            </a:r>
            <a:r>
              <a:rPr lang="en-US" spc="4" dirty="0">
                <a:latin typeface="+mn-lt"/>
                <a:cs typeface="Arial"/>
              </a:rPr>
              <a:t>a</a:t>
            </a:r>
            <a:r>
              <a:rPr lang="en-US" dirty="0">
                <a:latin typeface="+mn-lt"/>
                <a:cs typeface="Arial"/>
              </a:rPr>
              <a:t>ke</a:t>
            </a:r>
            <a:r>
              <a:rPr lang="en-US" spc="-4" dirty="0">
                <a:latin typeface="+mn-lt"/>
                <a:cs typeface="Arial"/>
              </a:rPr>
              <a:t> </a:t>
            </a:r>
            <a:r>
              <a:rPr lang="en-US" dirty="0">
                <a:latin typeface="+mn-lt"/>
                <a:cs typeface="Arial"/>
              </a:rPr>
              <a:t>s</a:t>
            </a:r>
            <a:r>
              <a:rPr lang="en-US" spc="4" dirty="0">
                <a:latin typeface="+mn-lt"/>
                <a:cs typeface="Arial"/>
              </a:rPr>
              <a:t>u</a:t>
            </a:r>
            <a:r>
              <a:rPr lang="en-US" dirty="0">
                <a:latin typeface="+mn-lt"/>
                <a:cs typeface="Arial"/>
              </a:rPr>
              <a:t>re</a:t>
            </a:r>
            <a:r>
              <a:rPr lang="en-US" spc="-4" dirty="0">
                <a:latin typeface="+mn-lt"/>
                <a:cs typeface="Arial"/>
              </a:rPr>
              <a:t> </a:t>
            </a:r>
            <a:r>
              <a:rPr lang="en-US" dirty="0">
                <a:latin typeface="+mn-lt"/>
                <a:cs typeface="Arial"/>
              </a:rPr>
              <a:t>t</a:t>
            </a:r>
            <a:r>
              <a:rPr lang="en-US" spc="4" dirty="0">
                <a:latin typeface="+mn-lt"/>
                <a:cs typeface="Arial"/>
              </a:rPr>
              <a:t>ha</a:t>
            </a:r>
            <a:r>
              <a:rPr lang="en-US" dirty="0">
                <a:latin typeface="+mn-lt"/>
                <a:cs typeface="Arial"/>
              </a:rPr>
              <a:t>t</a:t>
            </a:r>
            <a:r>
              <a:rPr lang="en-US" spc="-4" dirty="0">
                <a:latin typeface="+mn-lt"/>
                <a:cs typeface="Arial"/>
              </a:rPr>
              <a:t> </a:t>
            </a:r>
            <a:r>
              <a:rPr lang="en-US" dirty="0">
                <a:latin typeface="+mn-lt"/>
                <a:cs typeface="Arial"/>
              </a:rPr>
              <a:t>FI c</a:t>
            </a:r>
            <a:r>
              <a:rPr lang="en-US" spc="4" dirty="0">
                <a:latin typeface="+mn-lt"/>
                <a:cs typeface="Arial"/>
              </a:rPr>
              <a:t>a</a:t>
            </a:r>
            <a:r>
              <a:rPr lang="en-US" dirty="0">
                <a:latin typeface="+mn-lt"/>
                <a:cs typeface="Arial"/>
              </a:rPr>
              <a:t>n</a:t>
            </a:r>
            <a:r>
              <a:rPr lang="en-US" spc="-4" dirty="0">
                <a:latin typeface="+mn-lt"/>
                <a:cs typeface="Arial"/>
              </a:rPr>
              <a:t> </a:t>
            </a:r>
            <a:r>
              <a:rPr lang="en-US" dirty="0">
                <a:latin typeface="+mn-lt"/>
                <a:cs typeface="Arial"/>
              </a:rPr>
              <a:t>rec</a:t>
            </a:r>
            <a:r>
              <a:rPr lang="en-US" spc="4" dirty="0">
                <a:latin typeface="+mn-lt"/>
                <a:cs typeface="Arial"/>
              </a:rPr>
              <a:t>o</a:t>
            </a:r>
            <a:r>
              <a:rPr lang="en-US" spc="-4" dirty="0">
                <a:latin typeface="+mn-lt"/>
                <a:cs typeface="Arial"/>
              </a:rPr>
              <a:t>g</a:t>
            </a:r>
            <a:r>
              <a:rPr lang="en-US" spc="4" dirty="0">
                <a:latin typeface="+mn-lt"/>
                <a:cs typeface="Arial"/>
              </a:rPr>
              <a:t>n</a:t>
            </a:r>
            <a:r>
              <a:rPr lang="en-US" dirty="0">
                <a:latin typeface="+mn-lt"/>
                <a:cs typeface="Arial"/>
              </a:rPr>
              <a:t>i</a:t>
            </a:r>
            <a:r>
              <a:rPr lang="en-US" spc="-14" dirty="0">
                <a:latin typeface="+mn-lt"/>
                <a:cs typeface="Arial"/>
              </a:rPr>
              <a:t>z</a:t>
            </a:r>
            <a:r>
              <a:rPr lang="en-US" dirty="0">
                <a:latin typeface="+mn-lt"/>
                <a:cs typeface="Arial"/>
              </a:rPr>
              <a:t>e</a:t>
            </a:r>
            <a:r>
              <a:rPr lang="en-US" spc="-14" dirty="0">
                <a:latin typeface="+mn-lt"/>
                <a:cs typeface="Arial"/>
              </a:rPr>
              <a:t> </a:t>
            </a:r>
            <a:r>
              <a:rPr lang="en-US" spc="4" dirty="0">
                <a:latin typeface="+mn-lt"/>
                <a:cs typeface="Arial"/>
              </a:rPr>
              <a:t>a</a:t>
            </a:r>
            <a:r>
              <a:rPr lang="en-US" dirty="0">
                <a:latin typeface="+mn-lt"/>
                <a:cs typeface="Arial"/>
              </a:rPr>
              <a:t>ll</a:t>
            </a:r>
            <a:r>
              <a:rPr lang="en-US" spc="-14" dirty="0">
                <a:latin typeface="+mn-lt"/>
                <a:cs typeface="Arial"/>
              </a:rPr>
              <a:t> </a:t>
            </a:r>
            <a:r>
              <a:rPr lang="en-US" spc="4" dirty="0">
                <a:latin typeface="+mn-lt"/>
                <a:cs typeface="Arial"/>
              </a:rPr>
              <a:t>b</a:t>
            </a:r>
            <a:r>
              <a:rPr lang="en-US" dirty="0">
                <a:latin typeface="+mn-lt"/>
                <a:cs typeface="Arial"/>
              </a:rPr>
              <a:t>i</a:t>
            </a:r>
            <a:r>
              <a:rPr lang="en-US" spc="-4" dirty="0">
                <a:latin typeface="+mn-lt"/>
                <a:cs typeface="Arial"/>
              </a:rPr>
              <a:t>l</a:t>
            </a:r>
            <a:r>
              <a:rPr lang="en-US" dirty="0">
                <a:latin typeface="+mn-lt"/>
                <a:cs typeface="Arial"/>
              </a:rPr>
              <a:t>l</a:t>
            </a:r>
            <a:r>
              <a:rPr lang="en-US" spc="-4" dirty="0">
                <a:latin typeface="+mn-lt"/>
                <a:cs typeface="Arial"/>
              </a:rPr>
              <a:t>i</a:t>
            </a:r>
            <a:r>
              <a:rPr lang="en-US" spc="4" dirty="0">
                <a:latin typeface="+mn-lt"/>
                <a:cs typeface="Arial"/>
              </a:rPr>
              <a:t>n</a:t>
            </a:r>
            <a:r>
              <a:rPr lang="en-US" dirty="0">
                <a:latin typeface="+mn-lt"/>
                <a:cs typeface="Arial"/>
              </a:rPr>
              <a:t>g</a:t>
            </a:r>
            <a:r>
              <a:rPr lang="en-US" spc="-14" dirty="0">
                <a:latin typeface="+mn-lt"/>
                <a:cs typeface="Arial"/>
              </a:rPr>
              <a:t> </a:t>
            </a:r>
            <a:r>
              <a:rPr lang="en-US" spc="4" dirty="0">
                <a:latin typeface="+mn-lt"/>
                <a:cs typeface="Arial"/>
              </a:rPr>
              <a:t>do</a:t>
            </a:r>
            <a:r>
              <a:rPr lang="en-US" dirty="0">
                <a:latin typeface="+mn-lt"/>
                <a:cs typeface="Arial"/>
              </a:rPr>
              <a:t>c</a:t>
            </a:r>
            <a:r>
              <a:rPr lang="en-US" spc="4" dirty="0">
                <a:latin typeface="+mn-lt"/>
                <a:cs typeface="Arial"/>
              </a:rPr>
              <a:t>ume</a:t>
            </a:r>
            <a:r>
              <a:rPr lang="en-US" spc="-4" dirty="0">
                <a:latin typeface="+mn-lt"/>
                <a:cs typeface="Arial"/>
              </a:rPr>
              <a:t>n</a:t>
            </a:r>
            <a:r>
              <a:rPr lang="en-US" dirty="0">
                <a:latin typeface="+mn-lt"/>
                <a:cs typeface="Arial"/>
              </a:rPr>
              <a:t>ts</a:t>
            </a:r>
            <a:r>
              <a:rPr lang="en-US" spc="-39" dirty="0">
                <a:latin typeface="+mn-lt"/>
                <a:cs typeface="Arial"/>
              </a:rPr>
              <a:t> </a:t>
            </a:r>
            <a:r>
              <a:rPr lang="en-US" spc="4" dirty="0">
                <a:latin typeface="+mn-lt"/>
                <a:cs typeface="Arial"/>
              </a:rPr>
              <a:t>be</a:t>
            </a:r>
            <a:r>
              <a:rPr lang="en-US" dirty="0">
                <a:latin typeface="+mn-lt"/>
                <a:cs typeface="Arial"/>
              </a:rPr>
              <a:t>lo</a:t>
            </a:r>
            <a:r>
              <a:rPr lang="en-US" spc="4" dirty="0">
                <a:latin typeface="+mn-lt"/>
                <a:cs typeface="Arial"/>
              </a:rPr>
              <a:t>n</a:t>
            </a:r>
            <a:r>
              <a:rPr lang="en-US" spc="-4" dirty="0">
                <a:latin typeface="+mn-lt"/>
                <a:cs typeface="Arial"/>
              </a:rPr>
              <a:t>g</a:t>
            </a:r>
            <a:r>
              <a:rPr lang="en-US" dirty="0">
                <a:latin typeface="+mn-lt"/>
                <a:cs typeface="Arial"/>
              </a:rPr>
              <a:t>ing</a:t>
            </a:r>
            <a:r>
              <a:rPr lang="en-US" spc="-34" dirty="0">
                <a:latin typeface="+mn-lt"/>
                <a:cs typeface="Arial"/>
              </a:rPr>
              <a:t> </a:t>
            </a:r>
            <a:r>
              <a:rPr lang="en-US" dirty="0">
                <a:latin typeface="+mn-lt"/>
                <a:cs typeface="Arial"/>
              </a:rPr>
              <a:t>to </a:t>
            </a:r>
            <a:r>
              <a:rPr lang="en-US" spc="4" dirty="0">
                <a:latin typeface="+mn-lt"/>
                <a:cs typeface="Arial"/>
              </a:rPr>
              <a:t>on</a:t>
            </a:r>
            <a:r>
              <a:rPr lang="en-US" dirty="0">
                <a:latin typeface="+mn-lt"/>
                <a:cs typeface="Arial"/>
              </a:rPr>
              <a:t>e</a:t>
            </a:r>
            <a:r>
              <a:rPr lang="en-US" spc="-14" dirty="0">
                <a:latin typeface="+mn-lt"/>
                <a:cs typeface="Arial"/>
              </a:rPr>
              <a:t> </a:t>
            </a:r>
            <a:r>
              <a:rPr lang="en-US" spc="4" dirty="0">
                <a:latin typeface="+mn-lt"/>
                <a:cs typeface="Arial"/>
              </a:rPr>
              <a:t>bu</a:t>
            </a:r>
            <a:r>
              <a:rPr lang="en-US" dirty="0">
                <a:latin typeface="+mn-lt"/>
                <a:cs typeface="Arial"/>
              </a:rPr>
              <a:t>sin</a:t>
            </a:r>
            <a:r>
              <a:rPr lang="en-US" spc="4" dirty="0">
                <a:latin typeface="+mn-lt"/>
                <a:cs typeface="Arial"/>
              </a:rPr>
              <a:t>e</a:t>
            </a:r>
            <a:r>
              <a:rPr lang="en-US" dirty="0">
                <a:latin typeface="+mn-lt"/>
                <a:cs typeface="Arial"/>
              </a:rPr>
              <a:t>ss</a:t>
            </a:r>
            <a:r>
              <a:rPr lang="en-US" spc="-29" dirty="0">
                <a:latin typeface="+mn-lt"/>
                <a:cs typeface="Arial"/>
              </a:rPr>
              <a:t> </a:t>
            </a:r>
            <a:r>
              <a:rPr lang="en-US" dirty="0">
                <a:latin typeface="+mn-lt"/>
                <a:cs typeface="Arial"/>
              </a:rPr>
              <a:t>tra</a:t>
            </a:r>
            <a:r>
              <a:rPr lang="en-US" spc="4" dirty="0">
                <a:latin typeface="+mn-lt"/>
                <a:cs typeface="Arial"/>
              </a:rPr>
              <a:t>n</a:t>
            </a:r>
            <a:r>
              <a:rPr lang="en-US" dirty="0">
                <a:latin typeface="+mn-lt"/>
                <a:cs typeface="Arial"/>
              </a:rPr>
              <a:t>s</a:t>
            </a:r>
            <a:r>
              <a:rPr lang="en-US" spc="4" dirty="0">
                <a:latin typeface="+mn-lt"/>
                <a:cs typeface="Arial"/>
              </a:rPr>
              <a:t>a</a:t>
            </a:r>
            <a:r>
              <a:rPr lang="en-US" dirty="0">
                <a:latin typeface="+mn-lt"/>
                <a:cs typeface="Arial"/>
              </a:rPr>
              <a:t>cti</a:t>
            </a:r>
            <a:r>
              <a:rPr lang="en-US" spc="4" dirty="0">
                <a:latin typeface="+mn-lt"/>
                <a:cs typeface="Arial"/>
              </a:rPr>
              <a:t>o</a:t>
            </a:r>
            <a:r>
              <a:rPr lang="en-US" dirty="0">
                <a:latin typeface="+mn-lt"/>
                <a:cs typeface="Arial"/>
              </a:rPr>
              <a:t>n (e.</a:t>
            </a:r>
            <a:r>
              <a:rPr lang="en-US" spc="-4" dirty="0">
                <a:latin typeface="+mn-lt"/>
                <a:cs typeface="Arial"/>
              </a:rPr>
              <a:t>g</a:t>
            </a:r>
            <a:r>
              <a:rPr lang="en-US" dirty="0">
                <a:latin typeface="+mn-lt"/>
                <a:cs typeface="Arial"/>
              </a:rPr>
              <a:t>.</a:t>
            </a:r>
            <a:r>
              <a:rPr lang="en-US" spc="4" dirty="0">
                <a:latin typeface="+mn-lt"/>
                <a:cs typeface="Arial"/>
              </a:rPr>
              <a:t> </a:t>
            </a:r>
            <a:r>
              <a:rPr lang="en-US" dirty="0">
                <a:latin typeface="+mn-lt"/>
                <a:cs typeface="Arial"/>
              </a:rPr>
              <a:t>c</a:t>
            </a:r>
            <a:r>
              <a:rPr lang="en-US" spc="-4" dirty="0">
                <a:latin typeface="+mn-lt"/>
                <a:cs typeface="Arial"/>
              </a:rPr>
              <a:t>r</a:t>
            </a:r>
            <a:r>
              <a:rPr lang="en-US" spc="4" dirty="0">
                <a:latin typeface="+mn-lt"/>
                <a:cs typeface="Arial"/>
              </a:rPr>
              <a:t>ed</a:t>
            </a:r>
            <a:r>
              <a:rPr lang="en-US" dirty="0">
                <a:latin typeface="+mn-lt"/>
                <a:cs typeface="Arial"/>
              </a:rPr>
              <a:t>it</a:t>
            </a:r>
            <a:r>
              <a:rPr lang="en-US" spc="-9" dirty="0">
                <a:latin typeface="+mn-lt"/>
                <a:cs typeface="Arial"/>
              </a:rPr>
              <a:t> </a:t>
            </a:r>
            <a:r>
              <a:rPr lang="en-US" spc="4" dirty="0">
                <a:latin typeface="+mn-lt"/>
                <a:cs typeface="Arial"/>
              </a:rPr>
              <a:t>mem</a:t>
            </a:r>
            <a:r>
              <a:rPr lang="en-US" dirty="0">
                <a:latin typeface="+mn-lt"/>
                <a:cs typeface="Arial"/>
              </a:rPr>
              <a:t>o</a:t>
            </a:r>
            <a:r>
              <a:rPr lang="en-US" spc="-14" dirty="0">
                <a:latin typeface="+mn-lt"/>
                <a:cs typeface="Arial"/>
              </a:rPr>
              <a:t> </a:t>
            </a:r>
            <a:r>
              <a:rPr lang="en-US" dirty="0">
                <a:latin typeface="+mn-lt"/>
                <a:cs typeface="Arial"/>
              </a:rPr>
              <a:t>to in</a:t>
            </a:r>
            <a:r>
              <a:rPr lang="en-US" spc="-9" dirty="0">
                <a:latin typeface="+mn-lt"/>
                <a:cs typeface="Arial"/>
              </a:rPr>
              <a:t>v</a:t>
            </a:r>
            <a:r>
              <a:rPr lang="en-US" spc="4" dirty="0">
                <a:latin typeface="+mn-lt"/>
                <a:cs typeface="Arial"/>
              </a:rPr>
              <a:t>o</a:t>
            </a:r>
            <a:r>
              <a:rPr lang="en-US" dirty="0">
                <a:latin typeface="+mn-lt"/>
                <a:cs typeface="Arial"/>
              </a:rPr>
              <a:t>ice).</a:t>
            </a:r>
            <a:r>
              <a:rPr lang="en-US" spc="327" dirty="0">
                <a:latin typeface="+mn-lt"/>
                <a:cs typeface="Arial"/>
              </a:rPr>
              <a:t> </a:t>
            </a:r>
            <a:r>
              <a:rPr lang="en-US" spc="9" dirty="0">
                <a:latin typeface="+mn-lt"/>
                <a:cs typeface="Arial"/>
              </a:rPr>
              <a:t>T</a:t>
            </a:r>
            <a:r>
              <a:rPr lang="en-US" spc="4" dirty="0">
                <a:latin typeface="+mn-lt"/>
                <a:cs typeface="Arial"/>
              </a:rPr>
              <a:t>h</a:t>
            </a:r>
            <a:r>
              <a:rPr lang="en-US" dirty="0">
                <a:latin typeface="+mn-lt"/>
                <a:cs typeface="Arial"/>
              </a:rPr>
              <a:t>is</a:t>
            </a:r>
            <a:r>
              <a:rPr lang="en-US" spc="-9" dirty="0">
                <a:latin typeface="+mn-lt"/>
                <a:cs typeface="Arial"/>
              </a:rPr>
              <a:t> </a:t>
            </a:r>
            <a:r>
              <a:rPr lang="en-US" dirty="0">
                <a:latin typeface="+mn-lt"/>
                <a:cs typeface="Arial"/>
              </a:rPr>
              <a:t>c</a:t>
            </a:r>
            <a:r>
              <a:rPr lang="en-US" spc="4" dirty="0">
                <a:latin typeface="+mn-lt"/>
                <a:cs typeface="Arial"/>
              </a:rPr>
              <a:t>a</a:t>
            </a:r>
            <a:r>
              <a:rPr lang="en-US" dirty="0">
                <a:latin typeface="+mn-lt"/>
                <a:cs typeface="Arial"/>
              </a:rPr>
              <a:t>n</a:t>
            </a:r>
            <a:r>
              <a:rPr lang="en-US" spc="-14" dirty="0">
                <a:latin typeface="+mn-lt"/>
                <a:cs typeface="Arial"/>
              </a:rPr>
              <a:t> </a:t>
            </a:r>
            <a:r>
              <a:rPr lang="en-US" spc="4" dirty="0">
                <a:latin typeface="+mn-lt"/>
                <a:cs typeface="Arial"/>
              </a:rPr>
              <a:t>b</a:t>
            </a:r>
            <a:r>
              <a:rPr lang="en-US" dirty="0">
                <a:latin typeface="+mn-lt"/>
                <a:cs typeface="Arial"/>
              </a:rPr>
              <a:t>e</a:t>
            </a:r>
            <a:r>
              <a:rPr lang="en-US" spc="-4" dirty="0">
                <a:latin typeface="+mn-lt"/>
                <a:cs typeface="Arial"/>
              </a:rPr>
              <a:t> </a:t>
            </a:r>
            <a:r>
              <a:rPr lang="en-US" spc="4" dirty="0">
                <a:latin typeface="+mn-lt"/>
                <a:cs typeface="Arial"/>
              </a:rPr>
              <a:t>don</a:t>
            </a:r>
            <a:r>
              <a:rPr lang="en-US" dirty="0">
                <a:latin typeface="+mn-lt"/>
                <a:cs typeface="Arial"/>
              </a:rPr>
              <a:t>e</a:t>
            </a:r>
            <a:r>
              <a:rPr lang="en-US" spc="-29" dirty="0">
                <a:latin typeface="+mn-lt"/>
                <a:cs typeface="Arial"/>
              </a:rPr>
              <a:t> </a:t>
            </a:r>
            <a:r>
              <a:rPr lang="en-US" spc="4" dirty="0">
                <a:latin typeface="+mn-lt"/>
                <a:cs typeface="Arial"/>
              </a:rPr>
              <a:t>b</a:t>
            </a:r>
            <a:r>
              <a:rPr lang="en-US" dirty="0">
                <a:latin typeface="+mn-lt"/>
                <a:cs typeface="Arial"/>
              </a:rPr>
              <a:t>y</a:t>
            </a:r>
            <a:r>
              <a:rPr lang="en-US" spc="-9" dirty="0">
                <a:latin typeface="+mn-lt"/>
                <a:cs typeface="Arial"/>
              </a:rPr>
              <a:t> </a:t>
            </a:r>
            <a:r>
              <a:rPr lang="en-US" dirty="0">
                <a:latin typeface="+mn-lt"/>
                <a:cs typeface="Arial"/>
              </a:rPr>
              <a:t>c</a:t>
            </a:r>
            <a:r>
              <a:rPr lang="en-US" spc="4" dirty="0">
                <a:latin typeface="+mn-lt"/>
                <a:cs typeface="Arial"/>
              </a:rPr>
              <a:t>u</a:t>
            </a:r>
            <a:r>
              <a:rPr lang="en-US" dirty="0">
                <a:latin typeface="+mn-lt"/>
                <a:cs typeface="Arial"/>
              </a:rPr>
              <a:t>st</a:t>
            </a:r>
            <a:r>
              <a:rPr lang="en-US" spc="4" dirty="0">
                <a:latin typeface="+mn-lt"/>
                <a:cs typeface="Arial"/>
              </a:rPr>
              <a:t>om</a:t>
            </a:r>
            <a:r>
              <a:rPr lang="en-US" dirty="0">
                <a:latin typeface="+mn-lt"/>
                <a:cs typeface="Arial"/>
              </a:rPr>
              <a:t>i</a:t>
            </a:r>
            <a:r>
              <a:rPr lang="en-US" spc="-14" dirty="0">
                <a:latin typeface="+mn-lt"/>
                <a:cs typeface="Arial"/>
              </a:rPr>
              <a:t>z</a:t>
            </a:r>
            <a:r>
              <a:rPr lang="en-US" dirty="0">
                <a:latin typeface="+mn-lt"/>
                <a:cs typeface="Arial"/>
              </a:rPr>
              <a:t>ing</a:t>
            </a:r>
            <a:r>
              <a:rPr lang="en-US" spc="-24" dirty="0">
                <a:latin typeface="+mn-lt"/>
                <a:cs typeface="Arial"/>
              </a:rPr>
              <a:t> </a:t>
            </a:r>
            <a:r>
              <a:rPr lang="en-US" dirty="0">
                <a:latin typeface="+mn-lt"/>
                <a:cs typeface="Arial"/>
              </a:rPr>
              <a:t>re</a:t>
            </a:r>
            <a:r>
              <a:rPr lang="en-US" spc="14" dirty="0">
                <a:latin typeface="+mn-lt"/>
                <a:cs typeface="Arial"/>
              </a:rPr>
              <a:t>f</a:t>
            </a:r>
            <a:r>
              <a:rPr lang="en-US" spc="4" dirty="0">
                <a:latin typeface="+mn-lt"/>
                <a:cs typeface="Arial"/>
              </a:rPr>
              <a:t>e</a:t>
            </a:r>
            <a:r>
              <a:rPr lang="en-US" dirty="0">
                <a:latin typeface="+mn-lt"/>
                <a:cs typeface="Arial"/>
              </a:rPr>
              <a:t>re</a:t>
            </a:r>
            <a:r>
              <a:rPr lang="en-US" spc="4" dirty="0">
                <a:latin typeface="+mn-lt"/>
                <a:cs typeface="Arial"/>
              </a:rPr>
              <a:t>n</a:t>
            </a:r>
            <a:r>
              <a:rPr lang="en-US" dirty="0">
                <a:latin typeface="+mn-lt"/>
                <a:cs typeface="Arial"/>
              </a:rPr>
              <a:t>ce</a:t>
            </a:r>
            <a:r>
              <a:rPr lang="en-US" spc="-39" dirty="0">
                <a:latin typeface="+mn-lt"/>
                <a:cs typeface="Arial"/>
              </a:rPr>
              <a:t> </a:t>
            </a:r>
            <a:r>
              <a:rPr lang="en-US" spc="4" dirty="0">
                <a:latin typeface="+mn-lt"/>
                <a:cs typeface="Arial"/>
              </a:rPr>
              <a:t>numbe</a:t>
            </a:r>
            <a:r>
              <a:rPr lang="en-US" dirty="0">
                <a:latin typeface="+mn-lt"/>
                <a:cs typeface="Arial"/>
              </a:rPr>
              <a:t>r</a:t>
            </a:r>
            <a:r>
              <a:rPr lang="en-US" spc="-34" dirty="0">
                <a:latin typeface="+mn-lt"/>
                <a:cs typeface="Arial"/>
              </a:rPr>
              <a:t> </a:t>
            </a:r>
            <a:r>
              <a:rPr lang="en-US" spc="4" dirty="0">
                <a:latin typeface="+mn-lt"/>
                <a:cs typeface="Arial"/>
              </a:rPr>
              <a:t>an</a:t>
            </a:r>
            <a:r>
              <a:rPr lang="en-US" dirty="0">
                <a:latin typeface="+mn-lt"/>
                <a:cs typeface="Arial"/>
              </a:rPr>
              <a:t>d </a:t>
            </a:r>
            <a:r>
              <a:rPr lang="en-US" spc="4" dirty="0">
                <a:latin typeface="+mn-lt"/>
                <a:cs typeface="Arial"/>
              </a:rPr>
              <a:t>a</a:t>
            </a:r>
            <a:r>
              <a:rPr lang="en-US" dirty="0">
                <a:latin typeface="+mn-lt"/>
                <a:cs typeface="Arial"/>
              </a:rPr>
              <a:t>l</a:t>
            </a:r>
            <a:r>
              <a:rPr lang="en-US" spc="-4" dirty="0">
                <a:latin typeface="+mn-lt"/>
                <a:cs typeface="Arial"/>
              </a:rPr>
              <a:t>l</a:t>
            </a:r>
            <a:r>
              <a:rPr lang="en-US" spc="4" dirty="0">
                <a:latin typeface="+mn-lt"/>
                <a:cs typeface="Arial"/>
              </a:rPr>
              <a:t>o</a:t>
            </a:r>
            <a:r>
              <a:rPr lang="en-US" dirty="0">
                <a:latin typeface="+mn-lt"/>
                <a:cs typeface="Arial"/>
              </a:rPr>
              <a:t>c</a:t>
            </a:r>
            <a:r>
              <a:rPr lang="en-US" spc="4" dirty="0">
                <a:latin typeface="+mn-lt"/>
                <a:cs typeface="Arial"/>
              </a:rPr>
              <a:t>a</a:t>
            </a:r>
            <a:r>
              <a:rPr lang="en-US" dirty="0">
                <a:latin typeface="+mn-lt"/>
                <a:cs typeface="Arial"/>
              </a:rPr>
              <a:t>ti</a:t>
            </a:r>
            <a:r>
              <a:rPr lang="en-US" spc="4" dirty="0">
                <a:latin typeface="+mn-lt"/>
                <a:cs typeface="Arial"/>
              </a:rPr>
              <a:t>o</a:t>
            </a:r>
            <a:r>
              <a:rPr lang="en-US" dirty="0">
                <a:latin typeface="+mn-lt"/>
                <a:cs typeface="Arial"/>
              </a:rPr>
              <a:t>n</a:t>
            </a:r>
            <a:r>
              <a:rPr lang="en-US" spc="-39" dirty="0">
                <a:latin typeface="+mn-lt"/>
                <a:cs typeface="Arial"/>
              </a:rPr>
              <a:t> </a:t>
            </a:r>
            <a:r>
              <a:rPr lang="en-US" spc="4" dirty="0">
                <a:latin typeface="+mn-lt"/>
                <a:cs typeface="Arial"/>
              </a:rPr>
              <a:t>numbe</a:t>
            </a:r>
            <a:r>
              <a:rPr lang="en-US" dirty="0">
                <a:latin typeface="+mn-lt"/>
                <a:cs typeface="Arial"/>
              </a:rPr>
              <a:t>r</a:t>
            </a:r>
          </a:p>
          <a:p>
            <a:pPr marL="286004" marR="276430" indent="-285750">
              <a:lnSpc>
                <a:spcPct val="110000"/>
              </a:lnSpc>
              <a:spcBef>
                <a:spcPts val="1441"/>
              </a:spcBef>
              <a:buFont typeface="Wingdings" panose="05000000000000000000" pitchFamily="2" charset="2"/>
              <a:buChar char="§"/>
            </a:pPr>
            <a:r>
              <a:rPr lang="en-US" spc="9" dirty="0">
                <a:latin typeface="+mn-lt"/>
                <a:cs typeface="Arial"/>
              </a:rPr>
              <a:t> T</a:t>
            </a:r>
            <a:r>
              <a:rPr lang="en-US" dirty="0">
                <a:latin typeface="+mn-lt"/>
                <a:cs typeface="Arial"/>
              </a:rPr>
              <a:t>ra</a:t>
            </a:r>
            <a:r>
              <a:rPr lang="en-US" spc="4" dirty="0">
                <a:latin typeface="+mn-lt"/>
                <a:cs typeface="Arial"/>
              </a:rPr>
              <a:t>n</a:t>
            </a:r>
            <a:r>
              <a:rPr lang="en-US" dirty="0">
                <a:latin typeface="+mn-lt"/>
                <a:cs typeface="Arial"/>
              </a:rPr>
              <a:t>s</a:t>
            </a:r>
            <a:r>
              <a:rPr lang="en-US" spc="14" dirty="0">
                <a:latin typeface="+mn-lt"/>
                <a:cs typeface="Arial"/>
              </a:rPr>
              <a:t>f</a:t>
            </a:r>
            <a:r>
              <a:rPr lang="en-US" spc="4" dirty="0">
                <a:latin typeface="+mn-lt"/>
                <a:cs typeface="Arial"/>
              </a:rPr>
              <a:t>e</a:t>
            </a:r>
            <a:r>
              <a:rPr lang="en-US" dirty="0">
                <a:latin typeface="+mn-lt"/>
                <a:cs typeface="Arial"/>
              </a:rPr>
              <a:t>r</a:t>
            </a:r>
            <a:r>
              <a:rPr lang="en-US" spc="-4" dirty="0">
                <a:latin typeface="+mn-lt"/>
                <a:cs typeface="Arial"/>
              </a:rPr>
              <a:t>r</a:t>
            </a:r>
            <a:r>
              <a:rPr lang="en-US" dirty="0">
                <a:latin typeface="+mn-lt"/>
                <a:cs typeface="Arial"/>
              </a:rPr>
              <a:t>ing</a:t>
            </a:r>
            <a:r>
              <a:rPr lang="en-US" spc="-34" dirty="0">
                <a:latin typeface="+mn-lt"/>
                <a:cs typeface="Arial"/>
              </a:rPr>
              <a:t> </a:t>
            </a:r>
            <a:r>
              <a:rPr lang="en-US" spc="4" dirty="0">
                <a:latin typeface="+mn-lt"/>
                <a:cs typeface="Arial"/>
              </a:rPr>
              <a:t>pa</a:t>
            </a:r>
            <a:r>
              <a:rPr lang="en-US" dirty="0">
                <a:latin typeface="+mn-lt"/>
                <a:cs typeface="Arial"/>
              </a:rPr>
              <a:t>rtn</a:t>
            </a:r>
            <a:r>
              <a:rPr lang="en-US" spc="4" dirty="0">
                <a:latin typeface="+mn-lt"/>
                <a:cs typeface="Arial"/>
              </a:rPr>
              <a:t>e</a:t>
            </a:r>
            <a:r>
              <a:rPr lang="en-US" dirty="0">
                <a:latin typeface="+mn-lt"/>
                <a:cs typeface="Arial"/>
              </a:rPr>
              <a:t>r</a:t>
            </a:r>
            <a:r>
              <a:rPr lang="en-US" spc="-34" dirty="0">
                <a:latin typeface="+mn-lt"/>
                <a:cs typeface="Arial"/>
              </a:rPr>
              <a:t> </a:t>
            </a:r>
            <a:r>
              <a:rPr lang="en-US" spc="14" dirty="0">
                <a:latin typeface="+mn-lt"/>
                <a:cs typeface="Arial"/>
              </a:rPr>
              <a:t>f</a:t>
            </a:r>
            <a:r>
              <a:rPr lang="en-US" spc="4" dirty="0">
                <a:latin typeface="+mn-lt"/>
                <a:cs typeface="Arial"/>
              </a:rPr>
              <a:t>un</a:t>
            </a:r>
            <a:r>
              <a:rPr lang="en-US" dirty="0">
                <a:latin typeface="+mn-lt"/>
                <a:cs typeface="Arial"/>
              </a:rPr>
              <a:t>cti</a:t>
            </a:r>
            <a:r>
              <a:rPr lang="en-US" spc="4" dirty="0">
                <a:latin typeface="+mn-lt"/>
                <a:cs typeface="Arial"/>
              </a:rPr>
              <a:t>on</a:t>
            </a:r>
            <a:r>
              <a:rPr lang="en-US" dirty="0">
                <a:latin typeface="+mn-lt"/>
                <a:cs typeface="Arial"/>
              </a:rPr>
              <a:t>s</a:t>
            </a:r>
            <a:r>
              <a:rPr lang="en-US" spc="-29" dirty="0">
                <a:latin typeface="+mn-lt"/>
                <a:cs typeface="Arial"/>
              </a:rPr>
              <a:t> </a:t>
            </a:r>
            <a:r>
              <a:rPr lang="en-US" dirty="0">
                <a:latin typeface="+mn-lt"/>
                <a:cs typeface="Arial"/>
              </a:rPr>
              <a:t>to Acc</a:t>
            </a:r>
            <a:r>
              <a:rPr lang="en-US" spc="4" dirty="0">
                <a:latin typeface="+mn-lt"/>
                <a:cs typeface="Arial"/>
              </a:rPr>
              <a:t>oun</a:t>
            </a:r>
            <a:r>
              <a:rPr lang="en-US" dirty="0">
                <a:latin typeface="+mn-lt"/>
                <a:cs typeface="Arial"/>
              </a:rPr>
              <a:t>ti</a:t>
            </a:r>
            <a:r>
              <a:rPr lang="en-US" spc="4" dirty="0">
                <a:latin typeface="+mn-lt"/>
                <a:cs typeface="Arial"/>
              </a:rPr>
              <a:t>n</a:t>
            </a:r>
            <a:r>
              <a:rPr lang="en-US" dirty="0">
                <a:latin typeface="+mn-lt"/>
                <a:cs typeface="Arial"/>
              </a:rPr>
              <a:t>g</a:t>
            </a:r>
            <a:r>
              <a:rPr lang="en-US" spc="-39" dirty="0">
                <a:latin typeface="+mn-lt"/>
                <a:cs typeface="Arial"/>
              </a:rPr>
              <a:t> </a:t>
            </a:r>
            <a:r>
              <a:rPr lang="en-US" dirty="0">
                <a:latin typeface="+mn-lt"/>
                <a:cs typeface="Arial"/>
              </a:rPr>
              <a:t>:</a:t>
            </a:r>
            <a:r>
              <a:rPr lang="en-US" spc="4" dirty="0">
                <a:latin typeface="+mn-lt"/>
                <a:cs typeface="Arial"/>
              </a:rPr>
              <a:t> </a:t>
            </a:r>
            <a:r>
              <a:rPr lang="en-US" spc="-9" dirty="0">
                <a:latin typeface="+mn-lt"/>
                <a:cs typeface="Arial"/>
              </a:rPr>
              <a:t>Y</a:t>
            </a:r>
            <a:r>
              <a:rPr lang="en-US" spc="4" dirty="0">
                <a:latin typeface="+mn-lt"/>
                <a:cs typeface="Arial"/>
              </a:rPr>
              <a:t>o</a:t>
            </a:r>
            <a:r>
              <a:rPr lang="en-US" dirty="0">
                <a:latin typeface="+mn-lt"/>
                <a:cs typeface="Arial"/>
              </a:rPr>
              <a:t>u</a:t>
            </a:r>
            <a:r>
              <a:rPr lang="en-US" spc="-4" dirty="0">
                <a:latin typeface="+mn-lt"/>
                <a:cs typeface="Arial"/>
              </a:rPr>
              <a:t> </a:t>
            </a:r>
            <a:r>
              <a:rPr lang="en-US" dirty="0">
                <a:latin typeface="+mn-lt"/>
                <a:cs typeface="Arial"/>
              </a:rPr>
              <a:t>c</a:t>
            </a:r>
            <a:r>
              <a:rPr lang="en-US" spc="4" dirty="0">
                <a:latin typeface="+mn-lt"/>
                <a:cs typeface="Arial"/>
              </a:rPr>
              <a:t>a</a:t>
            </a:r>
            <a:r>
              <a:rPr lang="en-US" dirty="0">
                <a:latin typeface="+mn-lt"/>
                <a:cs typeface="Arial"/>
              </a:rPr>
              <a:t>n</a:t>
            </a:r>
            <a:r>
              <a:rPr lang="en-US" spc="-4" dirty="0">
                <a:latin typeface="+mn-lt"/>
                <a:cs typeface="Arial"/>
              </a:rPr>
              <a:t> </a:t>
            </a:r>
            <a:r>
              <a:rPr lang="en-US" spc="4" dirty="0">
                <a:latin typeface="+mn-lt"/>
                <a:cs typeface="Arial"/>
              </a:rPr>
              <a:t>u</a:t>
            </a:r>
            <a:r>
              <a:rPr lang="en-US" dirty="0">
                <a:latin typeface="+mn-lt"/>
                <a:cs typeface="Arial"/>
              </a:rPr>
              <a:t>se</a:t>
            </a:r>
            <a:r>
              <a:rPr lang="en-US" spc="-14" dirty="0">
                <a:latin typeface="+mn-lt"/>
                <a:cs typeface="Arial"/>
              </a:rPr>
              <a:t> </a:t>
            </a:r>
            <a:r>
              <a:rPr lang="en-US" dirty="0">
                <a:latin typeface="+mn-lt"/>
                <a:cs typeface="Arial"/>
              </a:rPr>
              <a:t>t</a:t>
            </a:r>
            <a:r>
              <a:rPr lang="en-US" spc="4" dirty="0">
                <a:latin typeface="+mn-lt"/>
                <a:cs typeface="Arial"/>
              </a:rPr>
              <a:t>h</a:t>
            </a:r>
            <a:r>
              <a:rPr lang="en-US" dirty="0">
                <a:latin typeface="+mn-lt"/>
                <a:cs typeface="Arial"/>
              </a:rPr>
              <a:t>is in</a:t>
            </a:r>
            <a:r>
              <a:rPr lang="en-US" spc="4" dirty="0">
                <a:latin typeface="+mn-lt"/>
                <a:cs typeface="Arial"/>
              </a:rPr>
              <a:t>d</a:t>
            </a:r>
            <a:r>
              <a:rPr lang="en-US" dirty="0">
                <a:latin typeface="+mn-lt"/>
                <a:cs typeface="Arial"/>
              </a:rPr>
              <a:t>ica</a:t>
            </a:r>
            <a:r>
              <a:rPr lang="en-US" spc="4" dirty="0">
                <a:latin typeface="+mn-lt"/>
                <a:cs typeface="Arial"/>
              </a:rPr>
              <a:t>to</a:t>
            </a:r>
            <a:r>
              <a:rPr lang="en-US" dirty="0">
                <a:latin typeface="+mn-lt"/>
                <a:cs typeface="Arial"/>
              </a:rPr>
              <a:t>r</a:t>
            </a:r>
            <a:r>
              <a:rPr lang="en-US" spc="-34" dirty="0">
                <a:latin typeface="+mn-lt"/>
                <a:cs typeface="Arial"/>
              </a:rPr>
              <a:t> </a:t>
            </a:r>
            <a:r>
              <a:rPr lang="en-US" dirty="0">
                <a:latin typeface="+mn-lt"/>
                <a:cs typeface="Arial"/>
              </a:rPr>
              <a:t>to </a:t>
            </a:r>
            <a:r>
              <a:rPr lang="en-US" spc="4" dirty="0">
                <a:latin typeface="+mn-lt"/>
                <a:cs typeface="Arial"/>
              </a:rPr>
              <a:t>de</a:t>
            </a:r>
            <a:r>
              <a:rPr lang="en-US" dirty="0">
                <a:latin typeface="+mn-lt"/>
                <a:cs typeface="Arial"/>
              </a:rPr>
              <a:t>t</a:t>
            </a:r>
            <a:r>
              <a:rPr lang="en-US" spc="4" dirty="0">
                <a:latin typeface="+mn-lt"/>
                <a:cs typeface="Arial"/>
              </a:rPr>
              <a:t>e</a:t>
            </a:r>
            <a:r>
              <a:rPr lang="en-US" dirty="0">
                <a:latin typeface="+mn-lt"/>
                <a:cs typeface="Arial"/>
              </a:rPr>
              <a:t>r</a:t>
            </a:r>
            <a:r>
              <a:rPr lang="en-US" spc="4" dirty="0">
                <a:latin typeface="+mn-lt"/>
                <a:cs typeface="Arial"/>
              </a:rPr>
              <a:t>m</a:t>
            </a:r>
            <a:r>
              <a:rPr lang="en-US" dirty="0">
                <a:latin typeface="+mn-lt"/>
                <a:cs typeface="Arial"/>
              </a:rPr>
              <a:t>ine</a:t>
            </a:r>
            <a:r>
              <a:rPr lang="en-US" spc="-39" dirty="0">
                <a:latin typeface="+mn-lt"/>
                <a:cs typeface="Arial"/>
              </a:rPr>
              <a:t> </a:t>
            </a:r>
            <a:r>
              <a:rPr lang="en-US" spc="-14" dirty="0">
                <a:latin typeface="+mn-lt"/>
                <a:cs typeface="Arial"/>
              </a:rPr>
              <a:t>w</a:t>
            </a:r>
            <a:r>
              <a:rPr lang="en-US" spc="4" dirty="0">
                <a:latin typeface="+mn-lt"/>
                <a:cs typeface="Arial"/>
              </a:rPr>
              <a:t>h</a:t>
            </a:r>
            <a:r>
              <a:rPr lang="en-US" dirty="0">
                <a:latin typeface="+mn-lt"/>
                <a:cs typeface="Arial"/>
              </a:rPr>
              <a:t>ich </a:t>
            </a:r>
            <a:r>
              <a:rPr lang="en-US" spc="4" dirty="0">
                <a:latin typeface="+mn-lt"/>
                <a:cs typeface="Arial"/>
              </a:rPr>
              <a:t>pa</a:t>
            </a:r>
            <a:r>
              <a:rPr lang="en-US" dirty="0">
                <a:latin typeface="+mn-lt"/>
                <a:cs typeface="Arial"/>
              </a:rPr>
              <a:t>rtn</a:t>
            </a:r>
            <a:r>
              <a:rPr lang="en-US" spc="4" dirty="0">
                <a:latin typeface="+mn-lt"/>
                <a:cs typeface="Arial"/>
              </a:rPr>
              <a:t>e</a:t>
            </a:r>
            <a:r>
              <a:rPr lang="en-US" dirty="0">
                <a:latin typeface="+mn-lt"/>
                <a:cs typeface="Arial"/>
              </a:rPr>
              <a:t>r</a:t>
            </a:r>
            <a:r>
              <a:rPr lang="en-US" spc="-25" dirty="0">
                <a:latin typeface="+mn-lt"/>
                <a:cs typeface="Arial"/>
              </a:rPr>
              <a:t> </a:t>
            </a:r>
            <a:r>
              <a:rPr lang="en-US" spc="14" dirty="0">
                <a:latin typeface="+mn-lt"/>
                <a:cs typeface="Arial"/>
              </a:rPr>
              <a:t>f</a:t>
            </a:r>
            <a:r>
              <a:rPr lang="en-US" spc="4" dirty="0">
                <a:latin typeface="+mn-lt"/>
                <a:cs typeface="Arial"/>
              </a:rPr>
              <a:t>un</a:t>
            </a:r>
            <a:r>
              <a:rPr lang="en-US" dirty="0">
                <a:latin typeface="+mn-lt"/>
                <a:cs typeface="Arial"/>
              </a:rPr>
              <a:t>cti</a:t>
            </a:r>
            <a:r>
              <a:rPr lang="en-US" spc="4" dirty="0">
                <a:latin typeface="+mn-lt"/>
                <a:cs typeface="Arial"/>
              </a:rPr>
              <a:t>o</a:t>
            </a:r>
            <a:r>
              <a:rPr lang="en-US" dirty="0">
                <a:latin typeface="+mn-lt"/>
                <a:cs typeface="Arial"/>
              </a:rPr>
              <a:t>n</a:t>
            </a:r>
            <a:r>
              <a:rPr lang="en-US" spc="292" dirty="0">
                <a:latin typeface="+mn-lt"/>
                <a:cs typeface="Arial"/>
              </a:rPr>
              <a:t> </a:t>
            </a:r>
            <a:r>
              <a:rPr lang="en-US" dirty="0">
                <a:latin typeface="+mn-lt"/>
                <a:cs typeface="Arial"/>
              </a:rPr>
              <a:t>(P</a:t>
            </a:r>
            <a:r>
              <a:rPr lang="en-US" spc="4" dirty="0">
                <a:latin typeface="+mn-lt"/>
                <a:cs typeface="Arial"/>
              </a:rPr>
              <a:t>a</a:t>
            </a:r>
            <a:r>
              <a:rPr lang="en-US" spc="-9" dirty="0">
                <a:latin typeface="+mn-lt"/>
                <a:cs typeface="Arial"/>
              </a:rPr>
              <a:t>y</a:t>
            </a:r>
            <a:r>
              <a:rPr lang="en-US" spc="4" dirty="0">
                <a:latin typeface="+mn-lt"/>
                <a:cs typeface="Arial"/>
              </a:rPr>
              <a:t>e</a:t>
            </a:r>
            <a:r>
              <a:rPr lang="en-US" dirty="0">
                <a:latin typeface="+mn-lt"/>
                <a:cs typeface="Arial"/>
              </a:rPr>
              <a:t>r)</a:t>
            </a:r>
            <a:r>
              <a:rPr lang="en-US" spc="4" dirty="0">
                <a:latin typeface="+mn-lt"/>
                <a:cs typeface="Arial"/>
              </a:rPr>
              <a:t> </a:t>
            </a:r>
            <a:r>
              <a:rPr lang="en-US" dirty="0">
                <a:latin typeface="+mn-lt"/>
                <a:cs typeface="Arial"/>
              </a:rPr>
              <a:t>s</a:t>
            </a:r>
            <a:r>
              <a:rPr lang="en-US" spc="4" dirty="0">
                <a:latin typeface="+mn-lt"/>
                <a:cs typeface="Arial"/>
              </a:rPr>
              <a:t>hou</a:t>
            </a:r>
            <a:r>
              <a:rPr lang="en-US" dirty="0">
                <a:latin typeface="+mn-lt"/>
                <a:cs typeface="Arial"/>
              </a:rPr>
              <a:t>ld</a:t>
            </a:r>
            <a:r>
              <a:rPr lang="en-US" spc="-39" dirty="0">
                <a:latin typeface="+mn-lt"/>
                <a:cs typeface="Arial"/>
              </a:rPr>
              <a:t> </a:t>
            </a:r>
            <a:r>
              <a:rPr lang="en-US" spc="4" dirty="0">
                <a:latin typeface="+mn-lt"/>
                <a:cs typeface="Arial"/>
              </a:rPr>
              <a:t>b</a:t>
            </a:r>
            <a:r>
              <a:rPr lang="en-US" dirty="0">
                <a:latin typeface="+mn-lt"/>
                <a:cs typeface="Arial"/>
              </a:rPr>
              <a:t>e</a:t>
            </a:r>
            <a:r>
              <a:rPr lang="en-US" spc="-4" dirty="0">
                <a:latin typeface="+mn-lt"/>
                <a:cs typeface="Arial"/>
              </a:rPr>
              <a:t> </a:t>
            </a:r>
            <a:r>
              <a:rPr lang="en-US" dirty="0">
                <a:latin typeface="+mn-lt"/>
                <a:cs typeface="Arial"/>
              </a:rPr>
              <a:t>tra</a:t>
            </a:r>
            <a:r>
              <a:rPr lang="en-US" spc="4" dirty="0">
                <a:latin typeface="+mn-lt"/>
                <a:cs typeface="Arial"/>
              </a:rPr>
              <a:t>n</a:t>
            </a:r>
            <a:r>
              <a:rPr lang="en-US" dirty="0">
                <a:latin typeface="+mn-lt"/>
                <a:cs typeface="Arial"/>
              </a:rPr>
              <a:t>s</a:t>
            </a:r>
            <a:r>
              <a:rPr lang="en-US" spc="14" dirty="0">
                <a:latin typeface="+mn-lt"/>
                <a:cs typeface="Arial"/>
              </a:rPr>
              <a:t>f</a:t>
            </a:r>
            <a:r>
              <a:rPr lang="en-US" spc="4" dirty="0">
                <a:latin typeface="+mn-lt"/>
                <a:cs typeface="Arial"/>
              </a:rPr>
              <a:t>e</a:t>
            </a:r>
            <a:r>
              <a:rPr lang="en-US" dirty="0">
                <a:latin typeface="+mn-lt"/>
                <a:cs typeface="Arial"/>
              </a:rPr>
              <a:t>r</a:t>
            </a:r>
            <a:r>
              <a:rPr lang="en-US" spc="-4" dirty="0">
                <a:latin typeface="+mn-lt"/>
                <a:cs typeface="Arial"/>
              </a:rPr>
              <a:t>r</a:t>
            </a:r>
            <a:r>
              <a:rPr lang="en-US" spc="4" dirty="0">
                <a:latin typeface="+mn-lt"/>
                <a:cs typeface="Arial"/>
              </a:rPr>
              <a:t>e</a:t>
            </a:r>
            <a:r>
              <a:rPr lang="en-US" dirty="0">
                <a:latin typeface="+mn-lt"/>
                <a:cs typeface="Arial"/>
              </a:rPr>
              <a:t>d</a:t>
            </a:r>
            <a:r>
              <a:rPr lang="en-US" spc="-39" dirty="0">
                <a:latin typeface="+mn-lt"/>
                <a:cs typeface="Arial"/>
              </a:rPr>
              <a:t> </a:t>
            </a:r>
            <a:r>
              <a:rPr lang="en-US" dirty="0">
                <a:latin typeface="+mn-lt"/>
                <a:cs typeface="Arial"/>
              </a:rPr>
              <a:t>to</a:t>
            </a:r>
            <a:r>
              <a:rPr lang="en-US" spc="4" dirty="0">
                <a:latin typeface="+mn-lt"/>
                <a:cs typeface="Arial"/>
              </a:rPr>
              <a:t> a</a:t>
            </a:r>
            <a:r>
              <a:rPr lang="en-US" dirty="0">
                <a:latin typeface="+mn-lt"/>
                <a:cs typeface="Arial"/>
              </a:rPr>
              <a:t>cc</a:t>
            </a:r>
            <a:r>
              <a:rPr lang="en-US" spc="4" dirty="0">
                <a:latin typeface="+mn-lt"/>
                <a:cs typeface="Arial"/>
              </a:rPr>
              <a:t>oun</a:t>
            </a:r>
            <a:r>
              <a:rPr lang="en-US" dirty="0">
                <a:latin typeface="+mn-lt"/>
                <a:cs typeface="Arial"/>
              </a:rPr>
              <a:t>ti</a:t>
            </a:r>
            <a:r>
              <a:rPr lang="en-US" spc="4" dirty="0">
                <a:latin typeface="+mn-lt"/>
                <a:cs typeface="Arial"/>
              </a:rPr>
              <a:t>n</a:t>
            </a:r>
            <a:r>
              <a:rPr lang="en-US" dirty="0">
                <a:latin typeface="+mn-lt"/>
                <a:cs typeface="Arial"/>
              </a:rPr>
              <a:t>g</a:t>
            </a:r>
            <a:r>
              <a:rPr lang="en-US" spc="-49" dirty="0">
                <a:latin typeface="+mn-lt"/>
                <a:cs typeface="Arial"/>
              </a:rPr>
              <a:t> </a:t>
            </a:r>
            <a:r>
              <a:rPr lang="en-US" spc="-14" dirty="0">
                <a:latin typeface="+mn-lt"/>
                <a:cs typeface="Arial"/>
              </a:rPr>
              <a:t>w</a:t>
            </a:r>
            <a:r>
              <a:rPr lang="en-US" spc="4" dirty="0">
                <a:latin typeface="+mn-lt"/>
                <a:cs typeface="Arial"/>
              </a:rPr>
              <a:t>he</a:t>
            </a:r>
            <a:r>
              <a:rPr lang="en-US" dirty="0">
                <a:latin typeface="+mn-lt"/>
                <a:cs typeface="Arial"/>
              </a:rPr>
              <a:t>n</a:t>
            </a:r>
            <a:r>
              <a:rPr lang="en-US" spc="-4" dirty="0">
                <a:latin typeface="+mn-lt"/>
                <a:cs typeface="Arial"/>
              </a:rPr>
              <a:t> </a:t>
            </a:r>
            <a:r>
              <a:rPr lang="en-US" spc="4" dirty="0">
                <a:latin typeface="+mn-lt"/>
                <a:cs typeface="Arial"/>
              </a:rPr>
              <a:t>b</a:t>
            </a:r>
            <a:r>
              <a:rPr lang="en-US" dirty="0">
                <a:latin typeface="+mn-lt"/>
                <a:cs typeface="Arial"/>
              </a:rPr>
              <a:t>i</a:t>
            </a:r>
            <a:r>
              <a:rPr lang="en-US" spc="-4" dirty="0">
                <a:latin typeface="+mn-lt"/>
                <a:cs typeface="Arial"/>
              </a:rPr>
              <a:t>l</a:t>
            </a:r>
            <a:r>
              <a:rPr lang="en-US" dirty="0">
                <a:latin typeface="+mn-lt"/>
                <a:cs typeface="Arial"/>
              </a:rPr>
              <a:t>l</a:t>
            </a:r>
            <a:r>
              <a:rPr lang="en-US" spc="-4" dirty="0">
                <a:latin typeface="+mn-lt"/>
                <a:cs typeface="Arial"/>
              </a:rPr>
              <a:t>i</a:t>
            </a:r>
            <a:r>
              <a:rPr lang="en-US" spc="4" dirty="0">
                <a:latin typeface="+mn-lt"/>
                <a:cs typeface="Arial"/>
              </a:rPr>
              <a:t>n</a:t>
            </a:r>
            <a:r>
              <a:rPr lang="en-US" dirty="0">
                <a:latin typeface="+mn-lt"/>
                <a:cs typeface="Arial"/>
              </a:rPr>
              <a:t>g</a:t>
            </a:r>
            <a:r>
              <a:rPr lang="en-US" spc="-29" dirty="0">
                <a:latin typeface="+mn-lt"/>
                <a:cs typeface="Arial"/>
              </a:rPr>
              <a:t> </a:t>
            </a:r>
            <a:r>
              <a:rPr lang="en-US" dirty="0">
                <a:latin typeface="+mn-lt"/>
                <a:cs typeface="Arial"/>
              </a:rPr>
              <a:t>t</a:t>
            </a:r>
            <a:r>
              <a:rPr lang="en-US" spc="-9" dirty="0">
                <a:latin typeface="+mn-lt"/>
                <a:cs typeface="Arial"/>
              </a:rPr>
              <a:t>y</a:t>
            </a:r>
            <a:r>
              <a:rPr lang="en-US" spc="4" dirty="0">
                <a:latin typeface="+mn-lt"/>
                <a:cs typeface="Arial"/>
              </a:rPr>
              <a:t>p</a:t>
            </a:r>
            <a:r>
              <a:rPr lang="en-US" dirty="0">
                <a:latin typeface="+mn-lt"/>
                <a:cs typeface="Arial"/>
              </a:rPr>
              <a:t>e</a:t>
            </a:r>
            <a:r>
              <a:rPr lang="en-US" spc="4" dirty="0">
                <a:latin typeface="+mn-lt"/>
                <a:cs typeface="Arial"/>
              </a:rPr>
              <a:t> </a:t>
            </a:r>
            <a:r>
              <a:rPr lang="en-US" spc="9" dirty="0">
                <a:latin typeface="+mn-lt"/>
                <a:cs typeface="Arial"/>
              </a:rPr>
              <a:t>m</a:t>
            </a:r>
            <a:r>
              <a:rPr lang="en-US" spc="4" dirty="0">
                <a:latin typeface="+mn-lt"/>
                <a:cs typeface="Arial"/>
              </a:rPr>
              <a:t>a</a:t>
            </a:r>
            <a:r>
              <a:rPr lang="en-US" dirty="0">
                <a:latin typeface="+mn-lt"/>
                <a:cs typeface="Arial"/>
              </a:rPr>
              <a:t>in</a:t>
            </a:r>
            <a:r>
              <a:rPr lang="en-US" spc="4" dirty="0">
                <a:latin typeface="+mn-lt"/>
                <a:cs typeface="Arial"/>
              </a:rPr>
              <a:t>ta</a:t>
            </a:r>
            <a:r>
              <a:rPr lang="en-US" dirty="0">
                <a:latin typeface="+mn-lt"/>
                <a:cs typeface="Arial"/>
              </a:rPr>
              <a:t>in</a:t>
            </a:r>
            <a:r>
              <a:rPr lang="en-US" spc="-4" dirty="0">
                <a:latin typeface="+mn-lt"/>
                <a:cs typeface="Arial"/>
              </a:rPr>
              <a:t>e</a:t>
            </a:r>
            <a:r>
              <a:rPr lang="en-US" dirty="0">
                <a:latin typeface="+mn-lt"/>
                <a:cs typeface="Arial"/>
              </a:rPr>
              <a:t>d</a:t>
            </a:r>
          </a:p>
          <a:p>
            <a:endParaRPr lang="en-US" dirty="0"/>
          </a:p>
        </p:txBody>
      </p:sp>
    </p:spTree>
    <p:extLst>
      <p:ext uri="{BB962C8B-B14F-4D97-AF65-F5344CB8AC3E}">
        <p14:creationId xmlns:p14="http://schemas.microsoft.com/office/powerpoint/2010/main" val="8012133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2400" dirty="0"/>
              <a:t>Tips and Tricks</a:t>
            </a:r>
          </a:p>
        </p:txBody>
      </p:sp>
      <p:sp>
        <p:nvSpPr>
          <p:cNvPr id="3" name="Content Placeholder 2"/>
          <p:cNvSpPr>
            <a:spLocks noGrp="1"/>
          </p:cNvSpPr>
          <p:nvPr>
            <p:ph type="body" sz="quarter" idx="10"/>
          </p:nvPr>
        </p:nvSpPr>
        <p:spPr>
          <a:prstGeom prst="rect">
            <a:avLst/>
          </a:prstGeom>
        </p:spPr>
        <p:txBody>
          <a:bodyPr>
            <a:normAutofit/>
          </a:bodyPr>
          <a:lstStyle/>
          <a:p>
            <a:pPr marL="285750" indent="-285750">
              <a:buFont typeface="Wingdings" panose="05000000000000000000" pitchFamily="2" charset="2"/>
              <a:buChar char="§"/>
            </a:pPr>
            <a:r>
              <a:rPr lang="en-US" spc="-9" dirty="0">
                <a:latin typeface="+mn-lt"/>
                <a:cs typeface="Arial"/>
              </a:rPr>
              <a:t>Y</a:t>
            </a:r>
            <a:r>
              <a:rPr lang="en-US" spc="4" dirty="0">
                <a:latin typeface="+mn-lt"/>
                <a:cs typeface="Arial"/>
              </a:rPr>
              <a:t>o</a:t>
            </a:r>
            <a:r>
              <a:rPr lang="en-US" dirty="0">
                <a:latin typeface="+mn-lt"/>
                <a:cs typeface="Arial"/>
              </a:rPr>
              <a:t>u</a:t>
            </a:r>
            <a:r>
              <a:rPr lang="en-US" spc="-4" dirty="0">
                <a:latin typeface="+mn-lt"/>
                <a:cs typeface="Arial"/>
              </a:rPr>
              <a:t> </a:t>
            </a:r>
            <a:r>
              <a:rPr lang="en-US" dirty="0">
                <a:latin typeface="+mn-lt"/>
                <a:cs typeface="Arial"/>
              </a:rPr>
              <a:t>c</a:t>
            </a:r>
            <a:r>
              <a:rPr lang="en-US" spc="4" dirty="0">
                <a:latin typeface="+mn-lt"/>
                <a:cs typeface="Arial"/>
              </a:rPr>
              <a:t>a</a:t>
            </a:r>
            <a:r>
              <a:rPr lang="en-US" dirty="0">
                <a:latin typeface="+mn-lt"/>
                <a:cs typeface="Arial"/>
              </a:rPr>
              <a:t>n</a:t>
            </a:r>
            <a:r>
              <a:rPr lang="en-US" spc="-4" dirty="0">
                <a:latin typeface="+mn-lt"/>
                <a:cs typeface="Arial"/>
              </a:rPr>
              <a:t> </a:t>
            </a:r>
            <a:r>
              <a:rPr lang="en-US" spc="4" dirty="0">
                <a:latin typeface="+mn-lt"/>
                <a:cs typeface="Arial"/>
              </a:rPr>
              <a:t>de</a:t>
            </a:r>
            <a:r>
              <a:rPr lang="en-US" dirty="0">
                <a:latin typeface="+mn-lt"/>
                <a:cs typeface="Arial"/>
              </a:rPr>
              <a:t>t</a:t>
            </a:r>
            <a:r>
              <a:rPr lang="en-US" spc="4" dirty="0">
                <a:latin typeface="+mn-lt"/>
                <a:cs typeface="Arial"/>
              </a:rPr>
              <a:t>e</a:t>
            </a:r>
            <a:r>
              <a:rPr lang="en-US" dirty="0">
                <a:latin typeface="+mn-lt"/>
                <a:cs typeface="Arial"/>
              </a:rPr>
              <a:t>r</a:t>
            </a:r>
            <a:r>
              <a:rPr lang="en-US" spc="4" dirty="0">
                <a:latin typeface="+mn-lt"/>
                <a:cs typeface="Arial"/>
              </a:rPr>
              <a:t>m</a:t>
            </a:r>
            <a:r>
              <a:rPr lang="en-US" dirty="0">
                <a:latin typeface="+mn-lt"/>
                <a:cs typeface="Arial"/>
              </a:rPr>
              <a:t>ine</a:t>
            </a:r>
            <a:r>
              <a:rPr lang="en-US" spc="-39" dirty="0">
                <a:latin typeface="+mn-lt"/>
                <a:cs typeface="Arial"/>
              </a:rPr>
              <a:t> </a:t>
            </a:r>
            <a:r>
              <a:rPr lang="en-US" dirty="0">
                <a:latin typeface="+mn-lt"/>
                <a:cs typeface="Arial"/>
              </a:rPr>
              <a:t>FI </a:t>
            </a:r>
            <a:r>
              <a:rPr lang="en-US" spc="4" dirty="0">
                <a:latin typeface="+mn-lt"/>
                <a:cs typeface="Arial"/>
              </a:rPr>
              <a:t>do</a:t>
            </a:r>
            <a:r>
              <a:rPr lang="en-US" dirty="0">
                <a:latin typeface="+mn-lt"/>
                <a:cs typeface="Arial"/>
              </a:rPr>
              <a:t>c</a:t>
            </a:r>
            <a:r>
              <a:rPr lang="en-US" spc="4" dirty="0">
                <a:latin typeface="+mn-lt"/>
                <a:cs typeface="Arial"/>
              </a:rPr>
              <a:t>umen</a:t>
            </a:r>
            <a:r>
              <a:rPr lang="en-US" dirty="0">
                <a:latin typeface="+mn-lt"/>
                <a:cs typeface="Arial"/>
              </a:rPr>
              <a:t>t</a:t>
            </a:r>
            <a:r>
              <a:rPr lang="en-US" spc="-39" dirty="0">
                <a:latin typeface="+mn-lt"/>
                <a:cs typeface="Arial"/>
              </a:rPr>
              <a:t> </a:t>
            </a:r>
            <a:r>
              <a:rPr lang="en-US" dirty="0">
                <a:latin typeface="+mn-lt"/>
                <a:cs typeface="Arial"/>
              </a:rPr>
              <a:t>t</a:t>
            </a:r>
            <a:r>
              <a:rPr lang="en-US" spc="-9" dirty="0">
                <a:latin typeface="+mn-lt"/>
                <a:cs typeface="Arial"/>
              </a:rPr>
              <a:t>y</a:t>
            </a:r>
            <a:r>
              <a:rPr lang="en-US" spc="4" dirty="0">
                <a:latin typeface="+mn-lt"/>
                <a:cs typeface="Arial"/>
              </a:rPr>
              <a:t>p</a:t>
            </a:r>
            <a:r>
              <a:rPr lang="en-US" dirty="0">
                <a:latin typeface="+mn-lt"/>
                <a:cs typeface="Arial"/>
              </a:rPr>
              <a:t>e</a:t>
            </a:r>
            <a:r>
              <a:rPr lang="en-US" spc="4" dirty="0">
                <a:latin typeface="+mn-lt"/>
                <a:cs typeface="Arial"/>
              </a:rPr>
              <a:t> </a:t>
            </a:r>
            <a:r>
              <a:rPr lang="en-US" spc="14" dirty="0">
                <a:latin typeface="+mn-lt"/>
                <a:cs typeface="Arial"/>
              </a:rPr>
              <a:t>f</a:t>
            </a:r>
            <a:r>
              <a:rPr lang="en-US" dirty="0">
                <a:latin typeface="+mn-lt"/>
                <a:cs typeface="Arial"/>
              </a:rPr>
              <a:t>rom</a:t>
            </a:r>
            <a:r>
              <a:rPr lang="en-US" spc="-9" dirty="0">
                <a:latin typeface="+mn-lt"/>
                <a:cs typeface="Arial"/>
              </a:rPr>
              <a:t> </a:t>
            </a:r>
            <a:r>
              <a:rPr lang="en-US" spc="4" dirty="0">
                <a:latin typeface="+mn-lt"/>
                <a:cs typeface="Arial"/>
              </a:rPr>
              <a:t>b</a:t>
            </a:r>
            <a:r>
              <a:rPr lang="en-US" dirty="0">
                <a:latin typeface="+mn-lt"/>
                <a:cs typeface="Arial"/>
              </a:rPr>
              <a:t>i</a:t>
            </a:r>
            <a:r>
              <a:rPr lang="en-US" spc="-4" dirty="0">
                <a:latin typeface="+mn-lt"/>
                <a:cs typeface="Arial"/>
              </a:rPr>
              <a:t>l</a:t>
            </a:r>
            <a:r>
              <a:rPr lang="en-US" dirty="0">
                <a:latin typeface="+mn-lt"/>
                <a:cs typeface="Arial"/>
              </a:rPr>
              <a:t>l</a:t>
            </a:r>
            <a:r>
              <a:rPr lang="en-US" spc="-4" dirty="0">
                <a:latin typeface="+mn-lt"/>
                <a:cs typeface="Arial"/>
              </a:rPr>
              <a:t>i</a:t>
            </a:r>
            <a:r>
              <a:rPr lang="en-US" spc="4" dirty="0">
                <a:latin typeface="+mn-lt"/>
                <a:cs typeface="Arial"/>
              </a:rPr>
              <a:t>n</a:t>
            </a:r>
            <a:r>
              <a:rPr lang="en-US" dirty="0">
                <a:latin typeface="+mn-lt"/>
                <a:cs typeface="Arial"/>
              </a:rPr>
              <a:t>g</a:t>
            </a:r>
            <a:r>
              <a:rPr lang="en-US" spc="-29" dirty="0">
                <a:latin typeface="+mn-lt"/>
                <a:cs typeface="Arial"/>
              </a:rPr>
              <a:t> </a:t>
            </a:r>
            <a:r>
              <a:rPr lang="en-US" dirty="0">
                <a:latin typeface="+mn-lt"/>
                <a:cs typeface="Arial"/>
              </a:rPr>
              <a:t>t</a:t>
            </a:r>
            <a:r>
              <a:rPr lang="en-US" spc="-9" dirty="0">
                <a:latin typeface="+mn-lt"/>
                <a:cs typeface="Arial"/>
              </a:rPr>
              <a:t>y</a:t>
            </a:r>
            <a:r>
              <a:rPr lang="en-US" spc="4" dirty="0">
                <a:latin typeface="+mn-lt"/>
                <a:cs typeface="Arial"/>
              </a:rPr>
              <a:t>pe</a:t>
            </a:r>
            <a:r>
              <a:rPr lang="en-US" dirty="0">
                <a:latin typeface="+mn-lt"/>
                <a:cs typeface="Arial"/>
              </a:rPr>
              <a:t>. If</a:t>
            </a:r>
            <a:r>
              <a:rPr lang="en-US" spc="4" dirty="0">
                <a:latin typeface="+mn-lt"/>
                <a:cs typeface="Arial"/>
              </a:rPr>
              <a:t> </a:t>
            </a:r>
            <a:r>
              <a:rPr lang="en-US" dirty="0">
                <a:latin typeface="+mn-lt"/>
                <a:cs typeface="Arial"/>
              </a:rPr>
              <a:t>n</a:t>
            </a:r>
            <a:r>
              <a:rPr lang="en-US" spc="4" dirty="0">
                <a:latin typeface="+mn-lt"/>
                <a:cs typeface="Arial"/>
              </a:rPr>
              <a:t>o</a:t>
            </a:r>
            <a:r>
              <a:rPr lang="en-US" dirty="0">
                <a:latin typeface="+mn-lt"/>
                <a:cs typeface="Arial"/>
              </a:rPr>
              <a:t>t</a:t>
            </a:r>
            <a:r>
              <a:rPr lang="en-US" spc="-4" dirty="0">
                <a:latin typeface="+mn-lt"/>
                <a:cs typeface="Arial"/>
              </a:rPr>
              <a:t>   </a:t>
            </a:r>
            <a:r>
              <a:rPr lang="en-US" spc="4" dirty="0">
                <a:latin typeface="+mn-lt"/>
                <a:cs typeface="Arial"/>
              </a:rPr>
              <a:t>m</a:t>
            </a:r>
            <a:r>
              <a:rPr lang="en-US" dirty="0">
                <a:latin typeface="+mn-lt"/>
                <a:cs typeface="Arial"/>
              </a:rPr>
              <a:t>aint</a:t>
            </a:r>
            <a:r>
              <a:rPr lang="en-US" spc="4" dirty="0">
                <a:latin typeface="+mn-lt"/>
                <a:cs typeface="Arial"/>
              </a:rPr>
              <a:t>a</a:t>
            </a:r>
            <a:r>
              <a:rPr lang="en-US" dirty="0">
                <a:latin typeface="+mn-lt"/>
                <a:cs typeface="Arial"/>
              </a:rPr>
              <a:t>in</a:t>
            </a:r>
            <a:r>
              <a:rPr lang="en-US" spc="-9" dirty="0">
                <a:latin typeface="+mn-lt"/>
                <a:cs typeface="Arial"/>
              </a:rPr>
              <a:t>ed</a:t>
            </a:r>
            <a:r>
              <a:rPr lang="en-US" dirty="0">
                <a:latin typeface="+mn-lt"/>
                <a:cs typeface="Arial"/>
              </a:rPr>
              <a:t>,</a:t>
            </a:r>
            <a:r>
              <a:rPr lang="en-US" spc="-29" dirty="0">
                <a:latin typeface="+mn-lt"/>
                <a:cs typeface="Arial"/>
              </a:rPr>
              <a:t> </a:t>
            </a:r>
            <a:r>
              <a:rPr lang="en-US" dirty="0">
                <a:latin typeface="+mn-lt"/>
                <a:cs typeface="Arial"/>
              </a:rPr>
              <a:t>s</a:t>
            </a:r>
            <a:r>
              <a:rPr lang="en-US" spc="-14" dirty="0">
                <a:latin typeface="+mn-lt"/>
                <a:cs typeface="Arial"/>
              </a:rPr>
              <a:t>y</a:t>
            </a:r>
            <a:r>
              <a:rPr lang="en-US" dirty="0">
                <a:latin typeface="+mn-lt"/>
                <a:cs typeface="Arial"/>
              </a:rPr>
              <a:t>stem</a:t>
            </a:r>
            <a:r>
              <a:rPr lang="en-US" spc="4" dirty="0">
                <a:latin typeface="+mn-lt"/>
                <a:cs typeface="Arial"/>
              </a:rPr>
              <a:t> a</a:t>
            </a:r>
            <a:r>
              <a:rPr lang="en-US" dirty="0">
                <a:latin typeface="+mn-lt"/>
                <a:cs typeface="Arial"/>
              </a:rPr>
              <a:t>u</a:t>
            </a:r>
            <a:r>
              <a:rPr lang="en-US" spc="4" dirty="0">
                <a:latin typeface="+mn-lt"/>
                <a:cs typeface="Arial"/>
              </a:rPr>
              <a:t>t</a:t>
            </a:r>
            <a:r>
              <a:rPr lang="en-US" dirty="0">
                <a:latin typeface="+mn-lt"/>
                <a:cs typeface="Arial"/>
              </a:rPr>
              <a:t>o</a:t>
            </a:r>
            <a:r>
              <a:rPr lang="en-US" spc="9" dirty="0">
                <a:latin typeface="+mn-lt"/>
                <a:cs typeface="Arial"/>
              </a:rPr>
              <a:t>m</a:t>
            </a:r>
            <a:r>
              <a:rPr lang="en-US" dirty="0">
                <a:latin typeface="+mn-lt"/>
                <a:cs typeface="Arial"/>
              </a:rPr>
              <a:t>a</a:t>
            </a:r>
            <a:r>
              <a:rPr lang="en-US" spc="4" dirty="0">
                <a:latin typeface="+mn-lt"/>
                <a:cs typeface="Arial"/>
              </a:rPr>
              <a:t>t</a:t>
            </a:r>
            <a:r>
              <a:rPr lang="en-US" dirty="0">
                <a:latin typeface="+mn-lt"/>
                <a:cs typeface="Arial"/>
              </a:rPr>
              <a:t>i</a:t>
            </a:r>
            <a:r>
              <a:rPr lang="en-US" spc="-4" dirty="0">
                <a:latin typeface="+mn-lt"/>
                <a:cs typeface="Arial"/>
              </a:rPr>
              <a:t>c</a:t>
            </a:r>
            <a:r>
              <a:rPr lang="en-US" spc="-9" dirty="0">
                <a:latin typeface="+mn-lt"/>
                <a:cs typeface="Arial"/>
              </a:rPr>
              <a:t>a</a:t>
            </a:r>
            <a:r>
              <a:rPr lang="en-US" dirty="0">
                <a:latin typeface="+mn-lt"/>
                <a:cs typeface="Arial"/>
              </a:rPr>
              <a:t>l</a:t>
            </a:r>
            <a:r>
              <a:rPr lang="en-US" spc="-4" dirty="0">
                <a:latin typeface="+mn-lt"/>
                <a:cs typeface="Arial"/>
              </a:rPr>
              <a:t>l</a:t>
            </a:r>
            <a:r>
              <a:rPr lang="en-US" dirty="0">
                <a:latin typeface="+mn-lt"/>
                <a:cs typeface="Arial"/>
              </a:rPr>
              <a:t>y</a:t>
            </a:r>
            <a:r>
              <a:rPr lang="en-US" spc="-44" dirty="0">
                <a:latin typeface="+mn-lt"/>
                <a:cs typeface="Arial"/>
              </a:rPr>
              <a:t> </a:t>
            </a:r>
            <a:r>
              <a:rPr lang="en-US" dirty="0">
                <a:latin typeface="+mn-lt"/>
                <a:cs typeface="Arial"/>
              </a:rPr>
              <a:t>d</a:t>
            </a:r>
            <a:r>
              <a:rPr lang="en-US" spc="4" dirty="0">
                <a:latin typeface="+mn-lt"/>
                <a:cs typeface="Arial"/>
              </a:rPr>
              <a:t>e</a:t>
            </a:r>
            <a:r>
              <a:rPr lang="en-US" dirty="0">
                <a:latin typeface="+mn-lt"/>
                <a:cs typeface="Arial"/>
              </a:rPr>
              <a:t>t</a:t>
            </a:r>
            <a:r>
              <a:rPr lang="en-US" spc="4" dirty="0">
                <a:latin typeface="+mn-lt"/>
                <a:cs typeface="Arial"/>
              </a:rPr>
              <a:t>e</a:t>
            </a:r>
            <a:r>
              <a:rPr lang="en-US" spc="-4" dirty="0">
                <a:latin typeface="+mn-lt"/>
                <a:cs typeface="Arial"/>
              </a:rPr>
              <a:t>r</a:t>
            </a:r>
            <a:r>
              <a:rPr lang="en-US" spc="4" dirty="0">
                <a:latin typeface="+mn-lt"/>
                <a:cs typeface="Arial"/>
              </a:rPr>
              <a:t>m</a:t>
            </a:r>
            <a:r>
              <a:rPr lang="en-US" dirty="0">
                <a:latin typeface="+mn-lt"/>
                <a:cs typeface="Arial"/>
              </a:rPr>
              <a:t>ines</a:t>
            </a:r>
            <a:r>
              <a:rPr lang="en-US" spc="-44" dirty="0">
                <a:latin typeface="+mn-lt"/>
                <a:cs typeface="Arial"/>
              </a:rPr>
              <a:t> </a:t>
            </a:r>
            <a:r>
              <a:rPr lang="en-US" dirty="0">
                <a:latin typeface="+mn-lt"/>
                <a:cs typeface="Arial"/>
              </a:rPr>
              <a:t>d</a:t>
            </a:r>
            <a:r>
              <a:rPr lang="en-US" spc="4" dirty="0">
                <a:latin typeface="+mn-lt"/>
                <a:cs typeface="Arial"/>
              </a:rPr>
              <a:t>o</a:t>
            </a:r>
            <a:r>
              <a:rPr lang="en-US" dirty="0">
                <a:latin typeface="+mn-lt"/>
                <a:cs typeface="Arial"/>
              </a:rPr>
              <a:t>cu</a:t>
            </a:r>
            <a:r>
              <a:rPr lang="en-US" spc="4" dirty="0">
                <a:latin typeface="+mn-lt"/>
                <a:cs typeface="Arial"/>
              </a:rPr>
              <a:t>m</a:t>
            </a:r>
            <a:r>
              <a:rPr lang="en-US" dirty="0">
                <a:latin typeface="+mn-lt"/>
                <a:cs typeface="Arial"/>
              </a:rPr>
              <a:t>e</a:t>
            </a:r>
            <a:r>
              <a:rPr lang="en-US" spc="-4" dirty="0">
                <a:latin typeface="+mn-lt"/>
                <a:cs typeface="Arial"/>
              </a:rPr>
              <a:t>n</a:t>
            </a:r>
            <a:r>
              <a:rPr lang="en-US" dirty="0">
                <a:latin typeface="+mn-lt"/>
                <a:cs typeface="Arial"/>
              </a:rPr>
              <a:t>t</a:t>
            </a:r>
            <a:r>
              <a:rPr lang="en-US" spc="-44" dirty="0">
                <a:latin typeface="+mn-lt"/>
                <a:cs typeface="Arial"/>
              </a:rPr>
              <a:t> </a:t>
            </a:r>
            <a:r>
              <a:rPr lang="en-US" dirty="0">
                <a:latin typeface="+mn-lt"/>
                <a:cs typeface="Arial"/>
              </a:rPr>
              <a:t>t</a:t>
            </a:r>
            <a:r>
              <a:rPr lang="en-US" spc="-9" dirty="0">
                <a:latin typeface="+mn-lt"/>
                <a:cs typeface="Arial"/>
              </a:rPr>
              <a:t>y</a:t>
            </a:r>
            <a:r>
              <a:rPr lang="en-US" dirty="0">
                <a:latin typeface="+mn-lt"/>
                <a:cs typeface="Arial"/>
              </a:rPr>
              <a:t>pe</a:t>
            </a:r>
            <a:r>
              <a:rPr lang="en-US" spc="9" dirty="0">
                <a:latin typeface="+mn-lt"/>
                <a:cs typeface="Arial"/>
              </a:rPr>
              <a:t> </a:t>
            </a:r>
            <a:r>
              <a:rPr lang="en-US" dirty="0">
                <a:latin typeface="+mn-lt"/>
                <a:cs typeface="Arial"/>
              </a:rPr>
              <a:t>‘ RV ‘.</a:t>
            </a:r>
          </a:p>
          <a:p>
            <a:endParaRPr lang="en-US" dirty="0"/>
          </a:p>
        </p:txBody>
      </p:sp>
    </p:spTree>
    <p:extLst>
      <p:ext uri="{BB962C8B-B14F-4D97-AF65-F5344CB8AC3E}">
        <p14:creationId xmlns:p14="http://schemas.microsoft.com/office/powerpoint/2010/main" val="19850089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981200" y="1752601"/>
            <a:ext cx="8610600" cy="2215991"/>
          </a:xfrm>
          <a:prstGeom prst="rect">
            <a:avLst/>
          </a:prstGeom>
          <a:noFill/>
        </p:spPr>
        <p:txBody>
          <a:bodyPr wrap="square" rtlCol="0">
            <a:spAutoFit/>
          </a:bodyPr>
          <a:lstStyle/>
          <a:p>
            <a:pPr marL="285750" indent="-285750" defTabSz="685800">
              <a:spcBef>
                <a:spcPts val="900"/>
              </a:spcBef>
              <a:buClr>
                <a:srgbClr val="00B0F0"/>
              </a:buClr>
              <a:buFont typeface="Wingdings" panose="05000000000000000000" pitchFamily="2" charset="2"/>
              <a:buChar char="§"/>
            </a:pPr>
            <a:r>
              <a:rPr lang="en-US" sz="1500" spc="4" dirty="0">
                <a:cs typeface="Arial"/>
              </a:rPr>
              <a:t>Following are the tables used related to Billing :</a:t>
            </a:r>
          </a:p>
          <a:p>
            <a:pPr marL="285750" lvl="1" indent="-285750" defTabSz="685800">
              <a:spcBef>
                <a:spcPts val="900"/>
              </a:spcBef>
              <a:buClr>
                <a:srgbClr val="C00000"/>
              </a:buClr>
              <a:buFont typeface="Wingdings" panose="05000000000000000000" pitchFamily="2" charset="2"/>
              <a:buChar char="§"/>
            </a:pPr>
            <a:r>
              <a:rPr lang="en-US" sz="1500" spc="4" dirty="0">
                <a:cs typeface="Arial"/>
              </a:rPr>
              <a:t>VBRK: Billing Document Header Data</a:t>
            </a:r>
          </a:p>
          <a:p>
            <a:pPr marL="285750" lvl="1" indent="-285750" defTabSz="685800">
              <a:spcBef>
                <a:spcPts val="900"/>
              </a:spcBef>
              <a:buClr>
                <a:srgbClr val="C00000"/>
              </a:buClr>
              <a:buFont typeface="Wingdings" panose="05000000000000000000" pitchFamily="2" charset="2"/>
              <a:buChar char="§"/>
            </a:pPr>
            <a:r>
              <a:rPr lang="en-US" sz="1500" spc="4" dirty="0">
                <a:cs typeface="Arial"/>
              </a:rPr>
              <a:t>VBRP: Billing Document Item Data</a:t>
            </a:r>
          </a:p>
          <a:p>
            <a:pPr marL="285750" lvl="1" indent="-285750" defTabSz="685800">
              <a:spcBef>
                <a:spcPts val="900"/>
              </a:spcBef>
              <a:buClr>
                <a:srgbClr val="C00000"/>
              </a:buClr>
              <a:buFont typeface="Wingdings" panose="05000000000000000000" pitchFamily="2" charset="2"/>
              <a:buChar char="§"/>
            </a:pPr>
            <a:r>
              <a:rPr lang="en-US" sz="1500" spc="4" dirty="0">
                <a:cs typeface="Arial"/>
              </a:rPr>
              <a:t>VBFA: Sales Document Flow</a:t>
            </a:r>
          </a:p>
          <a:p>
            <a:pPr marL="285750" indent="-285750" defTabSz="685800">
              <a:spcBef>
                <a:spcPts val="900"/>
              </a:spcBef>
              <a:buClr>
                <a:srgbClr val="00B0F0"/>
              </a:buClr>
              <a:buFont typeface="Wingdings" panose="05000000000000000000" pitchFamily="2" charset="2"/>
              <a:buChar char="§"/>
            </a:pPr>
            <a:r>
              <a:rPr lang="en-US" sz="1500" spc="4" dirty="0">
                <a:cs typeface="Arial"/>
              </a:rPr>
              <a:t>You can restrict to maximum number of items to be printed on invoice within a given sales organization (by maintaining country specific features)</a:t>
            </a:r>
          </a:p>
          <a:p>
            <a:endParaRPr lang="en-US" dirty="0"/>
          </a:p>
        </p:txBody>
      </p:sp>
      <p:sp>
        <p:nvSpPr>
          <p:cNvPr id="2" name="Title 1"/>
          <p:cNvSpPr>
            <a:spLocks noGrp="1"/>
          </p:cNvSpPr>
          <p:nvPr>
            <p:ph type="title"/>
          </p:nvPr>
        </p:nvSpPr>
        <p:spPr/>
        <p:txBody>
          <a:bodyPr/>
          <a:lstStyle/>
          <a:p>
            <a:r>
              <a:rPr lang="en-US" sz="2400" dirty="0">
                <a:latin typeface="+mn-lt"/>
                <a:cs typeface="Arial" panose="020B0604020202020204" pitchFamily="34" charset="0"/>
              </a:rPr>
              <a:t>Additional Info</a:t>
            </a:r>
            <a:br>
              <a:rPr lang="en-US" sz="2800" b="1" dirty="0">
                <a:latin typeface="Arial" panose="020B0604020202020204" pitchFamily="34" charset="0"/>
                <a:cs typeface="Arial" panose="020B0604020202020204" pitchFamily="34" charset="0"/>
              </a:rPr>
            </a:b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CEC09-3507-4F37-860C-FCF8739F6BEA}"/>
              </a:ext>
            </a:extLst>
          </p:cNvPr>
          <p:cNvSpPr>
            <a:spLocks noGrp="1"/>
          </p:cNvSpPr>
          <p:nvPr>
            <p:ph type="title"/>
          </p:nvPr>
        </p:nvSpPr>
        <p:spPr/>
        <p:txBody>
          <a:bodyPr/>
          <a:lstStyle/>
          <a:p>
            <a:r>
              <a:rPr lang="en-US" dirty="0"/>
              <a:t>Billing Process Overview</a:t>
            </a:r>
          </a:p>
        </p:txBody>
      </p:sp>
      <p:sp>
        <p:nvSpPr>
          <p:cNvPr id="4" name="Text Placeholder 3">
            <a:extLst>
              <a:ext uri="{FF2B5EF4-FFF2-40B4-BE49-F238E27FC236}">
                <a16:creationId xmlns:a16="http://schemas.microsoft.com/office/drawing/2014/main" id="{A85F9E16-AE7A-4615-A1A1-F69597C8BD44}"/>
              </a:ext>
            </a:extLst>
          </p:cNvPr>
          <p:cNvSpPr>
            <a:spLocks noGrp="1"/>
          </p:cNvSpPr>
          <p:nvPr>
            <p:ph type="body" sz="quarter" idx="10"/>
          </p:nvPr>
        </p:nvSpPr>
        <p:spPr>
          <a:xfrm>
            <a:off x="227350" y="838200"/>
            <a:ext cx="5985000" cy="5299800"/>
          </a:xfrm>
        </p:spPr>
        <p:txBody>
          <a:bodyPr/>
          <a:lstStyle/>
          <a:p>
            <a:pPr marL="285750" indent="-285750" fontAlgn="base">
              <a:buFont typeface="Wingdings" panose="05000000000000000000" pitchFamily="2" charset="2"/>
              <a:buChar char="§"/>
            </a:pPr>
            <a:r>
              <a:rPr lang="en-US" dirty="0"/>
              <a:t>A Billing Document is a commercial and legal  document issued by a seller to a buyer, indicating quantities and agreed prices for products or services​</a:t>
            </a:r>
          </a:p>
          <a:p>
            <a:pPr marL="285750" indent="-285750" fontAlgn="base">
              <a:buFont typeface="Wingdings" panose="05000000000000000000" pitchFamily="2" charset="2"/>
              <a:buChar char="§"/>
            </a:pPr>
            <a:endParaRPr lang="en-US" dirty="0"/>
          </a:p>
          <a:p>
            <a:pPr marL="285750" indent="-285750" fontAlgn="base">
              <a:buFont typeface="Wingdings" panose="05000000000000000000" pitchFamily="2" charset="2"/>
              <a:buChar char="§"/>
            </a:pPr>
            <a:r>
              <a:rPr lang="en-US" dirty="0"/>
              <a:t>A billing document in most cases (except in cancellations and special cases) indicates that the payment is due by the buyer to the seller, according to the agreed terms. A Billing Document is represented in SAP as  Billing type. Specific functions can be defined for each billing document type​</a:t>
            </a:r>
          </a:p>
          <a:p>
            <a:pPr marL="285750" indent="-285750" fontAlgn="base">
              <a:buFont typeface="Wingdings" panose="05000000000000000000" pitchFamily="2" charset="2"/>
              <a:buChar char="§"/>
            </a:pPr>
            <a:endParaRPr lang="en-US" dirty="0"/>
          </a:p>
          <a:p>
            <a:pPr marL="285750" indent="-285750" fontAlgn="base">
              <a:buFont typeface="Wingdings" panose="05000000000000000000" pitchFamily="2" charset="2"/>
              <a:buChar char="§"/>
            </a:pPr>
            <a:r>
              <a:rPr lang="en-US" dirty="0"/>
              <a:t>SAP provides many types of billing documents to cater to different business needs. Some examples are:​</a:t>
            </a:r>
          </a:p>
          <a:p>
            <a:pPr marL="285750" indent="-285750" fontAlgn="base">
              <a:buFont typeface="Wingdings" panose="05000000000000000000" pitchFamily="2" charset="2"/>
              <a:buChar char="§"/>
            </a:pPr>
            <a:endParaRPr lang="en-US" dirty="0"/>
          </a:p>
          <a:p>
            <a:pPr marL="285750" indent="-285750" fontAlgn="base">
              <a:buFont typeface="Arial" panose="020B0604020202020204" pitchFamily="34" charset="0"/>
              <a:buChar char="•"/>
            </a:pPr>
            <a:r>
              <a:rPr lang="en-US" dirty="0"/>
              <a:t>Standard, Credit Memo, Debit Memo, Pro forma invoice for sales order, Pro forma invoice for delivery, Cancellation invoice etc.​</a:t>
            </a:r>
          </a:p>
          <a:p>
            <a:endParaRPr lang="en-US" dirty="0"/>
          </a:p>
        </p:txBody>
      </p:sp>
      <p:graphicFrame>
        <p:nvGraphicFramePr>
          <p:cNvPr id="6" name="Diagram 5">
            <a:extLst>
              <a:ext uri="{FF2B5EF4-FFF2-40B4-BE49-F238E27FC236}">
                <a16:creationId xmlns:a16="http://schemas.microsoft.com/office/drawing/2014/main" id="{8A7C2354-7F94-42B2-8617-A810EFFAD6DC}"/>
              </a:ext>
            </a:extLst>
          </p:cNvPr>
          <p:cNvGraphicFramePr/>
          <p:nvPr>
            <p:extLst>
              <p:ext uri="{D42A27DB-BD31-4B8C-83A1-F6EECF244321}">
                <p14:modId xmlns:p14="http://schemas.microsoft.com/office/powerpoint/2010/main" val="3438866913"/>
              </p:ext>
            </p:extLst>
          </p:nvPr>
        </p:nvGraphicFramePr>
        <p:xfrm>
          <a:off x="5562600" y="1066800"/>
          <a:ext cx="6858000" cy="4346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68890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213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rpose</a:t>
            </a:r>
          </a:p>
        </p:txBody>
      </p:sp>
      <p:sp>
        <p:nvSpPr>
          <p:cNvPr id="3" name="Content Placeholder 2"/>
          <p:cNvSpPr>
            <a:spLocks noGrp="1"/>
          </p:cNvSpPr>
          <p:nvPr>
            <p:ph type="body" sz="quarter" idx="10"/>
          </p:nvPr>
        </p:nvSpPr>
        <p:spPr>
          <a:prstGeom prst="rect">
            <a:avLst/>
          </a:prstGeom>
        </p:spPr>
        <p:txBody>
          <a:bodyPr>
            <a:normAutofit/>
          </a:bodyPr>
          <a:lstStyle/>
          <a:p>
            <a:pPr marL="298450" indent="-285750">
              <a:spcBef>
                <a:spcPts val="86"/>
              </a:spcBef>
              <a:buFont typeface="Wingdings" panose="05000000000000000000" pitchFamily="2" charset="2"/>
              <a:buChar char="§"/>
            </a:pPr>
            <a:r>
              <a:rPr lang="en-US" dirty="0">
                <a:latin typeface="+mn-lt"/>
                <a:cs typeface="Arial"/>
              </a:rPr>
              <a:t>I</a:t>
            </a:r>
            <a:r>
              <a:rPr lang="en-US" spc="-4" dirty="0">
                <a:latin typeface="+mn-lt"/>
                <a:cs typeface="Arial"/>
              </a:rPr>
              <a:t>n</a:t>
            </a:r>
            <a:r>
              <a:rPr lang="en-US" spc="-34" dirty="0">
                <a:latin typeface="+mn-lt"/>
                <a:cs typeface="Arial"/>
              </a:rPr>
              <a:t>v</a:t>
            </a:r>
            <a:r>
              <a:rPr lang="en-US" dirty="0">
                <a:latin typeface="+mn-lt"/>
                <a:cs typeface="Arial"/>
              </a:rPr>
              <a:t>o</a:t>
            </a:r>
            <a:r>
              <a:rPr lang="en-US" spc="-4" dirty="0">
                <a:latin typeface="+mn-lt"/>
                <a:cs typeface="Arial"/>
              </a:rPr>
              <a:t>i</a:t>
            </a:r>
            <a:r>
              <a:rPr lang="en-US" dirty="0">
                <a:latin typeface="+mn-lt"/>
                <a:cs typeface="Arial"/>
              </a:rPr>
              <a:t>ces</a:t>
            </a:r>
            <a:r>
              <a:rPr lang="en-US" spc="-3" dirty="0">
                <a:latin typeface="+mn-lt"/>
                <a:cs typeface="Arial"/>
              </a:rPr>
              <a:t> </a:t>
            </a:r>
            <a:r>
              <a:rPr lang="en-US" dirty="0">
                <a:latin typeface="+mn-lt"/>
                <a:cs typeface="Arial"/>
              </a:rPr>
              <a:t>are</a:t>
            </a:r>
            <a:r>
              <a:rPr lang="en-US" spc="-23" dirty="0">
                <a:latin typeface="+mn-lt"/>
                <a:cs typeface="Arial"/>
              </a:rPr>
              <a:t> </a:t>
            </a:r>
            <a:r>
              <a:rPr lang="en-US" dirty="0">
                <a:latin typeface="+mn-lt"/>
                <a:cs typeface="Arial"/>
              </a:rPr>
              <a:t>tra</a:t>
            </a:r>
            <a:r>
              <a:rPr lang="en-US" spc="-4" dirty="0">
                <a:latin typeface="+mn-lt"/>
                <a:cs typeface="Arial"/>
              </a:rPr>
              <a:t>n</a:t>
            </a:r>
            <a:r>
              <a:rPr lang="en-US" dirty="0">
                <a:latin typeface="+mn-lt"/>
                <a:cs typeface="Arial"/>
              </a:rPr>
              <a:t>sac</a:t>
            </a:r>
            <a:r>
              <a:rPr lang="en-US" spc="-4" dirty="0">
                <a:latin typeface="+mn-lt"/>
                <a:cs typeface="Arial"/>
              </a:rPr>
              <a:t>t</a:t>
            </a:r>
            <a:r>
              <a:rPr lang="en-US" dirty="0">
                <a:latin typeface="+mn-lt"/>
                <a:cs typeface="Arial"/>
              </a:rPr>
              <a:t>i</a:t>
            </a:r>
            <a:r>
              <a:rPr lang="en-US" spc="-4" dirty="0">
                <a:latin typeface="+mn-lt"/>
                <a:cs typeface="Arial"/>
              </a:rPr>
              <a:t>o</a:t>
            </a:r>
            <a:r>
              <a:rPr lang="en-US" dirty="0">
                <a:latin typeface="+mn-lt"/>
                <a:cs typeface="Arial"/>
              </a:rPr>
              <a:t>ns</a:t>
            </a:r>
            <a:r>
              <a:rPr lang="en-US" spc="-35" dirty="0">
                <a:latin typeface="+mn-lt"/>
                <a:cs typeface="Arial"/>
              </a:rPr>
              <a:t> </a:t>
            </a:r>
            <a:r>
              <a:rPr lang="en-US" dirty="0">
                <a:latin typeface="+mn-lt"/>
                <a:cs typeface="Arial"/>
              </a:rPr>
              <a:t>si</a:t>
            </a:r>
            <a:r>
              <a:rPr lang="en-US" spc="-4" dirty="0">
                <a:latin typeface="+mn-lt"/>
                <a:cs typeface="Arial"/>
              </a:rPr>
              <a:t>g</a:t>
            </a:r>
            <a:r>
              <a:rPr lang="en-US" dirty="0">
                <a:latin typeface="+mn-lt"/>
                <a:cs typeface="Arial"/>
              </a:rPr>
              <a:t>n</a:t>
            </a:r>
            <a:r>
              <a:rPr lang="en-US" spc="-4" dirty="0">
                <a:latin typeface="+mn-lt"/>
                <a:cs typeface="Arial"/>
              </a:rPr>
              <a:t>i</a:t>
            </a:r>
            <a:r>
              <a:rPr lang="en-US" spc="4" dirty="0">
                <a:latin typeface="+mn-lt"/>
                <a:cs typeface="Arial"/>
              </a:rPr>
              <a:t>f</a:t>
            </a:r>
            <a:r>
              <a:rPr lang="en-US" spc="-34" dirty="0">
                <a:latin typeface="+mn-lt"/>
                <a:cs typeface="Arial"/>
              </a:rPr>
              <a:t>y</a:t>
            </a:r>
            <a:r>
              <a:rPr lang="en-US" spc="9" dirty="0">
                <a:latin typeface="+mn-lt"/>
                <a:cs typeface="Arial"/>
              </a:rPr>
              <a:t>i</a:t>
            </a:r>
            <a:r>
              <a:rPr lang="en-US" dirty="0">
                <a:latin typeface="+mn-lt"/>
                <a:cs typeface="Arial"/>
              </a:rPr>
              <a:t>ng</a:t>
            </a:r>
            <a:r>
              <a:rPr lang="en-US" spc="25" dirty="0">
                <a:latin typeface="+mn-lt"/>
                <a:cs typeface="Arial"/>
              </a:rPr>
              <a:t> </a:t>
            </a:r>
            <a:r>
              <a:rPr lang="en-US" dirty="0">
                <a:latin typeface="+mn-lt"/>
                <a:cs typeface="Arial"/>
              </a:rPr>
              <a:t>a p</a:t>
            </a:r>
            <a:r>
              <a:rPr lang="en-US" spc="-4" dirty="0">
                <a:latin typeface="+mn-lt"/>
                <a:cs typeface="Arial"/>
              </a:rPr>
              <a:t>a</a:t>
            </a:r>
            <a:r>
              <a:rPr lang="en-US" spc="-34" dirty="0">
                <a:latin typeface="+mn-lt"/>
                <a:cs typeface="Arial"/>
              </a:rPr>
              <a:t>y</a:t>
            </a:r>
            <a:r>
              <a:rPr lang="en-US" spc="-4" dirty="0">
                <a:latin typeface="+mn-lt"/>
                <a:cs typeface="Arial"/>
              </a:rPr>
              <a:t>m</a:t>
            </a:r>
            <a:r>
              <a:rPr lang="en-US" dirty="0">
                <a:latin typeface="+mn-lt"/>
                <a:cs typeface="Arial"/>
              </a:rPr>
              <a:t>e</a:t>
            </a:r>
            <a:r>
              <a:rPr lang="en-US" spc="4" dirty="0">
                <a:latin typeface="+mn-lt"/>
                <a:cs typeface="Arial"/>
              </a:rPr>
              <a:t>n</a:t>
            </a:r>
            <a:r>
              <a:rPr lang="en-US" dirty="0">
                <a:latin typeface="+mn-lt"/>
                <a:cs typeface="Arial"/>
              </a:rPr>
              <a:t>t</a:t>
            </a:r>
            <a:r>
              <a:rPr lang="en-US" spc="-20" dirty="0">
                <a:latin typeface="+mn-lt"/>
                <a:cs typeface="Arial"/>
              </a:rPr>
              <a:t> </a:t>
            </a:r>
            <a:r>
              <a:rPr lang="en-US" dirty="0">
                <a:latin typeface="+mn-lt"/>
                <a:cs typeface="Arial"/>
              </a:rPr>
              <a:t>t</a:t>
            </a:r>
            <a:r>
              <a:rPr lang="en-US" spc="-9" dirty="0">
                <a:latin typeface="+mn-lt"/>
                <a:cs typeface="Arial"/>
              </a:rPr>
              <a:t>h</a:t>
            </a:r>
            <a:r>
              <a:rPr lang="en-US" dirty="0">
                <a:latin typeface="+mn-lt"/>
                <a:cs typeface="Arial"/>
              </a:rPr>
              <a:t>at</a:t>
            </a:r>
            <a:r>
              <a:rPr lang="en-US" spc="5" dirty="0">
                <a:latin typeface="+mn-lt"/>
                <a:cs typeface="Arial"/>
              </a:rPr>
              <a:t> </a:t>
            </a:r>
            <a:r>
              <a:rPr lang="en-US" spc="-34" dirty="0">
                <a:latin typeface="+mn-lt"/>
                <a:cs typeface="Arial"/>
              </a:rPr>
              <a:t>y</a:t>
            </a:r>
            <a:r>
              <a:rPr lang="en-US" dirty="0">
                <a:latin typeface="+mn-lt"/>
                <a:cs typeface="Arial"/>
              </a:rPr>
              <a:t>o</a:t>
            </a:r>
            <a:r>
              <a:rPr lang="en-US" spc="-9" dirty="0">
                <a:latin typeface="+mn-lt"/>
                <a:cs typeface="Arial"/>
              </a:rPr>
              <a:t>u</a:t>
            </a:r>
            <a:r>
              <a:rPr lang="en-US" dirty="0">
                <a:latin typeface="+mn-lt"/>
                <a:cs typeface="Arial"/>
              </a:rPr>
              <a:t>r</a:t>
            </a:r>
            <a:r>
              <a:rPr lang="en-US" spc="34" dirty="0">
                <a:latin typeface="+mn-lt"/>
                <a:cs typeface="Arial"/>
              </a:rPr>
              <a:t> </a:t>
            </a:r>
            <a:r>
              <a:rPr lang="en-US" dirty="0">
                <a:latin typeface="+mn-lt"/>
                <a:cs typeface="Arial"/>
              </a:rPr>
              <a:t>C</a:t>
            </a:r>
            <a:r>
              <a:rPr lang="en-US" spc="-4" dirty="0">
                <a:latin typeface="+mn-lt"/>
                <a:cs typeface="Arial"/>
              </a:rPr>
              <a:t>u</a:t>
            </a:r>
            <a:r>
              <a:rPr lang="en-US" dirty="0">
                <a:latin typeface="+mn-lt"/>
                <a:cs typeface="Arial"/>
              </a:rPr>
              <a:t>s</a:t>
            </a:r>
            <a:r>
              <a:rPr lang="en-US" spc="-4" dirty="0">
                <a:latin typeface="+mn-lt"/>
                <a:cs typeface="Arial"/>
              </a:rPr>
              <a:t>t</a:t>
            </a:r>
            <a:r>
              <a:rPr lang="en-US" dirty="0">
                <a:latin typeface="+mn-lt"/>
                <a:cs typeface="Arial"/>
              </a:rPr>
              <a:t>o</a:t>
            </a:r>
            <a:r>
              <a:rPr lang="en-US" spc="-9" dirty="0">
                <a:latin typeface="+mn-lt"/>
                <a:cs typeface="Arial"/>
              </a:rPr>
              <a:t>m</a:t>
            </a:r>
            <a:r>
              <a:rPr lang="en-US" dirty="0">
                <a:latin typeface="+mn-lt"/>
                <a:cs typeface="Arial"/>
              </a:rPr>
              <a:t>er</a:t>
            </a:r>
            <a:r>
              <a:rPr lang="en-US" spc="-39" dirty="0">
                <a:latin typeface="+mn-lt"/>
                <a:cs typeface="Arial"/>
              </a:rPr>
              <a:t> </a:t>
            </a:r>
            <a:r>
              <a:rPr lang="en-US" dirty="0">
                <a:latin typeface="+mn-lt"/>
                <a:cs typeface="Arial"/>
              </a:rPr>
              <a:t>o</a:t>
            </a:r>
            <a:r>
              <a:rPr lang="en-US" spc="34" dirty="0">
                <a:latin typeface="+mn-lt"/>
                <a:cs typeface="Arial"/>
              </a:rPr>
              <a:t>w</a:t>
            </a:r>
            <a:r>
              <a:rPr lang="en-US" dirty="0">
                <a:latin typeface="+mn-lt"/>
                <a:cs typeface="Arial"/>
              </a:rPr>
              <a:t>es</a:t>
            </a:r>
            <a:r>
              <a:rPr lang="en-US" spc="-42" dirty="0">
                <a:latin typeface="+mn-lt"/>
                <a:cs typeface="Arial"/>
              </a:rPr>
              <a:t> </a:t>
            </a:r>
            <a:r>
              <a:rPr lang="en-US" spc="-34" dirty="0">
                <a:latin typeface="+mn-lt"/>
                <a:cs typeface="Arial"/>
              </a:rPr>
              <a:t>y</a:t>
            </a:r>
            <a:r>
              <a:rPr lang="en-US" dirty="0">
                <a:latin typeface="+mn-lt"/>
                <a:cs typeface="Arial"/>
              </a:rPr>
              <a:t>o</a:t>
            </a:r>
            <a:r>
              <a:rPr lang="en-US" spc="-9" dirty="0">
                <a:latin typeface="+mn-lt"/>
                <a:cs typeface="Arial"/>
              </a:rPr>
              <a:t>u</a:t>
            </a:r>
            <a:r>
              <a:rPr lang="en-US" dirty="0">
                <a:latin typeface="+mn-lt"/>
                <a:cs typeface="Arial"/>
              </a:rPr>
              <a:t>.</a:t>
            </a:r>
            <a:r>
              <a:rPr lang="en-US" spc="41" dirty="0">
                <a:latin typeface="+mn-lt"/>
                <a:cs typeface="Arial"/>
              </a:rPr>
              <a:t> </a:t>
            </a:r>
            <a:r>
              <a:rPr lang="en-US" dirty="0">
                <a:latin typeface="+mn-lt"/>
                <a:cs typeface="Arial"/>
              </a:rPr>
              <a:t>T</a:t>
            </a:r>
            <a:r>
              <a:rPr lang="en-US" spc="-9" dirty="0">
                <a:latin typeface="+mn-lt"/>
                <a:cs typeface="Arial"/>
              </a:rPr>
              <a:t>h</a:t>
            </a:r>
            <a:r>
              <a:rPr lang="en-US" dirty="0">
                <a:latin typeface="+mn-lt"/>
                <a:cs typeface="Arial"/>
              </a:rPr>
              <a:t>e in</a:t>
            </a:r>
            <a:r>
              <a:rPr lang="en-US" spc="-39" dirty="0">
                <a:latin typeface="+mn-lt"/>
                <a:cs typeface="Arial"/>
              </a:rPr>
              <a:t>v</a:t>
            </a:r>
            <a:r>
              <a:rPr lang="en-US" dirty="0">
                <a:latin typeface="+mn-lt"/>
                <a:cs typeface="Arial"/>
              </a:rPr>
              <a:t>oice</a:t>
            </a:r>
            <a:r>
              <a:rPr lang="en-US" spc="-10" dirty="0">
                <a:latin typeface="+mn-lt"/>
                <a:cs typeface="Arial"/>
              </a:rPr>
              <a:t> </a:t>
            </a:r>
            <a:r>
              <a:rPr lang="en-US" dirty="0">
                <a:latin typeface="+mn-lt"/>
                <a:cs typeface="Arial"/>
              </a:rPr>
              <a:t>may</a:t>
            </a:r>
            <a:r>
              <a:rPr lang="en-US" spc="-21" dirty="0">
                <a:latin typeface="+mn-lt"/>
                <a:cs typeface="Arial"/>
              </a:rPr>
              <a:t> </a:t>
            </a:r>
            <a:r>
              <a:rPr lang="en-US" dirty="0">
                <a:latin typeface="+mn-lt"/>
                <a:cs typeface="Arial"/>
              </a:rPr>
              <a:t>be</a:t>
            </a:r>
            <a:r>
              <a:rPr lang="en-US" spc="-8" dirty="0">
                <a:latin typeface="+mn-lt"/>
                <a:cs typeface="Arial"/>
              </a:rPr>
              <a:t> </a:t>
            </a:r>
            <a:r>
              <a:rPr lang="en-US" dirty="0">
                <a:latin typeface="+mn-lt"/>
                <a:cs typeface="Arial"/>
              </a:rPr>
              <a:t>at</a:t>
            </a:r>
            <a:r>
              <a:rPr lang="en-US" spc="-4" dirty="0">
                <a:latin typeface="+mn-lt"/>
                <a:cs typeface="Arial"/>
              </a:rPr>
              <a:t>t</a:t>
            </a:r>
            <a:r>
              <a:rPr lang="en-US" dirty="0">
                <a:latin typeface="+mn-lt"/>
                <a:cs typeface="Arial"/>
              </a:rPr>
              <a:t>ached</a:t>
            </a:r>
            <a:r>
              <a:rPr lang="en-US" spc="-45" dirty="0">
                <a:latin typeface="+mn-lt"/>
                <a:cs typeface="Arial"/>
              </a:rPr>
              <a:t> </a:t>
            </a:r>
            <a:r>
              <a:rPr lang="en-US" dirty="0">
                <a:latin typeface="+mn-lt"/>
                <a:cs typeface="Arial"/>
              </a:rPr>
              <a:t>to t</a:t>
            </a:r>
            <a:r>
              <a:rPr lang="en-US" spc="-4" dirty="0">
                <a:latin typeface="+mn-lt"/>
                <a:cs typeface="Arial"/>
              </a:rPr>
              <a:t>h</a:t>
            </a:r>
            <a:r>
              <a:rPr lang="en-US" dirty="0">
                <a:latin typeface="+mn-lt"/>
                <a:cs typeface="Arial"/>
              </a:rPr>
              <a:t>e</a:t>
            </a:r>
            <a:r>
              <a:rPr lang="en-US" spc="-13" dirty="0">
                <a:latin typeface="+mn-lt"/>
                <a:cs typeface="Arial"/>
              </a:rPr>
              <a:t> </a:t>
            </a:r>
            <a:r>
              <a:rPr lang="en-US" dirty="0">
                <a:latin typeface="+mn-lt"/>
                <a:cs typeface="Arial"/>
              </a:rPr>
              <a:t>g</a:t>
            </a:r>
            <a:r>
              <a:rPr lang="en-US" spc="-4" dirty="0">
                <a:latin typeface="+mn-lt"/>
                <a:cs typeface="Arial"/>
              </a:rPr>
              <a:t>o</a:t>
            </a:r>
            <a:r>
              <a:rPr lang="en-US" dirty="0">
                <a:latin typeface="+mn-lt"/>
                <a:cs typeface="Arial"/>
              </a:rPr>
              <a:t>o</a:t>
            </a:r>
            <a:r>
              <a:rPr lang="en-US" spc="-4" dirty="0">
                <a:latin typeface="+mn-lt"/>
                <a:cs typeface="Arial"/>
              </a:rPr>
              <a:t>d</a:t>
            </a:r>
            <a:r>
              <a:rPr lang="en-US" dirty="0">
                <a:latin typeface="+mn-lt"/>
                <a:cs typeface="Arial"/>
              </a:rPr>
              <a:t>s</a:t>
            </a:r>
            <a:r>
              <a:rPr lang="en-US" spc="-22" dirty="0">
                <a:latin typeface="+mn-lt"/>
                <a:cs typeface="Arial"/>
              </a:rPr>
              <a:t> </a:t>
            </a:r>
            <a:r>
              <a:rPr lang="en-US" spc="39" dirty="0">
                <a:latin typeface="+mn-lt"/>
                <a:cs typeface="Arial"/>
              </a:rPr>
              <a:t>w</a:t>
            </a:r>
            <a:r>
              <a:rPr lang="en-US" dirty="0">
                <a:latin typeface="+mn-lt"/>
                <a:cs typeface="Arial"/>
              </a:rPr>
              <a:t>hen</a:t>
            </a:r>
            <a:r>
              <a:rPr lang="en-US" spc="-70" dirty="0">
                <a:latin typeface="+mn-lt"/>
                <a:cs typeface="Arial"/>
              </a:rPr>
              <a:t> </a:t>
            </a:r>
            <a:r>
              <a:rPr lang="en-US" dirty="0">
                <a:latin typeface="+mn-lt"/>
                <a:cs typeface="Arial"/>
              </a:rPr>
              <a:t>sent</a:t>
            </a:r>
            <a:r>
              <a:rPr lang="en-US" spc="-27" dirty="0">
                <a:latin typeface="+mn-lt"/>
                <a:cs typeface="Arial"/>
              </a:rPr>
              <a:t> </a:t>
            </a:r>
            <a:r>
              <a:rPr lang="en-US" dirty="0">
                <a:latin typeface="+mn-lt"/>
                <a:cs typeface="Arial"/>
              </a:rPr>
              <a:t>or</a:t>
            </a:r>
            <a:r>
              <a:rPr lang="en-US" spc="-5" dirty="0">
                <a:latin typeface="+mn-lt"/>
                <a:cs typeface="Arial"/>
              </a:rPr>
              <a:t> </a:t>
            </a:r>
            <a:r>
              <a:rPr lang="en-US" dirty="0">
                <a:latin typeface="+mn-lt"/>
                <a:cs typeface="Arial"/>
              </a:rPr>
              <a:t>f</a:t>
            </a:r>
            <a:r>
              <a:rPr lang="en-US" spc="-4" dirty="0">
                <a:latin typeface="+mn-lt"/>
                <a:cs typeface="Arial"/>
              </a:rPr>
              <a:t>o</a:t>
            </a:r>
            <a:r>
              <a:rPr lang="en-US" dirty="0">
                <a:latin typeface="+mn-lt"/>
                <a:cs typeface="Arial"/>
              </a:rPr>
              <a:t>r</a:t>
            </a:r>
            <a:r>
              <a:rPr lang="en-US" spc="44" dirty="0">
                <a:latin typeface="+mn-lt"/>
                <a:cs typeface="Arial"/>
              </a:rPr>
              <a:t>w</a:t>
            </a:r>
            <a:r>
              <a:rPr lang="en-US" dirty="0">
                <a:latin typeface="+mn-lt"/>
                <a:cs typeface="Arial"/>
              </a:rPr>
              <a:t>arded</a:t>
            </a:r>
            <a:r>
              <a:rPr lang="en-US" spc="-92" dirty="0">
                <a:latin typeface="+mn-lt"/>
                <a:cs typeface="Arial"/>
              </a:rPr>
              <a:t> </a:t>
            </a:r>
            <a:r>
              <a:rPr lang="en-US" dirty="0">
                <a:latin typeface="+mn-lt"/>
                <a:cs typeface="Arial"/>
              </a:rPr>
              <a:t>separate</a:t>
            </a:r>
            <a:r>
              <a:rPr lang="en-US" spc="9" dirty="0">
                <a:latin typeface="+mn-lt"/>
                <a:cs typeface="Arial"/>
              </a:rPr>
              <a:t>l</a:t>
            </a:r>
            <a:r>
              <a:rPr lang="en-US" spc="-154" dirty="0">
                <a:latin typeface="+mn-lt"/>
                <a:cs typeface="Arial"/>
              </a:rPr>
              <a:t>y</a:t>
            </a:r>
          </a:p>
          <a:p>
            <a:pPr marL="298450" indent="-285750">
              <a:spcBef>
                <a:spcPts val="86"/>
              </a:spcBef>
              <a:buFont typeface="Wingdings" panose="05000000000000000000" pitchFamily="2" charset="2"/>
              <a:buChar char="§"/>
            </a:pPr>
            <a:endParaRPr lang="en-US" dirty="0">
              <a:latin typeface="+mn-lt"/>
              <a:cs typeface="Arial"/>
            </a:endParaRPr>
          </a:p>
          <a:p>
            <a:pPr marL="298450" indent="-285750">
              <a:spcBef>
                <a:spcPts val="86"/>
              </a:spcBef>
              <a:buFont typeface="Wingdings" panose="05000000000000000000" pitchFamily="2" charset="2"/>
              <a:buChar char="§"/>
            </a:pPr>
            <a:r>
              <a:rPr lang="en-US" spc="-50" dirty="0">
                <a:latin typeface="+mn-lt"/>
                <a:cs typeface="Arial"/>
              </a:rPr>
              <a:t>A</a:t>
            </a:r>
            <a:r>
              <a:rPr lang="en-US" dirty="0">
                <a:latin typeface="+mn-lt"/>
                <a:cs typeface="Arial"/>
              </a:rPr>
              <a:t>n</a:t>
            </a:r>
            <a:r>
              <a:rPr lang="en-US" spc="28" dirty="0">
                <a:latin typeface="+mn-lt"/>
                <a:cs typeface="Arial"/>
              </a:rPr>
              <a:t> </a:t>
            </a:r>
            <a:r>
              <a:rPr lang="en-US" dirty="0">
                <a:latin typeface="+mn-lt"/>
                <a:cs typeface="Arial"/>
              </a:rPr>
              <a:t>in</a:t>
            </a:r>
            <a:r>
              <a:rPr lang="en-US" spc="-39" dirty="0">
                <a:latin typeface="+mn-lt"/>
                <a:cs typeface="Arial"/>
              </a:rPr>
              <a:t>v</a:t>
            </a:r>
            <a:r>
              <a:rPr lang="en-US" spc="9" dirty="0">
                <a:latin typeface="+mn-lt"/>
                <a:cs typeface="Arial"/>
              </a:rPr>
              <a:t>o</a:t>
            </a:r>
            <a:r>
              <a:rPr lang="en-US" dirty="0">
                <a:latin typeface="+mn-lt"/>
                <a:cs typeface="Arial"/>
              </a:rPr>
              <a:t>ice</a:t>
            </a:r>
            <a:r>
              <a:rPr lang="en-US" spc="-4" dirty="0">
                <a:latin typeface="+mn-lt"/>
                <a:cs typeface="Arial"/>
              </a:rPr>
              <a:t> </a:t>
            </a:r>
            <a:r>
              <a:rPr lang="en-US" dirty="0">
                <a:latin typeface="+mn-lt"/>
                <a:cs typeface="Arial"/>
              </a:rPr>
              <a:t>is</a:t>
            </a:r>
            <a:r>
              <a:rPr lang="en-US" spc="-3" dirty="0">
                <a:latin typeface="+mn-lt"/>
                <a:cs typeface="Arial"/>
              </a:rPr>
              <a:t> </a:t>
            </a:r>
            <a:r>
              <a:rPr lang="en-US" dirty="0">
                <a:latin typeface="+mn-lt"/>
                <a:cs typeface="Arial"/>
              </a:rPr>
              <a:t>a</a:t>
            </a:r>
            <a:r>
              <a:rPr lang="en-US" spc="-8" dirty="0">
                <a:latin typeface="+mn-lt"/>
                <a:cs typeface="Arial"/>
              </a:rPr>
              <a:t> </a:t>
            </a:r>
            <a:r>
              <a:rPr lang="en-US" dirty="0">
                <a:latin typeface="+mn-lt"/>
                <a:cs typeface="Arial"/>
              </a:rPr>
              <a:t>com</a:t>
            </a:r>
            <a:r>
              <a:rPr lang="en-US" spc="-9" dirty="0">
                <a:latin typeface="+mn-lt"/>
                <a:cs typeface="Arial"/>
              </a:rPr>
              <a:t>m</a:t>
            </a:r>
            <a:r>
              <a:rPr lang="en-US" dirty="0">
                <a:latin typeface="+mn-lt"/>
                <a:cs typeface="Arial"/>
              </a:rPr>
              <a:t>erci</a:t>
            </a:r>
            <a:r>
              <a:rPr lang="en-US" spc="4" dirty="0">
                <a:latin typeface="+mn-lt"/>
                <a:cs typeface="Arial"/>
              </a:rPr>
              <a:t>a</a:t>
            </a:r>
            <a:r>
              <a:rPr lang="en-US" dirty="0">
                <a:latin typeface="+mn-lt"/>
                <a:cs typeface="Arial"/>
              </a:rPr>
              <a:t>l</a:t>
            </a:r>
            <a:r>
              <a:rPr lang="en-US" spc="-39" dirty="0">
                <a:latin typeface="+mn-lt"/>
                <a:cs typeface="Arial"/>
              </a:rPr>
              <a:t> </a:t>
            </a:r>
            <a:r>
              <a:rPr lang="en-US" dirty="0">
                <a:latin typeface="+mn-lt"/>
                <a:cs typeface="Arial"/>
              </a:rPr>
              <a:t>d</a:t>
            </a:r>
            <a:r>
              <a:rPr lang="en-US" spc="-4" dirty="0">
                <a:latin typeface="+mn-lt"/>
                <a:cs typeface="Arial"/>
              </a:rPr>
              <a:t>o</a:t>
            </a:r>
            <a:r>
              <a:rPr lang="en-US" dirty="0">
                <a:latin typeface="+mn-lt"/>
                <a:cs typeface="Arial"/>
              </a:rPr>
              <a:t>cu</a:t>
            </a:r>
            <a:r>
              <a:rPr lang="en-US" spc="-4" dirty="0">
                <a:latin typeface="+mn-lt"/>
                <a:cs typeface="Arial"/>
              </a:rPr>
              <a:t>m</a:t>
            </a:r>
            <a:r>
              <a:rPr lang="en-US" dirty="0">
                <a:latin typeface="+mn-lt"/>
                <a:cs typeface="Arial"/>
              </a:rPr>
              <a:t>ent</a:t>
            </a:r>
            <a:r>
              <a:rPr lang="en-US" spc="-46" dirty="0">
                <a:latin typeface="+mn-lt"/>
                <a:cs typeface="Arial"/>
              </a:rPr>
              <a:t> </a:t>
            </a:r>
            <a:r>
              <a:rPr lang="en-US" dirty="0">
                <a:latin typeface="+mn-lt"/>
                <a:cs typeface="Arial"/>
              </a:rPr>
              <a:t>issued</a:t>
            </a:r>
            <a:r>
              <a:rPr lang="en-US" spc="-45" dirty="0">
                <a:latin typeface="+mn-lt"/>
                <a:cs typeface="Arial"/>
              </a:rPr>
              <a:t> </a:t>
            </a:r>
            <a:r>
              <a:rPr lang="en-US" dirty="0">
                <a:latin typeface="+mn-lt"/>
                <a:cs typeface="Arial"/>
              </a:rPr>
              <a:t>by</a:t>
            </a:r>
            <a:r>
              <a:rPr lang="en-US" spc="-8" dirty="0">
                <a:latin typeface="+mn-lt"/>
                <a:cs typeface="Arial"/>
              </a:rPr>
              <a:t> </a:t>
            </a:r>
            <a:r>
              <a:rPr lang="en-US" dirty="0">
                <a:latin typeface="+mn-lt"/>
                <a:cs typeface="Arial"/>
              </a:rPr>
              <a:t>a</a:t>
            </a:r>
            <a:r>
              <a:rPr lang="en-US" spc="10" dirty="0">
                <a:latin typeface="+mn-lt"/>
                <a:cs typeface="Arial"/>
              </a:rPr>
              <a:t> </a:t>
            </a:r>
            <a:r>
              <a:rPr lang="en-US" dirty="0">
                <a:latin typeface="+mn-lt"/>
                <a:cs typeface="Arial"/>
              </a:rPr>
              <a:t>seller</a:t>
            </a:r>
            <a:r>
              <a:rPr lang="en-US" spc="-16" dirty="0">
                <a:latin typeface="+mn-lt"/>
                <a:cs typeface="Arial"/>
              </a:rPr>
              <a:t> </a:t>
            </a:r>
            <a:r>
              <a:rPr lang="en-US" dirty="0">
                <a:latin typeface="+mn-lt"/>
                <a:cs typeface="Arial"/>
              </a:rPr>
              <a:t>to</a:t>
            </a:r>
            <a:r>
              <a:rPr lang="en-US" spc="-10" dirty="0">
                <a:latin typeface="+mn-lt"/>
                <a:cs typeface="Arial"/>
              </a:rPr>
              <a:t> </a:t>
            </a:r>
            <a:r>
              <a:rPr lang="en-US" dirty="0">
                <a:latin typeface="+mn-lt"/>
                <a:cs typeface="Arial"/>
              </a:rPr>
              <a:t>a</a:t>
            </a:r>
            <a:r>
              <a:rPr lang="en-US" spc="5" dirty="0">
                <a:latin typeface="+mn-lt"/>
                <a:cs typeface="Arial"/>
              </a:rPr>
              <a:t> </a:t>
            </a:r>
            <a:r>
              <a:rPr lang="en-US" dirty="0">
                <a:latin typeface="+mn-lt"/>
                <a:cs typeface="Arial"/>
              </a:rPr>
              <a:t>b</a:t>
            </a:r>
            <a:r>
              <a:rPr lang="en-US" spc="-4" dirty="0">
                <a:latin typeface="+mn-lt"/>
                <a:cs typeface="Arial"/>
              </a:rPr>
              <a:t>u</a:t>
            </a:r>
            <a:r>
              <a:rPr lang="en-US" spc="-34" dirty="0">
                <a:latin typeface="+mn-lt"/>
                <a:cs typeface="Arial"/>
              </a:rPr>
              <a:t>y</a:t>
            </a:r>
            <a:r>
              <a:rPr lang="en-US" dirty="0">
                <a:latin typeface="+mn-lt"/>
                <a:cs typeface="Arial"/>
              </a:rPr>
              <a:t>e</a:t>
            </a:r>
            <a:r>
              <a:rPr lang="en-US" spc="-79" dirty="0">
                <a:latin typeface="+mn-lt"/>
                <a:cs typeface="Arial"/>
              </a:rPr>
              <a:t>r</a:t>
            </a:r>
            <a:r>
              <a:rPr lang="en-US" dirty="0">
                <a:latin typeface="+mn-lt"/>
                <a:cs typeface="Arial"/>
              </a:rPr>
              <a:t>,</a:t>
            </a:r>
            <a:r>
              <a:rPr lang="en-US" spc="1" dirty="0">
                <a:latin typeface="+mn-lt"/>
                <a:cs typeface="Arial"/>
              </a:rPr>
              <a:t> </a:t>
            </a:r>
            <a:r>
              <a:rPr lang="en-US" dirty="0">
                <a:latin typeface="+mn-lt"/>
                <a:cs typeface="Arial"/>
              </a:rPr>
              <a:t>in</a:t>
            </a:r>
            <a:r>
              <a:rPr lang="en-US" spc="-4" dirty="0">
                <a:latin typeface="+mn-lt"/>
                <a:cs typeface="Arial"/>
              </a:rPr>
              <a:t>d</a:t>
            </a:r>
            <a:r>
              <a:rPr lang="en-US" dirty="0">
                <a:latin typeface="+mn-lt"/>
                <a:cs typeface="Arial"/>
              </a:rPr>
              <a:t>icating</a:t>
            </a:r>
            <a:r>
              <a:rPr lang="en-US" spc="-45" dirty="0">
                <a:latin typeface="+mn-lt"/>
                <a:cs typeface="Arial"/>
              </a:rPr>
              <a:t> </a:t>
            </a:r>
            <a:r>
              <a:rPr lang="en-US" dirty="0">
                <a:latin typeface="+mn-lt"/>
                <a:cs typeface="Arial"/>
              </a:rPr>
              <a:t>t</a:t>
            </a:r>
            <a:r>
              <a:rPr lang="en-US" spc="-4" dirty="0">
                <a:latin typeface="+mn-lt"/>
                <a:cs typeface="Arial"/>
              </a:rPr>
              <a:t>h</a:t>
            </a:r>
            <a:r>
              <a:rPr lang="en-US" dirty="0">
                <a:latin typeface="+mn-lt"/>
                <a:cs typeface="Arial"/>
              </a:rPr>
              <a:t>e pro</a:t>
            </a:r>
            <a:r>
              <a:rPr lang="en-US" spc="-4" dirty="0">
                <a:latin typeface="+mn-lt"/>
                <a:cs typeface="Arial"/>
              </a:rPr>
              <a:t>d</a:t>
            </a:r>
            <a:r>
              <a:rPr lang="en-US" dirty="0">
                <a:latin typeface="+mn-lt"/>
                <a:cs typeface="Arial"/>
              </a:rPr>
              <a:t>uc</a:t>
            </a:r>
            <a:r>
              <a:rPr lang="en-US" spc="-4" dirty="0">
                <a:latin typeface="+mn-lt"/>
                <a:cs typeface="Arial"/>
              </a:rPr>
              <a:t>t</a:t>
            </a:r>
            <a:r>
              <a:rPr lang="en-US" spc="4" dirty="0">
                <a:latin typeface="+mn-lt"/>
                <a:cs typeface="Arial"/>
              </a:rPr>
              <a:t>s</a:t>
            </a:r>
            <a:r>
              <a:rPr lang="en-US" dirty="0">
                <a:latin typeface="+mn-lt"/>
                <a:cs typeface="Arial"/>
              </a:rPr>
              <a:t>,</a:t>
            </a:r>
            <a:r>
              <a:rPr lang="en-US" spc="-43" dirty="0">
                <a:latin typeface="+mn-lt"/>
                <a:cs typeface="Arial"/>
              </a:rPr>
              <a:t> </a:t>
            </a:r>
            <a:r>
              <a:rPr lang="en-US" dirty="0">
                <a:latin typeface="+mn-lt"/>
                <a:cs typeface="Arial"/>
              </a:rPr>
              <a:t>q</a:t>
            </a:r>
            <a:r>
              <a:rPr lang="en-US" spc="-4" dirty="0">
                <a:latin typeface="+mn-lt"/>
                <a:cs typeface="Arial"/>
              </a:rPr>
              <a:t>u</a:t>
            </a:r>
            <a:r>
              <a:rPr lang="en-US" dirty="0">
                <a:latin typeface="+mn-lt"/>
                <a:cs typeface="Arial"/>
              </a:rPr>
              <a:t>an</a:t>
            </a:r>
            <a:r>
              <a:rPr lang="en-US" spc="-4" dirty="0">
                <a:latin typeface="+mn-lt"/>
                <a:cs typeface="Arial"/>
              </a:rPr>
              <a:t>t</a:t>
            </a:r>
            <a:r>
              <a:rPr lang="en-US" dirty="0">
                <a:latin typeface="+mn-lt"/>
                <a:cs typeface="Arial"/>
              </a:rPr>
              <a:t>ities</a:t>
            </a:r>
            <a:r>
              <a:rPr lang="en-US" spc="-30" dirty="0">
                <a:latin typeface="+mn-lt"/>
                <a:cs typeface="Arial"/>
              </a:rPr>
              <a:t> </a:t>
            </a:r>
            <a:r>
              <a:rPr lang="en-US" dirty="0">
                <a:latin typeface="+mn-lt"/>
                <a:cs typeface="Arial"/>
              </a:rPr>
              <a:t>and</a:t>
            </a:r>
            <a:r>
              <a:rPr lang="en-US" spc="-33" dirty="0">
                <a:latin typeface="+mn-lt"/>
                <a:cs typeface="Arial"/>
              </a:rPr>
              <a:t> </a:t>
            </a:r>
            <a:r>
              <a:rPr lang="en-US" dirty="0">
                <a:latin typeface="+mn-lt"/>
                <a:cs typeface="Arial"/>
              </a:rPr>
              <a:t>agreed</a:t>
            </a:r>
            <a:r>
              <a:rPr lang="en-US" spc="-32" dirty="0">
                <a:latin typeface="+mn-lt"/>
                <a:cs typeface="Arial"/>
              </a:rPr>
              <a:t> </a:t>
            </a:r>
            <a:r>
              <a:rPr lang="en-US" dirty="0">
                <a:latin typeface="+mn-lt"/>
                <a:cs typeface="Arial"/>
              </a:rPr>
              <a:t>prices</a:t>
            </a:r>
            <a:r>
              <a:rPr lang="en-US" spc="-22" dirty="0">
                <a:latin typeface="+mn-lt"/>
                <a:cs typeface="Arial"/>
              </a:rPr>
              <a:t> </a:t>
            </a:r>
            <a:r>
              <a:rPr lang="en-US" dirty="0">
                <a:latin typeface="+mn-lt"/>
                <a:cs typeface="Arial"/>
              </a:rPr>
              <a:t>f</a:t>
            </a:r>
            <a:r>
              <a:rPr lang="en-US" spc="-4" dirty="0">
                <a:latin typeface="+mn-lt"/>
                <a:cs typeface="Arial"/>
              </a:rPr>
              <a:t>o</a:t>
            </a:r>
            <a:r>
              <a:rPr lang="en-US" dirty="0">
                <a:latin typeface="+mn-lt"/>
                <a:cs typeface="Arial"/>
              </a:rPr>
              <a:t>r</a:t>
            </a:r>
            <a:r>
              <a:rPr lang="en-US" spc="-6" dirty="0">
                <a:latin typeface="+mn-lt"/>
                <a:cs typeface="Arial"/>
              </a:rPr>
              <a:t> </a:t>
            </a:r>
            <a:r>
              <a:rPr lang="en-US" dirty="0">
                <a:latin typeface="+mn-lt"/>
                <a:cs typeface="Arial"/>
              </a:rPr>
              <a:t>pro</a:t>
            </a:r>
            <a:r>
              <a:rPr lang="en-US" spc="-4" dirty="0">
                <a:latin typeface="+mn-lt"/>
                <a:cs typeface="Arial"/>
              </a:rPr>
              <a:t>d</a:t>
            </a:r>
            <a:r>
              <a:rPr lang="en-US" dirty="0">
                <a:latin typeface="+mn-lt"/>
                <a:cs typeface="Arial"/>
              </a:rPr>
              <a:t>uc</a:t>
            </a:r>
            <a:r>
              <a:rPr lang="en-US" spc="-4" dirty="0">
                <a:latin typeface="+mn-lt"/>
                <a:cs typeface="Arial"/>
              </a:rPr>
              <a:t>t</a:t>
            </a:r>
            <a:r>
              <a:rPr lang="en-US" dirty="0">
                <a:latin typeface="+mn-lt"/>
                <a:cs typeface="Arial"/>
              </a:rPr>
              <a:t>s</a:t>
            </a:r>
            <a:r>
              <a:rPr lang="en-US" spc="-33" dirty="0">
                <a:latin typeface="+mn-lt"/>
                <a:cs typeface="Arial"/>
              </a:rPr>
              <a:t> </a:t>
            </a:r>
            <a:r>
              <a:rPr lang="en-US" dirty="0">
                <a:latin typeface="+mn-lt"/>
                <a:cs typeface="Arial"/>
              </a:rPr>
              <a:t>or</a:t>
            </a:r>
            <a:r>
              <a:rPr lang="en-US" spc="-10" dirty="0">
                <a:latin typeface="+mn-lt"/>
                <a:cs typeface="Arial"/>
              </a:rPr>
              <a:t> </a:t>
            </a:r>
            <a:r>
              <a:rPr lang="en-US" dirty="0">
                <a:latin typeface="+mn-lt"/>
                <a:cs typeface="Arial"/>
              </a:rPr>
              <a:t>ser</a:t>
            </a:r>
            <a:r>
              <a:rPr lang="en-US" spc="-29" dirty="0">
                <a:latin typeface="+mn-lt"/>
                <a:cs typeface="Arial"/>
              </a:rPr>
              <a:t>v</a:t>
            </a:r>
            <a:r>
              <a:rPr lang="en-US" dirty="0">
                <a:latin typeface="+mn-lt"/>
                <a:cs typeface="Arial"/>
              </a:rPr>
              <a:t>ices</a:t>
            </a:r>
            <a:r>
              <a:rPr lang="en-US" spc="-13" dirty="0">
                <a:latin typeface="+mn-lt"/>
                <a:cs typeface="Arial"/>
              </a:rPr>
              <a:t> </a:t>
            </a:r>
            <a:r>
              <a:rPr lang="en-US" spc="39" dirty="0">
                <a:latin typeface="+mn-lt"/>
                <a:cs typeface="Arial"/>
              </a:rPr>
              <a:t>w</a:t>
            </a:r>
            <a:r>
              <a:rPr lang="en-US" dirty="0">
                <a:latin typeface="+mn-lt"/>
                <a:cs typeface="Arial"/>
              </a:rPr>
              <a:t>ith</a:t>
            </a:r>
            <a:r>
              <a:rPr lang="en-US" spc="-46" dirty="0">
                <a:latin typeface="+mn-lt"/>
                <a:cs typeface="Arial"/>
              </a:rPr>
              <a:t> </a:t>
            </a:r>
            <a:r>
              <a:rPr lang="en-US" spc="39" dirty="0">
                <a:latin typeface="+mn-lt"/>
                <a:cs typeface="Arial"/>
              </a:rPr>
              <a:t>w</a:t>
            </a:r>
            <a:r>
              <a:rPr lang="en-US" dirty="0">
                <a:latin typeface="+mn-lt"/>
                <a:cs typeface="Arial"/>
              </a:rPr>
              <a:t>hich</a:t>
            </a:r>
            <a:r>
              <a:rPr lang="en-US" spc="-60" dirty="0">
                <a:latin typeface="+mn-lt"/>
                <a:cs typeface="Arial"/>
              </a:rPr>
              <a:t> </a:t>
            </a:r>
            <a:r>
              <a:rPr lang="en-US" dirty="0">
                <a:latin typeface="+mn-lt"/>
                <a:cs typeface="Arial"/>
              </a:rPr>
              <a:t>t</a:t>
            </a:r>
            <a:r>
              <a:rPr lang="en-US" spc="-4" dirty="0">
                <a:latin typeface="+mn-lt"/>
                <a:cs typeface="Arial"/>
              </a:rPr>
              <a:t>h</a:t>
            </a:r>
            <a:r>
              <a:rPr lang="en-US" dirty="0">
                <a:latin typeface="+mn-lt"/>
                <a:cs typeface="Arial"/>
              </a:rPr>
              <a:t>e seller</a:t>
            </a:r>
            <a:r>
              <a:rPr lang="en-US" spc="-36" dirty="0">
                <a:latin typeface="+mn-lt"/>
                <a:cs typeface="Arial"/>
              </a:rPr>
              <a:t> </a:t>
            </a:r>
            <a:r>
              <a:rPr lang="en-US" dirty="0">
                <a:latin typeface="+mn-lt"/>
                <a:cs typeface="Arial"/>
              </a:rPr>
              <a:t>has</a:t>
            </a:r>
            <a:r>
              <a:rPr lang="en-US" spc="-17" dirty="0">
                <a:latin typeface="+mn-lt"/>
                <a:cs typeface="Arial"/>
              </a:rPr>
              <a:t> </a:t>
            </a:r>
            <a:r>
              <a:rPr lang="en-US" dirty="0">
                <a:latin typeface="+mn-lt"/>
                <a:cs typeface="Arial"/>
              </a:rPr>
              <a:t>alre</a:t>
            </a:r>
            <a:r>
              <a:rPr lang="en-US" spc="4" dirty="0">
                <a:latin typeface="+mn-lt"/>
                <a:cs typeface="Arial"/>
              </a:rPr>
              <a:t>a</a:t>
            </a:r>
            <a:r>
              <a:rPr lang="en-US" dirty="0">
                <a:latin typeface="+mn-lt"/>
                <a:cs typeface="Arial"/>
              </a:rPr>
              <a:t>dy</a:t>
            </a:r>
            <a:r>
              <a:rPr lang="en-US" spc="-45" dirty="0">
                <a:latin typeface="+mn-lt"/>
                <a:cs typeface="Arial"/>
              </a:rPr>
              <a:t> </a:t>
            </a:r>
            <a:r>
              <a:rPr lang="en-US" dirty="0">
                <a:latin typeface="+mn-lt"/>
                <a:cs typeface="Arial"/>
              </a:rPr>
              <a:t>pro</a:t>
            </a:r>
            <a:r>
              <a:rPr lang="en-US" spc="-39" dirty="0">
                <a:latin typeface="+mn-lt"/>
                <a:cs typeface="Arial"/>
              </a:rPr>
              <a:t>v</a:t>
            </a:r>
            <a:r>
              <a:rPr lang="en-US" spc="9" dirty="0">
                <a:latin typeface="+mn-lt"/>
                <a:cs typeface="Arial"/>
              </a:rPr>
              <a:t>i</a:t>
            </a:r>
            <a:r>
              <a:rPr lang="en-US" dirty="0">
                <a:latin typeface="+mn-lt"/>
                <a:cs typeface="Arial"/>
              </a:rPr>
              <a:t>ded</a:t>
            </a:r>
            <a:r>
              <a:rPr lang="en-US" spc="-23" dirty="0">
                <a:latin typeface="+mn-lt"/>
                <a:cs typeface="Arial"/>
              </a:rPr>
              <a:t> </a:t>
            </a:r>
            <a:r>
              <a:rPr lang="en-US" dirty="0">
                <a:latin typeface="+mn-lt"/>
                <a:cs typeface="Arial"/>
              </a:rPr>
              <a:t>t</a:t>
            </a:r>
            <a:r>
              <a:rPr lang="en-US" spc="-4" dirty="0">
                <a:latin typeface="+mn-lt"/>
                <a:cs typeface="Arial"/>
              </a:rPr>
              <a:t>h</a:t>
            </a:r>
            <a:r>
              <a:rPr lang="en-US" dirty="0">
                <a:latin typeface="+mn-lt"/>
                <a:cs typeface="Arial"/>
              </a:rPr>
              <a:t>e b</a:t>
            </a:r>
            <a:r>
              <a:rPr lang="en-US" spc="-4" dirty="0">
                <a:latin typeface="+mn-lt"/>
                <a:cs typeface="Arial"/>
              </a:rPr>
              <a:t>u</a:t>
            </a:r>
            <a:r>
              <a:rPr lang="en-US" spc="-34" dirty="0">
                <a:latin typeface="+mn-lt"/>
                <a:cs typeface="Arial"/>
              </a:rPr>
              <a:t>y</a:t>
            </a:r>
            <a:r>
              <a:rPr lang="en-US" dirty="0">
                <a:latin typeface="+mn-lt"/>
                <a:cs typeface="Arial"/>
              </a:rPr>
              <a:t>er</a:t>
            </a:r>
          </a:p>
          <a:p>
            <a:pPr marL="298450" indent="-285750">
              <a:spcBef>
                <a:spcPts val="86"/>
              </a:spcBef>
              <a:buFont typeface="Wingdings" panose="05000000000000000000" pitchFamily="2" charset="2"/>
              <a:buChar char="§"/>
            </a:pPr>
            <a:endParaRPr lang="en-US" dirty="0">
              <a:latin typeface="+mn-lt"/>
              <a:cs typeface="Arial"/>
            </a:endParaRPr>
          </a:p>
          <a:p>
            <a:pPr marL="298450" indent="-285750">
              <a:spcBef>
                <a:spcPts val="86"/>
              </a:spcBef>
              <a:buFont typeface="Wingdings" panose="05000000000000000000" pitchFamily="2" charset="2"/>
              <a:buChar char="§"/>
            </a:pPr>
            <a:r>
              <a:rPr lang="en-US" spc="-50" dirty="0">
                <a:latin typeface="+mn-lt"/>
                <a:cs typeface="Arial"/>
              </a:rPr>
              <a:t>A</a:t>
            </a:r>
            <a:r>
              <a:rPr lang="en-US" dirty="0">
                <a:latin typeface="+mn-lt"/>
                <a:cs typeface="Arial"/>
              </a:rPr>
              <a:t>n</a:t>
            </a:r>
            <a:r>
              <a:rPr lang="en-US" spc="33" dirty="0">
                <a:latin typeface="+mn-lt"/>
                <a:cs typeface="Arial"/>
              </a:rPr>
              <a:t> </a:t>
            </a:r>
            <a:r>
              <a:rPr lang="en-US" dirty="0">
                <a:latin typeface="+mn-lt"/>
                <a:cs typeface="Arial"/>
              </a:rPr>
              <a:t>i</a:t>
            </a:r>
            <a:r>
              <a:rPr lang="en-US" spc="-4" dirty="0">
                <a:latin typeface="+mn-lt"/>
                <a:cs typeface="Arial"/>
              </a:rPr>
              <a:t>n</a:t>
            </a:r>
            <a:r>
              <a:rPr lang="en-US" spc="-34" dirty="0">
                <a:latin typeface="+mn-lt"/>
                <a:cs typeface="Arial"/>
              </a:rPr>
              <a:t>v</a:t>
            </a:r>
            <a:r>
              <a:rPr lang="en-US" spc="4" dirty="0">
                <a:latin typeface="+mn-lt"/>
                <a:cs typeface="Arial"/>
              </a:rPr>
              <a:t>o</a:t>
            </a:r>
            <a:r>
              <a:rPr lang="en-US" dirty="0">
                <a:latin typeface="+mn-lt"/>
                <a:cs typeface="Arial"/>
              </a:rPr>
              <a:t>ice</a:t>
            </a:r>
            <a:r>
              <a:rPr lang="en-US" spc="13" dirty="0">
                <a:latin typeface="+mn-lt"/>
                <a:cs typeface="Arial"/>
              </a:rPr>
              <a:t> </a:t>
            </a:r>
            <a:r>
              <a:rPr lang="en-US" dirty="0">
                <a:latin typeface="+mn-lt"/>
                <a:cs typeface="Arial"/>
              </a:rPr>
              <a:t>i</a:t>
            </a:r>
            <a:r>
              <a:rPr lang="en-US" spc="-4" dirty="0">
                <a:latin typeface="+mn-lt"/>
                <a:cs typeface="Arial"/>
              </a:rPr>
              <a:t>n</a:t>
            </a:r>
            <a:r>
              <a:rPr lang="en-US" dirty="0">
                <a:latin typeface="+mn-lt"/>
                <a:cs typeface="Arial"/>
              </a:rPr>
              <a:t>d</a:t>
            </a:r>
            <a:r>
              <a:rPr lang="en-US" spc="-4" dirty="0">
                <a:latin typeface="+mn-lt"/>
                <a:cs typeface="Arial"/>
              </a:rPr>
              <a:t>i</a:t>
            </a:r>
            <a:r>
              <a:rPr lang="en-US" dirty="0">
                <a:latin typeface="+mn-lt"/>
                <a:cs typeface="Arial"/>
              </a:rPr>
              <a:t>ca</a:t>
            </a:r>
            <a:r>
              <a:rPr lang="en-US" spc="-4" dirty="0">
                <a:latin typeface="+mn-lt"/>
                <a:cs typeface="Arial"/>
              </a:rPr>
              <a:t>t</a:t>
            </a:r>
            <a:r>
              <a:rPr lang="en-US" dirty="0">
                <a:latin typeface="+mn-lt"/>
                <a:cs typeface="Arial"/>
              </a:rPr>
              <a:t>es</a:t>
            </a:r>
            <a:r>
              <a:rPr lang="en-US" spc="-5" dirty="0">
                <a:latin typeface="+mn-lt"/>
                <a:cs typeface="Arial"/>
              </a:rPr>
              <a:t> </a:t>
            </a:r>
            <a:r>
              <a:rPr lang="en-US" dirty="0">
                <a:latin typeface="+mn-lt"/>
                <a:cs typeface="Arial"/>
              </a:rPr>
              <a:t>t</a:t>
            </a:r>
            <a:r>
              <a:rPr lang="en-US" spc="-9" dirty="0">
                <a:latin typeface="+mn-lt"/>
                <a:cs typeface="Arial"/>
              </a:rPr>
              <a:t>h</a:t>
            </a:r>
            <a:r>
              <a:rPr lang="en-US" dirty="0">
                <a:latin typeface="+mn-lt"/>
                <a:cs typeface="Arial"/>
              </a:rPr>
              <a:t>a</a:t>
            </a:r>
            <a:r>
              <a:rPr lang="en-US" spc="-4" dirty="0">
                <a:latin typeface="+mn-lt"/>
                <a:cs typeface="Arial"/>
              </a:rPr>
              <a:t>t</a:t>
            </a:r>
            <a:r>
              <a:rPr lang="en-US" dirty="0">
                <a:latin typeface="+mn-lt"/>
                <a:cs typeface="Arial"/>
              </a:rPr>
              <a:t>,</a:t>
            </a:r>
            <a:r>
              <a:rPr lang="en-US" spc="10" dirty="0">
                <a:latin typeface="+mn-lt"/>
                <a:cs typeface="Arial"/>
              </a:rPr>
              <a:t> </a:t>
            </a:r>
            <a:r>
              <a:rPr lang="en-US" dirty="0">
                <a:latin typeface="+mn-lt"/>
                <a:cs typeface="Arial"/>
              </a:rPr>
              <a:t>u</a:t>
            </a:r>
            <a:r>
              <a:rPr lang="en-US" spc="-9" dirty="0">
                <a:latin typeface="+mn-lt"/>
                <a:cs typeface="Arial"/>
              </a:rPr>
              <a:t>n</a:t>
            </a:r>
            <a:r>
              <a:rPr lang="en-US" dirty="0">
                <a:latin typeface="+mn-lt"/>
                <a:cs typeface="Arial"/>
              </a:rPr>
              <a:t>less</a:t>
            </a:r>
            <a:r>
              <a:rPr lang="en-US" spc="-11" dirty="0">
                <a:latin typeface="+mn-lt"/>
                <a:cs typeface="Arial"/>
              </a:rPr>
              <a:t> </a:t>
            </a:r>
            <a:r>
              <a:rPr lang="en-US" dirty="0">
                <a:latin typeface="+mn-lt"/>
                <a:cs typeface="Arial"/>
              </a:rPr>
              <a:t>p</a:t>
            </a:r>
            <a:r>
              <a:rPr lang="en-US" spc="-4" dirty="0">
                <a:latin typeface="+mn-lt"/>
                <a:cs typeface="Arial"/>
              </a:rPr>
              <a:t>a</a:t>
            </a:r>
            <a:r>
              <a:rPr lang="en-US" dirty="0">
                <a:latin typeface="+mn-lt"/>
                <a:cs typeface="Arial"/>
              </a:rPr>
              <a:t>id</a:t>
            </a:r>
            <a:r>
              <a:rPr lang="en-US" spc="-13" dirty="0">
                <a:latin typeface="+mn-lt"/>
                <a:cs typeface="Arial"/>
              </a:rPr>
              <a:t> </a:t>
            </a:r>
            <a:r>
              <a:rPr lang="en-US" dirty="0">
                <a:latin typeface="+mn-lt"/>
                <a:cs typeface="Arial"/>
              </a:rPr>
              <a:t>in</a:t>
            </a:r>
            <a:r>
              <a:rPr lang="en-US" spc="34" dirty="0">
                <a:latin typeface="+mn-lt"/>
                <a:cs typeface="Arial"/>
              </a:rPr>
              <a:t> </a:t>
            </a:r>
            <a:r>
              <a:rPr lang="en-US" dirty="0">
                <a:latin typeface="+mn-lt"/>
                <a:cs typeface="Arial"/>
              </a:rPr>
              <a:t>a</a:t>
            </a:r>
            <a:r>
              <a:rPr lang="en-US" spc="-4" dirty="0">
                <a:latin typeface="+mn-lt"/>
                <a:cs typeface="Arial"/>
              </a:rPr>
              <a:t>d</a:t>
            </a:r>
            <a:r>
              <a:rPr lang="en-US" spc="-34" dirty="0">
                <a:latin typeface="+mn-lt"/>
                <a:cs typeface="Arial"/>
              </a:rPr>
              <a:t>v</a:t>
            </a:r>
            <a:r>
              <a:rPr lang="en-US" dirty="0">
                <a:latin typeface="+mn-lt"/>
                <a:cs typeface="Arial"/>
              </a:rPr>
              <a:t>a</a:t>
            </a:r>
            <a:r>
              <a:rPr lang="en-US" spc="-4" dirty="0">
                <a:latin typeface="+mn-lt"/>
                <a:cs typeface="Arial"/>
              </a:rPr>
              <a:t>n</a:t>
            </a:r>
            <a:r>
              <a:rPr lang="en-US" dirty="0">
                <a:latin typeface="+mn-lt"/>
                <a:cs typeface="Arial"/>
              </a:rPr>
              <a:t>ce,</a:t>
            </a:r>
            <a:r>
              <a:rPr lang="en-US" spc="-13" dirty="0">
                <a:latin typeface="+mn-lt"/>
                <a:cs typeface="Arial"/>
              </a:rPr>
              <a:t> </a:t>
            </a:r>
            <a:r>
              <a:rPr lang="en-US" dirty="0">
                <a:latin typeface="+mn-lt"/>
                <a:cs typeface="Arial"/>
              </a:rPr>
              <a:t>p</a:t>
            </a:r>
            <a:r>
              <a:rPr lang="en-US" spc="-4" dirty="0">
                <a:latin typeface="+mn-lt"/>
                <a:cs typeface="Arial"/>
              </a:rPr>
              <a:t>a</a:t>
            </a:r>
            <a:r>
              <a:rPr lang="en-US" spc="-34" dirty="0">
                <a:latin typeface="+mn-lt"/>
                <a:cs typeface="Arial"/>
              </a:rPr>
              <a:t>y</a:t>
            </a:r>
            <a:r>
              <a:rPr lang="en-US" spc="-4" dirty="0">
                <a:latin typeface="+mn-lt"/>
                <a:cs typeface="Arial"/>
              </a:rPr>
              <a:t>m</a:t>
            </a:r>
            <a:r>
              <a:rPr lang="en-US" dirty="0">
                <a:latin typeface="+mn-lt"/>
                <a:cs typeface="Arial"/>
              </a:rPr>
              <a:t>e</a:t>
            </a:r>
            <a:r>
              <a:rPr lang="en-US" spc="4" dirty="0">
                <a:latin typeface="+mn-lt"/>
                <a:cs typeface="Arial"/>
              </a:rPr>
              <a:t>n</a:t>
            </a:r>
            <a:r>
              <a:rPr lang="en-US" dirty="0">
                <a:latin typeface="+mn-lt"/>
                <a:cs typeface="Arial"/>
              </a:rPr>
              <a:t>t</a:t>
            </a:r>
            <a:r>
              <a:rPr lang="en-US" spc="-20" dirty="0">
                <a:latin typeface="+mn-lt"/>
                <a:cs typeface="Arial"/>
              </a:rPr>
              <a:t> </a:t>
            </a:r>
            <a:r>
              <a:rPr lang="en-US" dirty="0">
                <a:latin typeface="+mn-lt"/>
                <a:cs typeface="Arial"/>
              </a:rPr>
              <a:t>is</a:t>
            </a:r>
            <a:r>
              <a:rPr lang="en-US" spc="9" dirty="0">
                <a:latin typeface="+mn-lt"/>
                <a:cs typeface="Arial"/>
              </a:rPr>
              <a:t> </a:t>
            </a:r>
            <a:r>
              <a:rPr lang="en-US" dirty="0">
                <a:latin typeface="+mn-lt"/>
                <a:cs typeface="Arial"/>
              </a:rPr>
              <a:t>d</a:t>
            </a:r>
            <a:r>
              <a:rPr lang="en-US" spc="-9" dirty="0">
                <a:latin typeface="+mn-lt"/>
                <a:cs typeface="Arial"/>
              </a:rPr>
              <a:t>u</a:t>
            </a:r>
            <a:r>
              <a:rPr lang="en-US" dirty="0">
                <a:latin typeface="+mn-lt"/>
                <a:cs typeface="Arial"/>
              </a:rPr>
              <a:t>e by</a:t>
            </a:r>
            <a:r>
              <a:rPr lang="en-US" spc="-13" dirty="0">
                <a:latin typeface="+mn-lt"/>
                <a:cs typeface="Arial"/>
              </a:rPr>
              <a:t> </a:t>
            </a:r>
            <a:r>
              <a:rPr lang="en-US" dirty="0">
                <a:latin typeface="+mn-lt"/>
                <a:cs typeface="Arial"/>
              </a:rPr>
              <a:t>t</a:t>
            </a:r>
            <a:r>
              <a:rPr lang="en-US" spc="-9" dirty="0">
                <a:latin typeface="+mn-lt"/>
                <a:cs typeface="Arial"/>
              </a:rPr>
              <a:t>h</a:t>
            </a:r>
            <a:r>
              <a:rPr lang="en-US" dirty="0">
                <a:latin typeface="+mn-lt"/>
                <a:cs typeface="Arial"/>
              </a:rPr>
              <a:t>e b</a:t>
            </a:r>
            <a:r>
              <a:rPr lang="en-US" spc="-9" dirty="0">
                <a:latin typeface="+mn-lt"/>
                <a:cs typeface="Arial"/>
              </a:rPr>
              <a:t>u</a:t>
            </a:r>
            <a:r>
              <a:rPr lang="en-US" spc="-34" dirty="0">
                <a:latin typeface="+mn-lt"/>
                <a:cs typeface="Arial"/>
              </a:rPr>
              <a:t>y</a:t>
            </a:r>
            <a:r>
              <a:rPr lang="en-US" dirty="0">
                <a:latin typeface="+mn-lt"/>
                <a:cs typeface="Arial"/>
              </a:rPr>
              <a:t>er</a:t>
            </a:r>
            <a:r>
              <a:rPr lang="en-US" spc="25" dirty="0">
                <a:latin typeface="+mn-lt"/>
                <a:cs typeface="Arial"/>
              </a:rPr>
              <a:t> </a:t>
            </a:r>
            <a:r>
              <a:rPr lang="en-US" dirty="0">
                <a:latin typeface="+mn-lt"/>
                <a:cs typeface="Arial"/>
              </a:rPr>
              <a:t>to t</a:t>
            </a:r>
            <a:r>
              <a:rPr lang="en-US" spc="-4" dirty="0">
                <a:latin typeface="+mn-lt"/>
                <a:cs typeface="Arial"/>
              </a:rPr>
              <a:t>h</a:t>
            </a:r>
            <a:r>
              <a:rPr lang="en-US" dirty="0">
                <a:latin typeface="+mn-lt"/>
                <a:cs typeface="Arial"/>
              </a:rPr>
              <a:t>e</a:t>
            </a:r>
            <a:r>
              <a:rPr lang="en-US" spc="-23" dirty="0">
                <a:latin typeface="+mn-lt"/>
                <a:cs typeface="Arial"/>
              </a:rPr>
              <a:t> </a:t>
            </a:r>
            <a:r>
              <a:rPr lang="en-US" dirty="0">
                <a:latin typeface="+mn-lt"/>
                <a:cs typeface="Arial"/>
              </a:rPr>
              <a:t>selle</a:t>
            </a:r>
            <a:r>
              <a:rPr lang="en-US" spc="-79" dirty="0">
                <a:latin typeface="+mn-lt"/>
                <a:cs typeface="Arial"/>
              </a:rPr>
              <a:t>r</a:t>
            </a:r>
            <a:r>
              <a:rPr lang="en-US" dirty="0">
                <a:latin typeface="+mn-lt"/>
                <a:cs typeface="Arial"/>
              </a:rPr>
              <a:t>,</a:t>
            </a:r>
            <a:r>
              <a:rPr lang="en-US" spc="-16" dirty="0">
                <a:latin typeface="+mn-lt"/>
                <a:cs typeface="Arial"/>
              </a:rPr>
              <a:t> </a:t>
            </a:r>
            <a:r>
              <a:rPr lang="en-US" dirty="0">
                <a:latin typeface="+mn-lt"/>
                <a:cs typeface="Arial"/>
              </a:rPr>
              <a:t>according</a:t>
            </a:r>
            <a:r>
              <a:rPr lang="en-US" spc="-61" dirty="0">
                <a:latin typeface="+mn-lt"/>
                <a:cs typeface="Arial"/>
              </a:rPr>
              <a:t> </a:t>
            </a:r>
            <a:r>
              <a:rPr lang="en-US" dirty="0">
                <a:latin typeface="+mn-lt"/>
                <a:cs typeface="Arial"/>
              </a:rPr>
              <a:t>to t</a:t>
            </a:r>
            <a:r>
              <a:rPr lang="en-US" spc="-4" dirty="0">
                <a:latin typeface="+mn-lt"/>
                <a:cs typeface="Arial"/>
              </a:rPr>
              <a:t>h</a:t>
            </a:r>
            <a:r>
              <a:rPr lang="en-US" dirty="0">
                <a:latin typeface="+mn-lt"/>
                <a:cs typeface="Arial"/>
              </a:rPr>
              <a:t>e agreed</a:t>
            </a:r>
            <a:r>
              <a:rPr lang="en-US" spc="-42" dirty="0">
                <a:latin typeface="+mn-lt"/>
                <a:cs typeface="Arial"/>
              </a:rPr>
              <a:t> </a:t>
            </a:r>
            <a:r>
              <a:rPr lang="en-US" dirty="0">
                <a:latin typeface="+mn-lt"/>
                <a:cs typeface="Arial"/>
              </a:rPr>
              <a:t>terms</a:t>
            </a:r>
          </a:p>
          <a:p>
            <a:pPr marL="298450" indent="-285750">
              <a:spcBef>
                <a:spcPts val="86"/>
              </a:spcBef>
              <a:buFont typeface="Wingdings" panose="05000000000000000000" pitchFamily="2" charset="2"/>
              <a:buChar char="§"/>
            </a:pPr>
            <a:endParaRPr lang="en-US" dirty="0">
              <a:latin typeface="+mn-lt"/>
              <a:cs typeface="Arial"/>
            </a:endParaRPr>
          </a:p>
          <a:p>
            <a:pPr marL="298450" marR="30460" indent="-285750">
              <a:buFont typeface="Wingdings" panose="05000000000000000000" pitchFamily="2" charset="2"/>
              <a:buChar char="§"/>
            </a:pPr>
            <a:r>
              <a:rPr lang="en-US" dirty="0">
                <a:latin typeface="+mn-lt"/>
                <a:cs typeface="Arial"/>
              </a:rPr>
              <a:t>In</a:t>
            </a:r>
            <a:r>
              <a:rPr lang="en-US" spc="-39" dirty="0">
                <a:latin typeface="+mn-lt"/>
                <a:cs typeface="Arial"/>
              </a:rPr>
              <a:t>v</a:t>
            </a:r>
            <a:r>
              <a:rPr lang="en-US" spc="9" dirty="0">
                <a:latin typeface="+mn-lt"/>
                <a:cs typeface="Arial"/>
              </a:rPr>
              <a:t>o</a:t>
            </a:r>
            <a:r>
              <a:rPr lang="en-US" dirty="0">
                <a:latin typeface="+mn-lt"/>
                <a:cs typeface="Arial"/>
              </a:rPr>
              <a:t>ices</a:t>
            </a:r>
            <a:r>
              <a:rPr lang="en-US" spc="-13" dirty="0">
                <a:latin typeface="+mn-lt"/>
                <a:cs typeface="Arial"/>
              </a:rPr>
              <a:t> </a:t>
            </a:r>
            <a:r>
              <a:rPr lang="en-US" dirty="0">
                <a:latin typeface="+mn-lt"/>
                <a:cs typeface="Arial"/>
              </a:rPr>
              <a:t>are</a:t>
            </a:r>
            <a:r>
              <a:rPr lang="en-US" spc="-8" dirty="0">
                <a:latin typeface="+mn-lt"/>
                <a:cs typeface="Arial"/>
              </a:rPr>
              <a:t> </a:t>
            </a:r>
            <a:r>
              <a:rPr lang="en-US" dirty="0">
                <a:latin typeface="+mn-lt"/>
                <a:cs typeface="Arial"/>
              </a:rPr>
              <a:t>o</a:t>
            </a:r>
            <a:r>
              <a:rPr lang="en-US" spc="-4" dirty="0">
                <a:latin typeface="+mn-lt"/>
                <a:cs typeface="Arial"/>
              </a:rPr>
              <a:t>f</a:t>
            </a:r>
            <a:r>
              <a:rPr lang="en-US" dirty="0">
                <a:latin typeface="+mn-lt"/>
                <a:cs typeface="Arial"/>
              </a:rPr>
              <a:t>ten</a:t>
            </a:r>
            <a:r>
              <a:rPr lang="en-US" spc="-24" dirty="0">
                <a:latin typeface="+mn-lt"/>
                <a:cs typeface="Arial"/>
              </a:rPr>
              <a:t> </a:t>
            </a:r>
            <a:r>
              <a:rPr lang="en-US" dirty="0">
                <a:latin typeface="+mn-lt"/>
                <a:cs typeface="Arial"/>
              </a:rPr>
              <a:t>called</a:t>
            </a:r>
            <a:r>
              <a:rPr lang="en-US" spc="-10" dirty="0">
                <a:latin typeface="+mn-lt"/>
                <a:cs typeface="Arial"/>
              </a:rPr>
              <a:t> </a:t>
            </a:r>
            <a:r>
              <a:rPr lang="en-US" dirty="0">
                <a:latin typeface="+mn-lt"/>
                <a:cs typeface="Arial"/>
              </a:rPr>
              <a:t>bills</a:t>
            </a:r>
          </a:p>
          <a:p>
            <a:pPr marL="298450" marR="30460" indent="-285750">
              <a:buFont typeface="Wingdings" panose="05000000000000000000" pitchFamily="2" charset="2"/>
              <a:buChar char="§"/>
            </a:pPr>
            <a:endParaRPr lang="en-US" dirty="0">
              <a:latin typeface="+mn-lt"/>
              <a:cs typeface="Arial"/>
            </a:endParaRPr>
          </a:p>
          <a:p>
            <a:pPr marL="298450" marR="30460" indent="-285750">
              <a:buFont typeface="Wingdings" panose="05000000000000000000" pitchFamily="2" charset="2"/>
              <a:buChar char="§"/>
            </a:pPr>
            <a:r>
              <a:rPr lang="en-US" dirty="0">
                <a:latin typeface="+mn-lt"/>
                <a:cs typeface="Arial"/>
              </a:rPr>
              <a:t>T</a:t>
            </a:r>
            <a:r>
              <a:rPr lang="en-US" spc="-4" dirty="0">
                <a:latin typeface="+mn-lt"/>
                <a:cs typeface="Arial"/>
              </a:rPr>
              <a:t>h</a:t>
            </a:r>
            <a:r>
              <a:rPr lang="en-US" dirty="0">
                <a:latin typeface="+mn-lt"/>
                <a:cs typeface="Arial"/>
              </a:rPr>
              <a:t>e</a:t>
            </a:r>
            <a:r>
              <a:rPr lang="en-US" spc="-18" dirty="0">
                <a:latin typeface="+mn-lt"/>
                <a:cs typeface="Arial"/>
              </a:rPr>
              <a:t> </a:t>
            </a:r>
            <a:r>
              <a:rPr lang="en-US" dirty="0">
                <a:latin typeface="+mn-lt"/>
                <a:cs typeface="Arial"/>
              </a:rPr>
              <a:t>preparation</a:t>
            </a:r>
            <a:r>
              <a:rPr lang="en-US" spc="-57" dirty="0">
                <a:latin typeface="+mn-lt"/>
                <a:cs typeface="Arial"/>
              </a:rPr>
              <a:t> </a:t>
            </a:r>
            <a:r>
              <a:rPr lang="en-US" dirty="0">
                <a:latin typeface="+mn-lt"/>
                <a:cs typeface="Arial"/>
              </a:rPr>
              <a:t>of Bills</a:t>
            </a:r>
            <a:r>
              <a:rPr lang="en-US" spc="-8" dirty="0">
                <a:latin typeface="+mn-lt"/>
                <a:cs typeface="Arial"/>
              </a:rPr>
              <a:t> </a:t>
            </a:r>
            <a:r>
              <a:rPr lang="en-US" dirty="0">
                <a:latin typeface="+mn-lt"/>
                <a:cs typeface="Arial"/>
              </a:rPr>
              <a:t>can</a:t>
            </a:r>
            <a:r>
              <a:rPr lang="en-US" spc="-27" dirty="0">
                <a:latin typeface="+mn-lt"/>
                <a:cs typeface="Arial"/>
              </a:rPr>
              <a:t> </a:t>
            </a:r>
            <a:r>
              <a:rPr lang="en-US" dirty="0">
                <a:latin typeface="+mn-lt"/>
                <a:cs typeface="Arial"/>
              </a:rPr>
              <a:t>be</a:t>
            </a:r>
            <a:r>
              <a:rPr lang="en-US" spc="-13" dirty="0">
                <a:latin typeface="+mn-lt"/>
                <a:cs typeface="Arial"/>
              </a:rPr>
              <a:t> </a:t>
            </a:r>
            <a:r>
              <a:rPr lang="en-US" dirty="0">
                <a:latin typeface="+mn-lt"/>
                <a:cs typeface="Arial"/>
              </a:rPr>
              <a:t>refer</a:t>
            </a:r>
            <a:r>
              <a:rPr lang="en-US" spc="4" dirty="0">
                <a:latin typeface="+mn-lt"/>
                <a:cs typeface="Arial"/>
              </a:rPr>
              <a:t>r</a:t>
            </a:r>
            <a:r>
              <a:rPr lang="en-US" dirty="0">
                <a:latin typeface="+mn-lt"/>
                <a:cs typeface="Arial"/>
              </a:rPr>
              <a:t>ed</a:t>
            </a:r>
            <a:r>
              <a:rPr lang="en-US" spc="-40" dirty="0">
                <a:latin typeface="+mn-lt"/>
                <a:cs typeface="Arial"/>
              </a:rPr>
              <a:t> </a:t>
            </a:r>
            <a:r>
              <a:rPr lang="en-US" dirty="0">
                <a:latin typeface="+mn-lt"/>
                <a:cs typeface="Arial"/>
              </a:rPr>
              <a:t>as</a:t>
            </a:r>
            <a:r>
              <a:rPr lang="en-US" spc="-17" dirty="0">
                <a:latin typeface="+mn-lt"/>
                <a:cs typeface="Arial"/>
              </a:rPr>
              <a:t> </a:t>
            </a:r>
            <a:r>
              <a:rPr lang="en-US" dirty="0">
                <a:latin typeface="+mn-lt"/>
                <a:cs typeface="Arial"/>
              </a:rPr>
              <a:t>t</a:t>
            </a:r>
            <a:r>
              <a:rPr lang="en-US" spc="-4" dirty="0">
                <a:latin typeface="+mn-lt"/>
                <a:cs typeface="Arial"/>
              </a:rPr>
              <a:t>h</a:t>
            </a:r>
            <a:r>
              <a:rPr lang="en-US" dirty="0">
                <a:latin typeface="+mn-lt"/>
                <a:cs typeface="Arial"/>
              </a:rPr>
              <a:t>e</a:t>
            </a:r>
            <a:r>
              <a:rPr lang="en-US" spc="20" dirty="0">
                <a:latin typeface="+mn-lt"/>
                <a:cs typeface="Arial"/>
              </a:rPr>
              <a:t> </a:t>
            </a:r>
            <a:r>
              <a:rPr lang="en-US" dirty="0">
                <a:latin typeface="+mn-lt"/>
                <a:cs typeface="Arial"/>
              </a:rPr>
              <a:t>Billing</a:t>
            </a:r>
            <a:r>
              <a:rPr lang="en-US" spc="-28" dirty="0">
                <a:latin typeface="+mn-lt"/>
                <a:cs typeface="Arial"/>
              </a:rPr>
              <a:t> </a:t>
            </a:r>
            <a:r>
              <a:rPr lang="en-US" dirty="0">
                <a:latin typeface="+mn-lt"/>
                <a:cs typeface="Arial"/>
              </a:rPr>
              <a:t>process</a:t>
            </a:r>
          </a:p>
        </p:txBody>
      </p:sp>
    </p:spTree>
    <p:extLst>
      <p:ext uri="{BB962C8B-B14F-4D97-AF65-F5344CB8AC3E}">
        <p14:creationId xmlns:p14="http://schemas.microsoft.com/office/powerpoint/2010/main" val="1515515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Use</a:t>
            </a:r>
          </a:p>
        </p:txBody>
      </p:sp>
      <p:sp>
        <p:nvSpPr>
          <p:cNvPr id="3" name="Content Placeholder 2"/>
          <p:cNvSpPr>
            <a:spLocks noGrp="1"/>
          </p:cNvSpPr>
          <p:nvPr>
            <p:ph type="body" sz="quarter" idx="10"/>
          </p:nvPr>
        </p:nvSpPr>
        <p:spPr>
          <a:prstGeom prst="rect">
            <a:avLst/>
          </a:prstGeom>
        </p:spPr>
        <p:txBody>
          <a:bodyPr/>
          <a:lstStyle/>
          <a:p>
            <a:pPr marL="298450" indent="-285750">
              <a:lnSpc>
                <a:spcPct val="100000"/>
              </a:lnSpc>
              <a:spcBef>
                <a:spcPts val="86"/>
              </a:spcBef>
              <a:buFont typeface="Wingdings" panose="05000000000000000000" pitchFamily="2" charset="2"/>
              <a:buChar char="§"/>
            </a:pPr>
            <a:r>
              <a:rPr lang="en-US" dirty="0">
                <a:latin typeface="+mn-lt"/>
                <a:cs typeface="Arial"/>
              </a:rPr>
              <a:t>Invoice is a legal document authenticating the transaction hence can be used as a reference for all payment relevant correspondences</a:t>
            </a:r>
          </a:p>
          <a:p>
            <a:pPr marL="298450" indent="-285750">
              <a:lnSpc>
                <a:spcPct val="100000"/>
              </a:lnSpc>
              <a:spcBef>
                <a:spcPts val="86"/>
              </a:spcBef>
              <a:buFont typeface="Wingdings" panose="05000000000000000000" pitchFamily="2" charset="2"/>
              <a:buChar char="§"/>
            </a:pPr>
            <a:endParaRPr lang="en-US" dirty="0">
              <a:latin typeface="+mn-lt"/>
              <a:cs typeface="Arial"/>
            </a:endParaRPr>
          </a:p>
          <a:p>
            <a:pPr marL="298450" indent="-285750">
              <a:lnSpc>
                <a:spcPct val="100000"/>
              </a:lnSpc>
              <a:spcBef>
                <a:spcPts val="86"/>
              </a:spcBef>
              <a:buFont typeface="Wingdings" panose="05000000000000000000" pitchFamily="2" charset="2"/>
              <a:buChar char="§"/>
            </a:pPr>
            <a:r>
              <a:rPr lang="en-US" dirty="0">
                <a:latin typeface="+mn-lt"/>
                <a:cs typeface="Arial"/>
              </a:rPr>
              <a:t>Useful for working out the sales statistics, profit and loss on buying price and selling price</a:t>
            </a:r>
          </a:p>
          <a:p>
            <a:pPr marL="298450" indent="-285750">
              <a:lnSpc>
                <a:spcPct val="100000"/>
              </a:lnSpc>
              <a:spcBef>
                <a:spcPts val="86"/>
              </a:spcBef>
              <a:buFont typeface="Wingdings" panose="05000000000000000000" pitchFamily="2" charset="2"/>
              <a:buChar char="§"/>
            </a:pPr>
            <a:endParaRPr lang="en-US" dirty="0">
              <a:latin typeface="+mn-lt"/>
              <a:cs typeface="Arial"/>
            </a:endParaRPr>
          </a:p>
          <a:p>
            <a:pPr marL="298450" indent="-285750">
              <a:lnSpc>
                <a:spcPct val="100000"/>
              </a:lnSpc>
              <a:spcBef>
                <a:spcPts val="86"/>
              </a:spcBef>
              <a:buFont typeface="Wingdings" panose="05000000000000000000" pitchFamily="2" charset="2"/>
              <a:buChar char="§"/>
            </a:pPr>
            <a:r>
              <a:rPr lang="en-US" dirty="0">
                <a:latin typeface="+mn-lt"/>
                <a:cs typeface="Arial"/>
              </a:rPr>
              <a:t>Invoices are the proof sale hence can give details on taxes</a:t>
            </a:r>
          </a:p>
          <a:p>
            <a:endParaRPr lang="en-US" dirty="0"/>
          </a:p>
        </p:txBody>
      </p:sp>
      <p:pic>
        <p:nvPicPr>
          <p:cNvPr id="4" name="Picture 3"/>
          <p:cNvPicPr>
            <a:picLocks noChangeAspect="1"/>
          </p:cNvPicPr>
          <p:nvPr/>
        </p:nvPicPr>
        <p:blipFill>
          <a:blip r:embed="rId2" cstate="print"/>
          <a:stretch>
            <a:fillRect/>
          </a:stretch>
        </p:blipFill>
        <p:spPr>
          <a:xfrm>
            <a:off x="4738255" y="4038600"/>
            <a:ext cx="2137514" cy="2000494"/>
          </a:xfrm>
          <a:prstGeom prst="rect">
            <a:avLst/>
          </a:prstGeom>
        </p:spPr>
      </p:pic>
    </p:spTree>
    <p:extLst>
      <p:ext uri="{BB962C8B-B14F-4D97-AF65-F5344CB8AC3E}">
        <p14:creationId xmlns:p14="http://schemas.microsoft.com/office/powerpoint/2010/main" val="2936780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object 62"/>
          <p:cNvSpPr/>
          <p:nvPr/>
        </p:nvSpPr>
        <p:spPr>
          <a:xfrm>
            <a:off x="9750543" y="970990"/>
            <a:ext cx="411415" cy="389761"/>
          </a:xfrm>
          <a:custGeom>
            <a:avLst/>
            <a:gdLst/>
            <a:ahLst/>
            <a:cxnLst/>
            <a:rect l="l" t="t" r="r" b="b"/>
            <a:pathLst>
              <a:path w="411415" h="389761">
                <a:moveTo>
                  <a:pt x="17194" y="264723"/>
                </a:moveTo>
                <a:lnTo>
                  <a:pt x="126513" y="228676"/>
                </a:lnTo>
                <a:lnTo>
                  <a:pt x="126513" y="389761"/>
                </a:lnTo>
                <a:lnTo>
                  <a:pt x="143708" y="384118"/>
                </a:lnTo>
                <a:lnTo>
                  <a:pt x="402920" y="301895"/>
                </a:lnTo>
                <a:lnTo>
                  <a:pt x="411415" y="298519"/>
                </a:lnTo>
                <a:lnTo>
                  <a:pt x="411415" y="121661"/>
                </a:lnTo>
                <a:lnTo>
                  <a:pt x="394255" y="126163"/>
                </a:lnTo>
                <a:lnTo>
                  <a:pt x="284953" y="162210"/>
                </a:lnTo>
                <a:lnTo>
                  <a:pt x="284953" y="0"/>
                </a:lnTo>
                <a:lnTo>
                  <a:pt x="267758" y="5627"/>
                </a:lnTo>
                <a:lnTo>
                  <a:pt x="8597" y="87865"/>
                </a:lnTo>
                <a:lnTo>
                  <a:pt x="0" y="91242"/>
                </a:lnTo>
                <a:lnTo>
                  <a:pt x="0" y="269225"/>
                </a:lnTo>
                <a:lnTo>
                  <a:pt x="17194" y="264723"/>
                </a:lnTo>
                <a:close/>
              </a:path>
            </a:pathLst>
          </a:custGeom>
          <a:solidFill>
            <a:srgbClr val="3E3E3E"/>
          </a:solidFill>
        </p:spPr>
        <p:txBody>
          <a:bodyPr wrap="square" lIns="0" tIns="0" rIns="0" bIns="0" rtlCol="0">
            <a:noAutofit/>
          </a:bodyPr>
          <a:lstStyle/>
          <a:p>
            <a:endParaRPr/>
          </a:p>
        </p:txBody>
      </p:sp>
      <p:sp>
        <p:nvSpPr>
          <p:cNvPr id="63" name="object 63"/>
          <p:cNvSpPr/>
          <p:nvPr/>
        </p:nvSpPr>
        <p:spPr>
          <a:xfrm>
            <a:off x="9902849" y="1125322"/>
            <a:ext cx="233453" cy="202759"/>
          </a:xfrm>
          <a:custGeom>
            <a:avLst/>
            <a:gdLst/>
            <a:ahLst/>
            <a:cxnLst/>
            <a:rect l="l" t="t" r="r" b="b"/>
            <a:pathLst>
              <a:path w="233453" h="202759">
                <a:moveTo>
                  <a:pt x="0" y="74344"/>
                </a:moveTo>
                <a:lnTo>
                  <a:pt x="0" y="202759"/>
                </a:lnTo>
                <a:lnTo>
                  <a:pt x="233453" y="129540"/>
                </a:lnTo>
                <a:lnTo>
                  <a:pt x="233453" y="0"/>
                </a:lnTo>
                <a:lnTo>
                  <a:pt x="0" y="74344"/>
                </a:lnTo>
                <a:close/>
              </a:path>
            </a:pathLst>
          </a:custGeom>
          <a:solidFill>
            <a:srgbClr val="4B88D2"/>
          </a:solidFill>
        </p:spPr>
        <p:txBody>
          <a:bodyPr wrap="square" lIns="0" tIns="0" rIns="0" bIns="0" rtlCol="0">
            <a:noAutofit/>
          </a:bodyPr>
          <a:lstStyle/>
          <a:p>
            <a:endParaRPr/>
          </a:p>
        </p:txBody>
      </p:sp>
      <p:sp>
        <p:nvSpPr>
          <p:cNvPr id="64" name="object 64"/>
          <p:cNvSpPr/>
          <p:nvPr/>
        </p:nvSpPr>
        <p:spPr>
          <a:xfrm>
            <a:off x="9776334" y="1003660"/>
            <a:ext cx="233368" cy="203884"/>
          </a:xfrm>
          <a:custGeom>
            <a:avLst/>
            <a:gdLst/>
            <a:ahLst/>
            <a:cxnLst/>
            <a:rect l="l" t="t" r="r" b="b"/>
            <a:pathLst>
              <a:path w="233368" h="203884">
                <a:moveTo>
                  <a:pt x="233368" y="129540"/>
                </a:moveTo>
                <a:lnTo>
                  <a:pt x="233368" y="0"/>
                </a:lnTo>
                <a:lnTo>
                  <a:pt x="0" y="74344"/>
                </a:lnTo>
                <a:lnTo>
                  <a:pt x="0" y="203884"/>
                </a:lnTo>
                <a:lnTo>
                  <a:pt x="233368" y="129540"/>
                </a:lnTo>
                <a:close/>
              </a:path>
            </a:pathLst>
          </a:custGeom>
          <a:solidFill>
            <a:srgbClr val="4B88D2"/>
          </a:solidFill>
        </p:spPr>
        <p:txBody>
          <a:bodyPr wrap="square" lIns="0" tIns="0" rIns="0" bIns="0" rtlCol="0">
            <a:noAutofit/>
          </a:bodyPr>
          <a:lstStyle/>
          <a:p>
            <a:endParaRPr/>
          </a:p>
        </p:txBody>
      </p:sp>
      <p:sp>
        <p:nvSpPr>
          <p:cNvPr id="65" name="object 65"/>
          <p:cNvSpPr/>
          <p:nvPr/>
        </p:nvSpPr>
        <p:spPr>
          <a:xfrm>
            <a:off x="9504889" y="1365254"/>
            <a:ext cx="284970" cy="269225"/>
          </a:xfrm>
          <a:custGeom>
            <a:avLst/>
            <a:gdLst/>
            <a:ahLst/>
            <a:cxnLst/>
            <a:rect l="l" t="t" r="r" b="b"/>
            <a:pathLst>
              <a:path w="284970" h="269225">
                <a:moveTo>
                  <a:pt x="8597" y="87865"/>
                </a:moveTo>
                <a:lnTo>
                  <a:pt x="0" y="90116"/>
                </a:lnTo>
                <a:lnTo>
                  <a:pt x="0" y="269225"/>
                </a:lnTo>
                <a:lnTo>
                  <a:pt x="17211" y="263582"/>
                </a:lnTo>
                <a:lnTo>
                  <a:pt x="276372" y="181359"/>
                </a:lnTo>
                <a:lnTo>
                  <a:pt x="284970" y="177982"/>
                </a:lnTo>
                <a:lnTo>
                  <a:pt x="284970" y="0"/>
                </a:lnTo>
                <a:lnTo>
                  <a:pt x="267775" y="4501"/>
                </a:lnTo>
                <a:lnTo>
                  <a:pt x="8597" y="87865"/>
                </a:lnTo>
                <a:close/>
              </a:path>
            </a:pathLst>
          </a:custGeom>
          <a:solidFill>
            <a:srgbClr val="3E3E3E"/>
          </a:solidFill>
        </p:spPr>
        <p:txBody>
          <a:bodyPr wrap="square" lIns="0" tIns="0" rIns="0" bIns="0" rtlCol="0">
            <a:noAutofit/>
          </a:bodyPr>
          <a:lstStyle/>
          <a:p>
            <a:endParaRPr/>
          </a:p>
        </p:txBody>
      </p:sp>
      <p:sp>
        <p:nvSpPr>
          <p:cNvPr id="66" name="object 66"/>
          <p:cNvSpPr/>
          <p:nvPr/>
        </p:nvSpPr>
        <p:spPr>
          <a:xfrm>
            <a:off x="9530699" y="1397923"/>
            <a:ext cx="233351" cy="203884"/>
          </a:xfrm>
          <a:custGeom>
            <a:avLst/>
            <a:gdLst/>
            <a:ahLst/>
            <a:cxnLst/>
            <a:rect l="l" t="t" r="r" b="b"/>
            <a:pathLst>
              <a:path w="233351" h="203884">
                <a:moveTo>
                  <a:pt x="233351" y="0"/>
                </a:moveTo>
                <a:lnTo>
                  <a:pt x="0" y="74344"/>
                </a:lnTo>
                <a:lnTo>
                  <a:pt x="0" y="203884"/>
                </a:lnTo>
                <a:lnTo>
                  <a:pt x="233351" y="129540"/>
                </a:lnTo>
                <a:lnTo>
                  <a:pt x="233351" y="0"/>
                </a:lnTo>
                <a:close/>
              </a:path>
            </a:pathLst>
          </a:custGeom>
          <a:solidFill>
            <a:srgbClr val="4B88D2"/>
          </a:solidFill>
        </p:spPr>
        <p:txBody>
          <a:bodyPr wrap="square" lIns="0" tIns="0" rIns="0" bIns="0" rtlCol="0">
            <a:noAutofit/>
          </a:bodyPr>
          <a:lstStyle/>
          <a:p>
            <a:endParaRPr/>
          </a:p>
        </p:txBody>
      </p:sp>
      <p:sp>
        <p:nvSpPr>
          <p:cNvPr id="67" name="object 67"/>
          <p:cNvSpPr/>
          <p:nvPr/>
        </p:nvSpPr>
        <p:spPr>
          <a:xfrm>
            <a:off x="8944820" y="1593914"/>
            <a:ext cx="396718" cy="462980"/>
          </a:xfrm>
          <a:custGeom>
            <a:avLst/>
            <a:gdLst/>
            <a:ahLst/>
            <a:cxnLst/>
            <a:rect l="l" t="t" r="r" b="b"/>
            <a:pathLst>
              <a:path w="396718" h="462980">
                <a:moveTo>
                  <a:pt x="275115" y="375114"/>
                </a:moveTo>
                <a:lnTo>
                  <a:pt x="283712" y="371738"/>
                </a:lnTo>
                <a:lnTo>
                  <a:pt x="283712" y="214029"/>
                </a:lnTo>
                <a:lnTo>
                  <a:pt x="389344" y="180233"/>
                </a:lnTo>
                <a:lnTo>
                  <a:pt x="396718" y="177982"/>
                </a:lnTo>
                <a:lnTo>
                  <a:pt x="396718" y="0"/>
                </a:lnTo>
                <a:lnTo>
                  <a:pt x="380747" y="4517"/>
                </a:lnTo>
                <a:lnTo>
                  <a:pt x="121586" y="87865"/>
                </a:lnTo>
                <a:lnTo>
                  <a:pt x="112988" y="90116"/>
                </a:lnTo>
                <a:lnTo>
                  <a:pt x="112988" y="247825"/>
                </a:lnTo>
                <a:lnTo>
                  <a:pt x="8597" y="281621"/>
                </a:lnTo>
                <a:lnTo>
                  <a:pt x="0" y="283872"/>
                </a:lnTo>
                <a:lnTo>
                  <a:pt x="0" y="462980"/>
                </a:lnTo>
                <a:lnTo>
                  <a:pt x="15954" y="457353"/>
                </a:lnTo>
                <a:lnTo>
                  <a:pt x="275115" y="375114"/>
                </a:lnTo>
                <a:close/>
              </a:path>
            </a:pathLst>
          </a:custGeom>
          <a:solidFill>
            <a:srgbClr val="3E3E3E"/>
          </a:solidFill>
        </p:spPr>
        <p:txBody>
          <a:bodyPr wrap="square" lIns="0" tIns="0" rIns="0" bIns="0" rtlCol="0">
            <a:noAutofit/>
          </a:bodyPr>
          <a:lstStyle/>
          <a:p>
            <a:endParaRPr/>
          </a:p>
        </p:txBody>
      </p:sp>
      <p:sp>
        <p:nvSpPr>
          <p:cNvPr id="68" name="object 68"/>
          <p:cNvSpPr/>
          <p:nvPr/>
        </p:nvSpPr>
        <p:spPr>
          <a:xfrm>
            <a:off x="8969373" y="1820340"/>
            <a:ext cx="234609" cy="203884"/>
          </a:xfrm>
          <a:custGeom>
            <a:avLst/>
            <a:gdLst/>
            <a:ahLst/>
            <a:cxnLst/>
            <a:rect l="l" t="t" r="r" b="b"/>
            <a:pathLst>
              <a:path w="234609" h="203884">
                <a:moveTo>
                  <a:pt x="234609" y="0"/>
                </a:moveTo>
                <a:lnTo>
                  <a:pt x="0" y="74344"/>
                </a:lnTo>
                <a:lnTo>
                  <a:pt x="0" y="203884"/>
                </a:lnTo>
                <a:lnTo>
                  <a:pt x="234609" y="129540"/>
                </a:lnTo>
                <a:lnTo>
                  <a:pt x="234609" y="0"/>
                </a:lnTo>
                <a:close/>
              </a:path>
            </a:pathLst>
          </a:custGeom>
          <a:solidFill>
            <a:srgbClr val="4B88D2"/>
          </a:solidFill>
        </p:spPr>
        <p:txBody>
          <a:bodyPr wrap="square" lIns="0" tIns="0" rIns="0" bIns="0" rtlCol="0">
            <a:noAutofit/>
          </a:bodyPr>
          <a:lstStyle/>
          <a:p>
            <a:endParaRPr/>
          </a:p>
        </p:txBody>
      </p:sp>
      <p:sp>
        <p:nvSpPr>
          <p:cNvPr id="69" name="object 69"/>
          <p:cNvSpPr/>
          <p:nvPr/>
        </p:nvSpPr>
        <p:spPr>
          <a:xfrm>
            <a:off x="9082378" y="1625459"/>
            <a:ext cx="234592" cy="205010"/>
          </a:xfrm>
          <a:custGeom>
            <a:avLst/>
            <a:gdLst/>
            <a:ahLst/>
            <a:cxnLst/>
            <a:rect l="l" t="t" r="r" b="b"/>
            <a:pathLst>
              <a:path w="234592" h="205010">
                <a:moveTo>
                  <a:pt x="0" y="205010"/>
                </a:moveTo>
                <a:lnTo>
                  <a:pt x="234592" y="129540"/>
                </a:lnTo>
                <a:lnTo>
                  <a:pt x="234592" y="0"/>
                </a:lnTo>
                <a:lnTo>
                  <a:pt x="0" y="75470"/>
                </a:lnTo>
                <a:lnTo>
                  <a:pt x="0" y="205010"/>
                </a:lnTo>
                <a:close/>
              </a:path>
            </a:pathLst>
          </a:custGeom>
          <a:solidFill>
            <a:srgbClr val="4B88D2"/>
          </a:solidFill>
        </p:spPr>
        <p:txBody>
          <a:bodyPr wrap="square" lIns="0" tIns="0" rIns="0" bIns="0" rtlCol="0">
            <a:noAutofit/>
          </a:bodyPr>
          <a:lstStyle/>
          <a:p>
            <a:endParaRPr/>
          </a:p>
        </p:txBody>
      </p:sp>
      <p:sp>
        <p:nvSpPr>
          <p:cNvPr id="70" name="object 70"/>
          <p:cNvSpPr/>
          <p:nvPr/>
        </p:nvSpPr>
        <p:spPr>
          <a:xfrm>
            <a:off x="9724751" y="660106"/>
            <a:ext cx="284953" cy="269209"/>
          </a:xfrm>
          <a:custGeom>
            <a:avLst/>
            <a:gdLst/>
            <a:ahLst/>
            <a:cxnLst/>
            <a:rect l="l" t="t" r="r" b="b"/>
            <a:pathLst>
              <a:path w="284953" h="269209">
                <a:moveTo>
                  <a:pt x="284953" y="0"/>
                </a:moveTo>
                <a:lnTo>
                  <a:pt x="267758" y="4533"/>
                </a:lnTo>
                <a:lnTo>
                  <a:pt x="8597" y="87850"/>
                </a:lnTo>
                <a:lnTo>
                  <a:pt x="0" y="91226"/>
                </a:lnTo>
                <a:lnTo>
                  <a:pt x="0" y="269209"/>
                </a:lnTo>
                <a:lnTo>
                  <a:pt x="17194" y="263566"/>
                </a:lnTo>
                <a:lnTo>
                  <a:pt x="276355" y="181343"/>
                </a:lnTo>
                <a:lnTo>
                  <a:pt x="284953" y="177967"/>
                </a:lnTo>
                <a:lnTo>
                  <a:pt x="284953" y="0"/>
                </a:lnTo>
                <a:close/>
              </a:path>
            </a:pathLst>
          </a:custGeom>
          <a:solidFill>
            <a:srgbClr val="3E3E3E"/>
          </a:solidFill>
        </p:spPr>
        <p:txBody>
          <a:bodyPr wrap="square" lIns="0" tIns="0" rIns="0" bIns="0" rtlCol="0">
            <a:noAutofit/>
          </a:bodyPr>
          <a:lstStyle/>
          <a:p>
            <a:endParaRPr/>
          </a:p>
        </p:txBody>
      </p:sp>
      <p:sp>
        <p:nvSpPr>
          <p:cNvPr id="71" name="object 71"/>
          <p:cNvSpPr/>
          <p:nvPr/>
        </p:nvSpPr>
        <p:spPr>
          <a:xfrm>
            <a:off x="9749319" y="692777"/>
            <a:ext cx="234592" cy="203869"/>
          </a:xfrm>
          <a:custGeom>
            <a:avLst/>
            <a:gdLst/>
            <a:ahLst/>
            <a:cxnLst/>
            <a:rect l="l" t="t" r="r" b="b"/>
            <a:pathLst>
              <a:path w="234592" h="203869">
                <a:moveTo>
                  <a:pt x="0" y="203869"/>
                </a:moveTo>
                <a:lnTo>
                  <a:pt x="234592" y="129524"/>
                </a:lnTo>
                <a:lnTo>
                  <a:pt x="234592" y="0"/>
                </a:lnTo>
                <a:lnTo>
                  <a:pt x="0" y="74328"/>
                </a:lnTo>
                <a:lnTo>
                  <a:pt x="0" y="203869"/>
                </a:lnTo>
                <a:close/>
              </a:path>
            </a:pathLst>
          </a:custGeom>
          <a:solidFill>
            <a:srgbClr val="4B88D2"/>
          </a:solidFill>
        </p:spPr>
        <p:txBody>
          <a:bodyPr wrap="square" lIns="0" tIns="0" rIns="0" bIns="0" rtlCol="0">
            <a:noAutofit/>
          </a:bodyPr>
          <a:lstStyle/>
          <a:p>
            <a:endParaRPr/>
          </a:p>
        </p:txBody>
      </p:sp>
      <p:sp>
        <p:nvSpPr>
          <p:cNvPr id="72" name="object 72"/>
          <p:cNvSpPr/>
          <p:nvPr/>
        </p:nvSpPr>
        <p:spPr>
          <a:xfrm>
            <a:off x="8427720" y="1050977"/>
            <a:ext cx="411468" cy="389746"/>
          </a:xfrm>
          <a:custGeom>
            <a:avLst/>
            <a:gdLst/>
            <a:ahLst/>
            <a:cxnLst/>
            <a:rect l="l" t="t" r="r" b="b"/>
            <a:pathLst>
              <a:path w="411468" h="389746">
                <a:moveTo>
                  <a:pt x="17194" y="262456"/>
                </a:moveTo>
                <a:lnTo>
                  <a:pt x="126515" y="227535"/>
                </a:lnTo>
                <a:lnTo>
                  <a:pt x="126515" y="389746"/>
                </a:lnTo>
                <a:lnTo>
                  <a:pt x="143710" y="384118"/>
                </a:lnTo>
                <a:lnTo>
                  <a:pt x="402871" y="300754"/>
                </a:lnTo>
                <a:lnTo>
                  <a:pt x="411468" y="298503"/>
                </a:lnTo>
                <a:lnTo>
                  <a:pt x="411468" y="120520"/>
                </a:lnTo>
                <a:lnTo>
                  <a:pt x="394273" y="126148"/>
                </a:lnTo>
                <a:lnTo>
                  <a:pt x="284954" y="161069"/>
                </a:lnTo>
                <a:lnTo>
                  <a:pt x="284954" y="0"/>
                </a:lnTo>
                <a:lnTo>
                  <a:pt x="267760" y="5627"/>
                </a:lnTo>
                <a:lnTo>
                  <a:pt x="8597" y="87850"/>
                </a:lnTo>
                <a:lnTo>
                  <a:pt x="0" y="91242"/>
                </a:lnTo>
                <a:lnTo>
                  <a:pt x="0" y="268084"/>
                </a:lnTo>
                <a:lnTo>
                  <a:pt x="17194" y="262456"/>
                </a:lnTo>
                <a:close/>
              </a:path>
            </a:pathLst>
          </a:custGeom>
          <a:solidFill>
            <a:srgbClr val="3E3E3E"/>
          </a:solidFill>
        </p:spPr>
        <p:txBody>
          <a:bodyPr wrap="square" lIns="0" tIns="0" rIns="0" bIns="0" rtlCol="0">
            <a:noAutofit/>
          </a:bodyPr>
          <a:lstStyle/>
          <a:p>
            <a:endParaRPr/>
          </a:p>
        </p:txBody>
      </p:sp>
      <p:sp>
        <p:nvSpPr>
          <p:cNvPr id="73" name="object 73"/>
          <p:cNvSpPr/>
          <p:nvPr/>
        </p:nvSpPr>
        <p:spPr>
          <a:xfrm>
            <a:off x="8452286" y="1083632"/>
            <a:ext cx="234597" cy="202759"/>
          </a:xfrm>
          <a:custGeom>
            <a:avLst/>
            <a:gdLst/>
            <a:ahLst/>
            <a:cxnLst/>
            <a:rect l="l" t="t" r="r" b="b"/>
            <a:pathLst>
              <a:path w="234597" h="202759">
                <a:moveTo>
                  <a:pt x="234597" y="129540"/>
                </a:moveTo>
                <a:lnTo>
                  <a:pt x="234597" y="0"/>
                </a:lnTo>
                <a:lnTo>
                  <a:pt x="0" y="74344"/>
                </a:lnTo>
                <a:lnTo>
                  <a:pt x="0" y="202759"/>
                </a:lnTo>
                <a:lnTo>
                  <a:pt x="234597" y="129540"/>
                </a:lnTo>
                <a:close/>
              </a:path>
            </a:pathLst>
          </a:custGeom>
          <a:solidFill>
            <a:srgbClr val="4B88D2"/>
          </a:solidFill>
        </p:spPr>
        <p:txBody>
          <a:bodyPr wrap="square" lIns="0" tIns="0" rIns="0" bIns="0" rtlCol="0">
            <a:noAutofit/>
          </a:bodyPr>
          <a:lstStyle/>
          <a:p>
            <a:endParaRPr/>
          </a:p>
        </p:txBody>
      </p:sp>
      <p:sp>
        <p:nvSpPr>
          <p:cNvPr id="74" name="object 74"/>
          <p:cNvSpPr/>
          <p:nvPr/>
        </p:nvSpPr>
        <p:spPr>
          <a:xfrm>
            <a:off x="8578788" y="1204168"/>
            <a:ext cx="234609" cy="203884"/>
          </a:xfrm>
          <a:custGeom>
            <a:avLst/>
            <a:gdLst/>
            <a:ahLst/>
            <a:cxnLst/>
            <a:rect l="l" t="t" r="r" b="b"/>
            <a:pathLst>
              <a:path w="234609" h="203884">
                <a:moveTo>
                  <a:pt x="0" y="74344"/>
                </a:moveTo>
                <a:lnTo>
                  <a:pt x="0" y="203884"/>
                </a:lnTo>
                <a:lnTo>
                  <a:pt x="234609" y="128414"/>
                </a:lnTo>
                <a:lnTo>
                  <a:pt x="234609" y="0"/>
                </a:lnTo>
                <a:lnTo>
                  <a:pt x="0" y="74344"/>
                </a:lnTo>
                <a:close/>
              </a:path>
            </a:pathLst>
          </a:custGeom>
          <a:solidFill>
            <a:srgbClr val="4B88D2"/>
          </a:solidFill>
        </p:spPr>
        <p:txBody>
          <a:bodyPr wrap="square" lIns="0" tIns="0" rIns="0" bIns="0" rtlCol="0">
            <a:noAutofit/>
          </a:bodyPr>
          <a:lstStyle/>
          <a:p>
            <a:endParaRPr/>
          </a:p>
        </p:txBody>
      </p:sp>
      <p:sp>
        <p:nvSpPr>
          <p:cNvPr id="75" name="object 75"/>
          <p:cNvSpPr/>
          <p:nvPr/>
        </p:nvSpPr>
        <p:spPr>
          <a:xfrm>
            <a:off x="8799872" y="777235"/>
            <a:ext cx="284970" cy="269225"/>
          </a:xfrm>
          <a:custGeom>
            <a:avLst/>
            <a:gdLst/>
            <a:ahLst/>
            <a:cxnLst/>
            <a:rect l="l" t="t" r="r" b="b"/>
            <a:pathLst>
              <a:path w="284970" h="269225">
                <a:moveTo>
                  <a:pt x="284970" y="0"/>
                </a:moveTo>
                <a:lnTo>
                  <a:pt x="267775" y="5643"/>
                </a:lnTo>
                <a:lnTo>
                  <a:pt x="8614" y="87865"/>
                </a:lnTo>
                <a:lnTo>
                  <a:pt x="0" y="91242"/>
                </a:lnTo>
                <a:lnTo>
                  <a:pt x="0" y="269225"/>
                </a:lnTo>
                <a:lnTo>
                  <a:pt x="17211" y="263597"/>
                </a:lnTo>
                <a:lnTo>
                  <a:pt x="276372" y="181359"/>
                </a:lnTo>
                <a:lnTo>
                  <a:pt x="284970" y="177982"/>
                </a:lnTo>
                <a:lnTo>
                  <a:pt x="284970" y="0"/>
                </a:lnTo>
                <a:close/>
              </a:path>
            </a:pathLst>
          </a:custGeom>
          <a:solidFill>
            <a:srgbClr val="3E3E3E"/>
          </a:solidFill>
        </p:spPr>
        <p:txBody>
          <a:bodyPr wrap="square" lIns="0" tIns="0" rIns="0" bIns="0" rtlCol="0">
            <a:noAutofit/>
          </a:bodyPr>
          <a:lstStyle/>
          <a:p>
            <a:endParaRPr/>
          </a:p>
        </p:txBody>
      </p:sp>
      <p:sp>
        <p:nvSpPr>
          <p:cNvPr id="76" name="object 76"/>
          <p:cNvSpPr/>
          <p:nvPr/>
        </p:nvSpPr>
        <p:spPr>
          <a:xfrm>
            <a:off x="8825681" y="809904"/>
            <a:ext cx="233368" cy="203884"/>
          </a:xfrm>
          <a:custGeom>
            <a:avLst/>
            <a:gdLst/>
            <a:ahLst/>
            <a:cxnLst/>
            <a:rect l="l" t="t" r="r" b="b"/>
            <a:pathLst>
              <a:path w="233368" h="203884">
                <a:moveTo>
                  <a:pt x="0" y="203884"/>
                </a:moveTo>
                <a:lnTo>
                  <a:pt x="233368" y="129540"/>
                </a:lnTo>
                <a:lnTo>
                  <a:pt x="233368" y="0"/>
                </a:lnTo>
                <a:lnTo>
                  <a:pt x="0" y="74344"/>
                </a:lnTo>
                <a:lnTo>
                  <a:pt x="0" y="203884"/>
                </a:lnTo>
                <a:close/>
              </a:path>
            </a:pathLst>
          </a:custGeom>
          <a:solidFill>
            <a:srgbClr val="4B88D2"/>
          </a:solidFill>
        </p:spPr>
        <p:txBody>
          <a:bodyPr wrap="square" lIns="0" tIns="0" rIns="0" bIns="0" rtlCol="0">
            <a:noAutofit/>
          </a:bodyPr>
          <a:lstStyle/>
          <a:p>
            <a:endParaRPr/>
          </a:p>
        </p:txBody>
      </p:sp>
      <p:sp>
        <p:nvSpPr>
          <p:cNvPr id="77" name="object 77"/>
          <p:cNvSpPr/>
          <p:nvPr/>
        </p:nvSpPr>
        <p:spPr>
          <a:xfrm>
            <a:off x="8938671" y="220698"/>
            <a:ext cx="284953" cy="270429"/>
          </a:xfrm>
          <a:custGeom>
            <a:avLst/>
            <a:gdLst/>
            <a:ahLst/>
            <a:cxnLst/>
            <a:rect l="l" t="t" r="r" b="b"/>
            <a:pathLst>
              <a:path w="284953" h="270429">
                <a:moveTo>
                  <a:pt x="284953" y="0"/>
                </a:moveTo>
                <a:lnTo>
                  <a:pt x="267758" y="5783"/>
                </a:lnTo>
                <a:lnTo>
                  <a:pt x="8597" y="89100"/>
                </a:lnTo>
                <a:lnTo>
                  <a:pt x="0" y="91289"/>
                </a:lnTo>
                <a:lnTo>
                  <a:pt x="0" y="270429"/>
                </a:lnTo>
                <a:lnTo>
                  <a:pt x="17194" y="264801"/>
                </a:lnTo>
                <a:lnTo>
                  <a:pt x="276355" y="181484"/>
                </a:lnTo>
                <a:lnTo>
                  <a:pt x="284953" y="179139"/>
                </a:lnTo>
                <a:lnTo>
                  <a:pt x="284953" y="0"/>
                </a:lnTo>
                <a:close/>
              </a:path>
            </a:pathLst>
          </a:custGeom>
          <a:solidFill>
            <a:srgbClr val="3E3E3E"/>
          </a:solidFill>
        </p:spPr>
        <p:txBody>
          <a:bodyPr wrap="square" lIns="0" tIns="0" rIns="0" bIns="0" rtlCol="0">
            <a:noAutofit/>
          </a:bodyPr>
          <a:lstStyle/>
          <a:p>
            <a:endParaRPr/>
          </a:p>
        </p:txBody>
      </p:sp>
      <p:sp>
        <p:nvSpPr>
          <p:cNvPr id="78" name="object 78"/>
          <p:cNvSpPr/>
          <p:nvPr/>
        </p:nvSpPr>
        <p:spPr>
          <a:xfrm>
            <a:off x="8964462" y="253367"/>
            <a:ext cx="233368" cy="205088"/>
          </a:xfrm>
          <a:custGeom>
            <a:avLst/>
            <a:gdLst/>
            <a:ahLst/>
            <a:cxnLst/>
            <a:rect l="l" t="t" r="r" b="b"/>
            <a:pathLst>
              <a:path w="233368" h="205088">
                <a:moveTo>
                  <a:pt x="0" y="205088"/>
                </a:moveTo>
                <a:lnTo>
                  <a:pt x="233368" y="129587"/>
                </a:lnTo>
                <a:lnTo>
                  <a:pt x="233368" y="0"/>
                </a:lnTo>
                <a:lnTo>
                  <a:pt x="0" y="75501"/>
                </a:lnTo>
                <a:lnTo>
                  <a:pt x="0" y="205088"/>
                </a:lnTo>
                <a:close/>
              </a:path>
            </a:pathLst>
          </a:custGeom>
          <a:solidFill>
            <a:srgbClr val="4B88D2"/>
          </a:solidFill>
        </p:spPr>
        <p:txBody>
          <a:bodyPr wrap="square" lIns="0" tIns="0" rIns="0" bIns="0" rtlCol="0">
            <a:noAutofit/>
          </a:bodyPr>
          <a:lstStyle/>
          <a:p>
            <a:endParaRPr/>
          </a:p>
        </p:txBody>
      </p:sp>
      <p:sp>
        <p:nvSpPr>
          <p:cNvPr id="79" name="object 79"/>
          <p:cNvSpPr/>
          <p:nvPr/>
        </p:nvSpPr>
        <p:spPr>
          <a:xfrm>
            <a:off x="9248192" y="354817"/>
            <a:ext cx="396718" cy="462980"/>
          </a:xfrm>
          <a:custGeom>
            <a:avLst/>
            <a:gdLst/>
            <a:ahLst/>
            <a:cxnLst/>
            <a:rect l="l" t="t" r="r" b="b"/>
            <a:pathLst>
              <a:path w="396718" h="462980">
                <a:moveTo>
                  <a:pt x="275132" y="375114"/>
                </a:moveTo>
                <a:lnTo>
                  <a:pt x="283729" y="371738"/>
                </a:lnTo>
                <a:lnTo>
                  <a:pt x="283729" y="215092"/>
                </a:lnTo>
                <a:lnTo>
                  <a:pt x="388121" y="181328"/>
                </a:lnTo>
                <a:lnTo>
                  <a:pt x="396718" y="178045"/>
                </a:lnTo>
                <a:lnTo>
                  <a:pt x="396718" y="0"/>
                </a:lnTo>
                <a:lnTo>
                  <a:pt x="380764" y="5627"/>
                </a:lnTo>
                <a:lnTo>
                  <a:pt x="121603" y="87850"/>
                </a:lnTo>
                <a:lnTo>
                  <a:pt x="114229" y="91289"/>
                </a:lnTo>
                <a:lnTo>
                  <a:pt x="114229" y="249013"/>
                </a:lnTo>
                <a:lnTo>
                  <a:pt x="8597" y="281683"/>
                </a:lnTo>
                <a:lnTo>
                  <a:pt x="0" y="284966"/>
                </a:lnTo>
                <a:lnTo>
                  <a:pt x="0" y="462980"/>
                </a:lnTo>
                <a:lnTo>
                  <a:pt x="17194" y="458463"/>
                </a:lnTo>
                <a:lnTo>
                  <a:pt x="275132" y="375114"/>
                </a:lnTo>
                <a:close/>
              </a:path>
            </a:pathLst>
          </a:custGeom>
          <a:solidFill>
            <a:srgbClr val="3E3E3E"/>
          </a:solidFill>
        </p:spPr>
        <p:txBody>
          <a:bodyPr wrap="square" lIns="0" tIns="0" rIns="0" bIns="0" rtlCol="0">
            <a:noAutofit/>
          </a:bodyPr>
          <a:lstStyle/>
          <a:p>
            <a:endParaRPr/>
          </a:p>
        </p:txBody>
      </p:sp>
      <p:sp>
        <p:nvSpPr>
          <p:cNvPr id="80" name="object 80"/>
          <p:cNvSpPr/>
          <p:nvPr/>
        </p:nvSpPr>
        <p:spPr>
          <a:xfrm>
            <a:off x="9386990" y="387489"/>
            <a:ext cx="233368" cy="203837"/>
          </a:xfrm>
          <a:custGeom>
            <a:avLst/>
            <a:gdLst/>
            <a:ahLst/>
            <a:cxnLst/>
            <a:rect l="l" t="t" r="r" b="b"/>
            <a:pathLst>
              <a:path w="233368" h="203837">
                <a:moveTo>
                  <a:pt x="0" y="203837"/>
                </a:moveTo>
                <a:lnTo>
                  <a:pt x="233368" y="129587"/>
                </a:lnTo>
                <a:lnTo>
                  <a:pt x="233368" y="0"/>
                </a:lnTo>
                <a:lnTo>
                  <a:pt x="0" y="74407"/>
                </a:lnTo>
                <a:lnTo>
                  <a:pt x="0" y="203837"/>
                </a:lnTo>
                <a:close/>
              </a:path>
            </a:pathLst>
          </a:custGeom>
          <a:solidFill>
            <a:srgbClr val="4B88D2"/>
          </a:solidFill>
        </p:spPr>
        <p:txBody>
          <a:bodyPr wrap="square" lIns="0" tIns="0" rIns="0" bIns="0" rtlCol="0">
            <a:noAutofit/>
          </a:bodyPr>
          <a:lstStyle/>
          <a:p>
            <a:endParaRPr/>
          </a:p>
        </p:txBody>
      </p:sp>
      <p:sp>
        <p:nvSpPr>
          <p:cNvPr id="81" name="object 81"/>
          <p:cNvSpPr/>
          <p:nvPr/>
        </p:nvSpPr>
        <p:spPr>
          <a:xfrm>
            <a:off x="9273985" y="581165"/>
            <a:ext cx="232145" cy="203962"/>
          </a:xfrm>
          <a:custGeom>
            <a:avLst/>
            <a:gdLst/>
            <a:ahLst/>
            <a:cxnLst/>
            <a:rect l="l" t="t" r="r" b="b"/>
            <a:pathLst>
              <a:path w="232145" h="203962">
                <a:moveTo>
                  <a:pt x="232145" y="0"/>
                </a:moveTo>
                <a:lnTo>
                  <a:pt x="0" y="74407"/>
                </a:lnTo>
                <a:lnTo>
                  <a:pt x="0" y="203962"/>
                </a:lnTo>
                <a:lnTo>
                  <a:pt x="232145" y="129618"/>
                </a:lnTo>
                <a:lnTo>
                  <a:pt x="232145" y="0"/>
                </a:lnTo>
                <a:close/>
              </a:path>
            </a:pathLst>
          </a:custGeom>
          <a:solidFill>
            <a:srgbClr val="4B88D2"/>
          </a:solidFill>
        </p:spPr>
        <p:txBody>
          <a:bodyPr wrap="square" lIns="0" tIns="0" rIns="0" bIns="0" rtlCol="0">
            <a:noAutofit/>
          </a:bodyPr>
          <a:lstStyle/>
          <a:p>
            <a:endParaRPr/>
          </a:p>
        </p:txBody>
      </p:sp>
      <p:sp>
        <p:nvSpPr>
          <p:cNvPr id="82" name="object 82"/>
          <p:cNvSpPr/>
          <p:nvPr/>
        </p:nvSpPr>
        <p:spPr>
          <a:xfrm>
            <a:off x="8938670" y="465177"/>
            <a:ext cx="821710" cy="1780960"/>
          </a:xfrm>
          <a:custGeom>
            <a:avLst/>
            <a:gdLst/>
            <a:ahLst/>
            <a:cxnLst/>
            <a:rect l="l" t="t" r="r" b="b"/>
            <a:pathLst>
              <a:path w="821710" h="1780960">
                <a:moveTo>
                  <a:pt x="0" y="535105"/>
                </a:moveTo>
                <a:lnTo>
                  <a:pt x="0" y="541858"/>
                </a:lnTo>
                <a:lnTo>
                  <a:pt x="1223" y="545234"/>
                </a:lnTo>
                <a:lnTo>
                  <a:pt x="1223" y="556505"/>
                </a:lnTo>
                <a:lnTo>
                  <a:pt x="2463" y="563258"/>
                </a:lnTo>
                <a:lnTo>
                  <a:pt x="4910" y="582407"/>
                </a:lnTo>
                <a:lnTo>
                  <a:pt x="7374" y="604948"/>
                </a:lnTo>
                <a:lnTo>
                  <a:pt x="11061" y="630849"/>
                </a:lnTo>
                <a:lnTo>
                  <a:pt x="15971" y="657877"/>
                </a:lnTo>
                <a:lnTo>
                  <a:pt x="19658" y="688296"/>
                </a:lnTo>
                <a:lnTo>
                  <a:pt x="25792" y="719841"/>
                </a:lnTo>
                <a:lnTo>
                  <a:pt x="31942" y="751386"/>
                </a:lnTo>
                <a:lnTo>
                  <a:pt x="39299" y="784040"/>
                </a:lnTo>
                <a:lnTo>
                  <a:pt x="42986" y="796436"/>
                </a:lnTo>
                <a:lnTo>
                  <a:pt x="44227" y="807707"/>
                </a:lnTo>
                <a:lnTo>
                  <a:pt x="49137" y="838111"/>
                </a:lnTo>
                <a:lnTo>
                  <a:pt x="55271" y="882051"/>
                </a:lnTo>
                <a:lnTo>
                  <a:pt x="62645" y="936122"/>
                </a:lnTo>
                <a:lnTo>
                  <a:pt x="71242" y="995819"/>
                </a:lnTo>
                <a:lnTo>
                  <a:pt x="79839" y="1057783"/>
                </a:lnTo>
                <a:lnTo>
                  <a:pt x="87213" y="1117481"/>
                </a:lnTo>
                <a:lnTo>
                  <a:pt x="94570" y="1170426"/>
                </a:lnTo>
                <a:lnTo>
                  <a:pt x="106855" y="1341640"/>
                </a:lnTo>
                <a:lnTo>
                  <a:pt x="113005" y="1429506"/>
                </a:lnTo>
                <a:lnTo>
                  <a:pt x="115452" y="1463302"/>
                </a:lnTo>
                <a:lnTo>
                  <a:pt x="115452" y="1468929"/>
                </a:lnTo>
                <a:lnTo>
                  <a:pt x="119139" y="1473431"/>
                </a:lnTo>
                <a:lnTo>
                  <a:pt x="124049" y="1479074"/>
                </a:lnTo>
                <a:lnTo>
                  <a:pt x="132647" y="1486953"/>
                </a:lnTo>
                <a:lnTo>
                  <a:pt x="142485" y="1495972"/>
                </a:lnTo>
                <a:lnTo>
                  <a:pt x="153529" y="1506102"/>
                </a:lnTo>
                <a:lnTo>
                  <a:pt x="167036" y="1517372"/>
                </a:lnTo>
                <a:lnTo>
                  <a:pt x="181784" y="1527501"/>
                </a:lnTo>
                <a:lnTo>
                  <a:pt x="196515" y="1536521"/>
                </a:lnTo>
                <a:lnTo>
                  <a:pt x="217397" y="1724638"/>
                </a:lnTo>
                <a:lnTo>
                  <a:pt x="221084" y="1726891"/>
                </a:lnTo>
                <a:lnTo>
                  <a:pt x="223548" y="1729143"/>
                </a:lnTo>
                <a:lnTo>
                  <a:pt x="221084" y="1737029"/>
                </a:lnTo>
                <a:lnTo>
                  <a:pt x="223548" y="1769696"/>
                </a:lnTo>
                <a:lnTo>
                  <a:pt x="266535" y="1760685"/>
                </a:lnTo>
                <a:lnTo>
                  <a:pt x="277596" y="1770822"/>
                </a:lnTo>
                <a:lnTo>
                  <a:pt x="278819" y="1770822"/>
                </a:lnTo>
                <a:lnTo>
                  <a:pt x="292327" y="1774202"/>
                </a:lnTo>
                <a:lnTo>
                  <a:pt x="304611" y="1776454"/>
                </a:lnTo>
                <a:lnTo>
                  <a:pt x="320582" y="1778708"/>
                </a:lnTo>
                <a:lnTo>
                  <a:pt x="339000" y="1780960"/>
                </a:lnTo>
                <a:lnTo>
                  <a:pt x="378300" y="1780960"/>
                </a:lnTo>
                <a:lnTo>
                  <a:pt x="397959" y="1778708"/>
                </a:lnTo>
                <a:lnTo>
                  <a:pt x="411466" y="1776454"/>
                </a:lnTo>
                <a:lnTo>
                  <a:pt x="421287" y="1774202"/>
                </a:lnTo>
                <a:lnTo>
                  <a:pt x="426214" y="1770822"/>
                </a:lnTo>
                <a:lnTo>
                  <a:pt x="427438" y="1766317"/>
                </a:lnTo>
                <a:lnTo>
                  <a:pt x="426214" y="1761810"/>
                </a:lnTo>
                <a:lnTo>
                  <a:pt x="422527" y="1759558"/>
                </a:lnTo>
                <a:lnTo>
                  <a:pt x="416377" y="1757305"/>
                </a:lnTo>
                <a:lnTo>
                  <a:pt x="407779" y="1756178"/>
                </a:lnTo>
                <a:lnTo>
                  <a:pt x="404092" y="1756178"/>
                </a:lnTo>
                <a:lnTo>
                  <a:pt x="399182" y="1755053"/>
                </a:lnTo>
                <a:lnTo>
                  <a:pt x="394272" y="1753926"/>
                </a:lnTo>
                <a:lnTo>
                  <a:pt x="389361" y="1753926"/>
                </a:lnTo>
                <a:lnTo>
                  <a:pt x="384451" y="1752799"/>
                </a:lnTo>
                <a:lnTo>
                  <a:pt x="379540" y="1751673"/>
                </a:lnTo>
                <a:lnTo>
                  <a:pt x="374613" y="1749419"/>
                </a:lnTo>
                <a:lnTo>
                  <a:pt x="369703" y="1748293"/>
                </a:lnTo>
                <a:lnTo>
                  <a:pt x="361105" y="1744914"/>
                </a:lnTo>
                <a:lnTo>
                  <a:pt x="351285" y="1741534"/>
                </a:lnTo>
                <a:lnTo>
                  <a:pt x="339000" y="1738155"/>
                </a:lnTo>
                <a:lnTo>
                  <a:pt x="327939" y="1734775"/>
                </a:lnTo>
                <a:lnTo>
                  <a:pt x="316895" y="1730270"/>
                </a:lnTo>
                <a:lnTo>
                  <a:pt x="304611" y="1726891"/>
                </a:lnTo>
                <a:lnTo>
                  <a:pt x="294790" y="1723511"/>
                </a:lnTo>
                <a:lnTo>
                  <a:pt x="286193" y="1721258"/>
                </a:lnTo>
                <a:lnTo>
                  <a:pt x="293550" y="1553419"/>
                </a:lnTo>
                <a:lnTo>
                  <a:pt x="309521" y="1553419"/>
                </a:lnTo>
                <a:lnTo>
                  <a:pt x="324269" y="1552293"/>
                </a:lnTo>
                <a:lnTo>
                  <a:pt x="337777" y="1551168"/>
                </a:lnTo>
                <a:lnTo>
                  <a:pt x="350061" y="1551168"/>
                </a:lnTo>
                <a:lnTo>
                  <a:pt x="359882" y="1550042"/>
                </a:lnTo>
                <a:lnTo>
                  <a:pt x="367256" y="1548917"/>
                </a:lnTo>
                <a:lnTo>
                  <a:pt x="375853" y="1548917"/>
                </a:lnTo>
                <a:lnTo>
                  <a:pt x="384451" y="1547791"/>
                </a:lnTo>
                <a:lnTo>
                  <a:pt x="384451" y="1503851"/>
                </a:lnTo>
                <a:lnTo>
                  <a:pt x="381987" y="1405855"/>
                </a:lnTo>
                <a:lnTo>
                  <a:pt x="379540" y="1221119"/>
                </a:lnTo>
                <a:lnTo>
                  <a:pt x="385674" y="1203096"/>
                </a:lnTo>
                <a:lnTo>
                  <a:pt x="390585" y="1241394"/>
                </a:lnTo>
                <a:lnTo>
                  <a:pt x="397959" y="1289821"/>
                </a:lnTo>
                <a:lnTo>
                  <a:pt x="405333" y="1345017"/>
                </a:lnTo>
                <a:lnTo>
                  <a:pt x="412690" y="1402479"/>
                </a:lnTo>
                <a:lnTo>
                  <a:pt x="420064" y="1461051"/>
                </a:lnTo>
                <a:lnTo>
                  <a:pt x="426214" y="1515121"/>
                </a:lnTo>
                <a:lnTo>
                  <a:pt x="429884" y="1562423"/>
                </a:lnTo>
                <a:lnTo>
                  <a:pt x="431125" y="1599595"/>
                </a:lnTo>
                <a:lnTo>
                  <a:pt x="431125" y="1661556"/>
                </a:lnTo>
                <a:lnTo>
                  <a:pt x="428661" y="1698728"/>
                </a:lnTo>
                <a:lnTo>
                  <a:pt x="427438" y="1717879"/>
                </a:lnTo>
                <a:lnTo>
                  <a:pt x="426214" y="1723511"/>
                </a:lnTo>
                <a:lnTo>
                  <a:pt x="424974" y="1732523"/>
                </a:lnTo>
                <a:lnTo>
                  <a:pt x="439722" y="1732523"/>
                </a:lnTo>
                <a:lnTo>
                  <a:pt x="444632" y="1769696"/>
                </a:lnTo>
                <a:lnTo>
                  <a:pt x="486396" y="1760685"/>
                </a:lnTo>
                <a:lnTo>
                  <a:pt x="497440" y="1770822"/>
                </a:lnTo>
                <a:lnTo>
                  <a:pt x="499903" y="1770822"/>
                </a:lnTo>
                <a:lnTo>
                  <a:pt x="512188" y="1774202"/>
                </a:lnTo>
                <a:lnTo>
                  <a:pt x="524472" y="1776454"/>
                </a:lnTo>
                <a:lnTo>
                  <a:pt x="540427" y="1778708"/>
                </a:lnTo>
                <a:lnTo>
                  <a:pt x="558862" y="1780960"/>
                </a:lnTo>
                <a:lnTo>
                  <a:pt x="599385" y="1780960"/>
                </a:lnTo>
                <a:lnTo>
                  <a:pt x="619043" y="1778708"/>
                </a:lnTo>
                <a:lnTo>
                  <a:pt x="632551" y="1776454"/>
                </a:lnTo>
                <a:lnTo>
                  <a:pt x="641148" y="1774202"/>
                </a:lnTo>
                <a:lnTo>
                  <a:pt x="646059" y="1770822"/>
                </a:lnTo>
                <a:lnTo>
                  <a:pt x="647299" y="1766317"/>
                </a:lnTo>
                <a:lnTo>
                  <a:pt x="646059" y="1761810"/>
                </a:lnTo>
                <a:lnTo>
                  <a:pt x="642372" y="1759558"/>
                </a:lnTo>
                <a:lnTo>
                  <a:pt x="636238" y="1757305"/>
                </a:lnTo>
                <a:lnTo>
                  <a:pt x="628864" y="1756178"/>
                </a:lnTo>
                <a:lnTo>
                  <a:pt x="623953" y="1756178"/>
                </a:lnTo>
                <a:lnTo>
                  <a:pt x="620266" y="1755053"/>
                </a:lnTo>
                <a:lnTo>
                  <a:pt x="615356" y="1753926"/>
                </a:lnTo>
                <a:lnTo>
                  <a:pt x="610446" y="1753926"/>
                </a:lnTo>
                <a:lnTo>
                  <a:pt x="604295" y="1752799"/>
                </a:lnTo>
                <a:lnTo>
                  <a:pt x="599385" y="1751673"/>
                </a:lnTo>
                <a:lnTo>
                  <a:pt x="595698" y="1749419"/>
                </a:lnTo>
                <a:lnTo>
                  <a:pt x="590787" y="1748293"/>
                </a:lnTo>
                <a:lnTo>
                  <a:pt x="580967" y="1744914"/>
                </a:lnTo>
                <a:lnTo>
                  <a:pt x="569906" y="1740407"/>
                </a:lnTo>
                <a:lnTo>
                  <a:pt x="557621" y="1737029"/>
                </a:lnTo>
                <a:lnTo>
                  <a:pt x="544114" y="1732523"/>
                </a:lnTo>
                <a:lnTo>
                  <a:pt x="531829" y="1729143"/>
                </a:lnTo>
                <a:lnTo>
                  <a:pt x="519545" y="1724638"/>
                </a:lnTo>
                <a:lnTo>
                  <a:pt x="509724" y="1722385"/>
                </a:lnTo>
                <a:lnTo>
                  <a:pt x="501127" y="1719006"/>
                </a:lnTo>
                <a:lnTo>
                  <a:pt x="502350" y="1715626"/>
                </a:lnTo>
                <a:lnTo>
                  <a:pt x="502350" y="1712247"/>
                </a:lnTo>
                <a:lnTo>
                  <a:pt x="503590" y="1698728"/>
                </a:lnTo>
                <a:lnTo>
                  <a:pt x="504814" y="1666061"/>
                </a:lnTo>
                <a:lnTo>
                  <a:pt x="508501" y="1626638"/>
                </a:lnTo>
                <a:lnTo>
                  <a:pt x="514635" y="1589466"/>
                </a:lnTo>
                <a:lnTo>
                  <a:pt x="518322" y="1568066"/>
                </a:lnTo>
                <a:lnTo>
                  <a:pt x="520785" y="1553419"/>
                </a:lnTo>
                <a:lnTo>
                  <a:pt x="523232" y="1544399"/>
                </a:lnTo>
                <a:lnTo>
                  <a:pt x="523232" y="1538772"/>
                </a:lnTo>
                <a:lnTo>
                  <a:pt x="531829" y="1537646"/>
                </a:lnTo>
                <a:lnTo>
                  <a:pt x="539203" y="1536521"/>
                </a:lnTo>
                <a:lnTo>
                  <a:pt x="547801" y="1534270"/>
                </a:lnTo>
                <a:lnTo>
                  <a:pt x="555175" y="1532019"/>
                </a:lnTo>
                <a:lnTo>
                  <a:pt x="567459" y="1527501"/>
                </a:lnTo>
                <a:lnTo>
                  <a:pt x="578503" y="1521874"/>
                </a:lnTo>
                <a:lnTo>
                  <a:pt x="588341" y="1515121"/>
                </a:lnTo>
                <a:lnTo>
                  <a:pt x="596938" y="1508353"/>
                </a:lnTo>
                <a:lnTo>
                  <a:pt x="604295" y="1501600"/>
                </a:lnTo>
                <a:lnTo>
                  <a:pt x="610446" y="1495972"/>
                </a:lnTo>
                <a:lnTo>
                  <a:pt x="614133" y="1492580"/>
                </a:lnTo>
                <a:lnTo>
                  <a:pt x="617820" y="1488078"/>
                </a:lnTo>
                <a:lnTo>
                  <a:pt x="592028" y="982298"/>
                </a:lnTo>
                <a:lnTo>
                  <a:pt x="615356" y="985690"/>
                </a:lnTo>
                <a:lnTo>
                  <a:pt x="636238" y="971043"/>
                </a:lnTo>
                <a:lnTo>
                  <a:pt x="669404" y="921475"/>
                </a:lnTo>
                <a:lnTo>
                  <a:pt x="680448" y="922600"/>
                </a:lnTo>
                <a:lnTo>
                  <a:pt x="686599" y="922600"/>
                </a:lnTo>
                <a:lnTo>
                  <a:pt x="697643" y="920349"/>
                </a:lnTo>
                <a:lnTo>
                  <a:pt x="712391" y="918098"/>
                </a:lnTo>
                <a:lnTo>
                  <a:pt x="729585" y="913596"/>
                </a:lnTo>
                <a:lnTo>
                  <a:pt x="749244" y="906828"/>
                </a:lnTo>
                <a:lnTo>
                  <a:pt x="767662" y="897824"/>
                </a:lnTo>
                <a:lnTo>
                  <a:pt x="784857" y="886553"/>
                </a:lnTo>
                <a:lnTo>
                  <a:pt x="798364" y="871906"/>
                </a:lnTo>
                <a:lnTo>
                  <a:pt x="805738" y="856134"/>
                </a:lnTo>
                <a:lnTo>
                  <a:pt x="808185" y="839236"/>
                </a:lnTo>
                <a:lnTo>
                  <a:pt x="805738" y="821213"/>
                </a:lnTo>
                <a:lnTo>
                  <a:pt x="799588" y="802064"/>
                </a:lnTo>
                <a:lnTo>
                  <a:pt x="794677" y="793060"/>
                </a:lnTo>
                <a:lnTo>
                  <a:pt x="789767" y="784040"/>
                </a:lnTo>
                <a:lnTo>
                  <a:pt x="783633" y="775037"/>
                </a:lnTo>
                <a:lnTo>
                  <a:pt x="779946" y="767143"/>
                </a:lnTo>
                <a:lnTo>
                  <a:pt x="815559" y="716464"/>
                </a:lnTo>
                <a:lnTo>
                  <a:pt x="797141" y="689422"/>
                </a:lnTo>
                <a:lnTo>
                  <a:pt x="738183" y="679292"/>
                </a:lnTo>
                <a:lnTo>
                  <a:pt x="728362" y="663520"/>
                </a:lnTo>
                <a:lnTo>
                  <a:pt x="719765" y="648873"/>
                </a:lnTo>
                <a:lnTo>
                  <a:pt x="709927" y="633100"/>
                </a:lnTo>
                <a:lnTo>
                  <a:pt x="700106" y="617328"/>
                </a:lnTo>
                <a:lnTo>
                  <a:pt x="690286" y="602681"/>
                </a:lnTo>
                <a:lnTo>
                  <a:pt x="680448" y="588050"/>
                </a:lnTo>
                <a:lnTo>
                  <a:pt x="670627" y="573403"/>
                </a:lnTo>
                <a:lnTo>
                  <a:pt x="662030" y="559881"/>
                </a:lnTo>
                <a:lnTo>
                  <a:pt x="654656" y="549752"/>
                </a:lnTo>
                <a:lnTo>
                  <a:pt x="648522" y="540733"/>
                </a:lnTo>
                <a:lnTo>
                  <a:pt x="642372" y="531729"/>
                </a:lnTo>
                <a:lnTo>
                  <a:pt x="637461" y="522709"/>
                </a:lnTo>
                <a:lnTo>
                  <a:pt x="632551" y="515956"/>
                </a:lnTo>
                <a:lnTo>
                  <a:pt x="628864" y="510313"/>
                </a:lnTo>
                <a:lnTo>
                  <a:pt x="626417" y="505811"/>
                </a:lnTo>
                <a:lnTo>
                  <a:pt x="625177" y="503560"/>
                </a:lnTo>
                <a:lnTo>
                  <a:pt x="620266" y="494541"/>
                </a:lnTo>
                <a:lnTo>
                  <a:pt x="611669" y="490039"/>
                </a:lnTo>
                <a:lnTo>
                  <a:pt x="601848" y="487788"/>
                </a:lnTo>
                <a:lnTo>
                  <a:pt x="590787" y="485537"/>
                </a:lnTo>
                <a:lnTo>
                  <a:pt x="582190" y="484411"/>
                </a:lnTo>
                <a:lnTo>
                  <a:pt x="573593" y="483286"/>
                </a:lnTo>
                <a:lnTo>
                  <a:pt x="564995" y="481035"/>
                </a:lnTo>
                <a:lnTo>
                  <a:pt x="556398" y="478784"/>
                </a:lnTo>
                <a:lnTo>
                  <a:pt x="544114" y="475392"/>
                </a:lnTo>
                <a:lnTo>
                  <a:pt x="526919" y="470890"/>
                </a:lnTo>
                <a:lnTo>
                  <a:pt x="507277" y="466388"/>
                </a:lnTo>
                <a:lnTo>
                  <a:pt x="485155" y="463012"/>
                </a:lnTo>
                <a:lnTo>
                  <a:pt x="463050" y="459635"/>
                </a:lnTo>
                <a:lnTo>
                  <a:pt x="443409" y="456243"/>
                </a:lnTo>
                <a:lnTo>
                  <a:pt x="426214" y="453992"/>
                </a:lnTo>
                <a:lnTo>
                  <a:pt x="413930" y="451741"/>
                </a:lnTo>
                <a:lnTo>
                  <a:pt x="412690" y="443863"/>
                </a:lnTo>
                <a:lnTo>
                  <a:pt x="411466" y="434843"/>
                </a:lnTo>
                <a:lnTo>
                  <a:pt x="407779" y="426965"/>
                </a:lnTo>
                <a:lnTo>
                  <a:pt x="404092" y="419071"/>
                </a:lnTo>
                <a:lnTo>
                  <a:pt x="399182" y="414569"/>
                </a:lnTo>
                <a:lnTo>
                  <a:pt x="393048" y="412318"/>
                </a:lnTo>
                <a:lnTo>
                  <a:pt x="384451" y="410067"/>
                </a:lnTo>
                <a:lnTo>
                  <a:pt x="375853" y="410067"/>
                </a:lnTo>
                <a:lnTo>
                  <a:pt x="366016" y="372895"/>
                </a:lnTo>
                <a:lnTo>
                  <a:pt x="594474" y="277135"/>
                </a:lnTo>
                <a:lnTo>
                  <a:pt x="655896" y="277135"/>
                </a:lnTo>
                <a:lnTo>
                  <a:pt x="642372" y="237711"/>
                </a:lnTo>
                <a:lnTo>
                  <a:pt x="687822" y="208371"/>
                </a:lnTo>
                <a:lnTo>
                  <a:pt x="697643" y="217437"/>
                </a:lnTo>
                <a:lnTo>
                  <a:pt x="706240" y="225253"/>
                </a:lnTo>
                <a:lnTo>
                  <a:pt x="712391" y="232084"/>
                </a:lnTo>
                <a:lnTo>
                  <a:pt x="717301" y="237711"/>
                </a:lnTo>
                <a:lnTo>
                  <a:pt x="720988" y="241103"/>
                </a:lnTo>
                <a:lnTo>
                  <a:pt x="724675" y="244480"/>
                </a:lnTo>
                <a:lnTo>
                  <a:pt x="730809" y="247856"/>
                </a:lnTo>
                <a:lnTo>
                  <a:pt x="735719" y="248982"/>
                </a:lnTo>
                <a:lnTo>
                  <a:pt x="741870" y="250107"/>
                </a:lnTo>
                <a:lnTo>
                  <a:pt x="748003" y="250107"/>
                </a:lnTo>
                <a:lnTo>
                  <a:pt x="754154" y="248982"/>
                </a:lnTo>
                <a:lnTo>
                  <a:pt x="760288" y="246731"/>
                </a:lnTo>
                <a:lnTo>
                  <a:pt x="767662" y="241103"/>
                </a:lnTo>
                <a:lnTo>
                  <a:pt x="775036" y="230958"/>
                </a:lnTo>
                <a:lnTo>
                  <a:pt x="777483" y="213998"/>
                </a:lnTo>
                <a:lnTo>
                  <a:pt x="771349" y="188206"/>
                </a:lnTo>
                <a:lnTo>
                  <a:pt x="770109" y="183672"/>
                </a:lnTo>
                <a:lnTo>
                  <a:pt x="768885" y="180233"/>
                </a:lnTo>
                <a:lnTo>
                  <a:pt x="775036" y="181328"/>
                </a:lnTo>
                <a:lnTo>
                  <a:pt x="793454" y="181328"/>
                </a:lnTo>
                <a:lnTo>
                  <a:pt x="799588" y="180233"/>
                </a:lnTo>
                <a:lnTo>
                  <a:pt x="805738" y="179139"/>
                </a:lnTo>
                <a:lnTo>
                  <a:pt x="810649" y="175700"/>
                </a:lnTo>
                <a:lnTo>
                  <a:pt x="815559" y="172418"/>
                </a:lnTo>
                <a:lnTo>
                  <a:pt x="819246" y="167884"/>
                </a:lnTo>
                <a:lnTo>
                  <a:pt x="820469" y="161163"/>
                </a:lnTo>
                <a:lnTo>
                  <a:pt x="820469" y="152096"/>
                </a:lnTo>
                <a:lnTo>
                  <a:pt x="816782" y="140841"/>
                </a:lnTo>
                <a:lnTo>
                  <a:pt x="813112" y="131775"/>
                </a:lnTo>
                <a:lnTo>
                  <a:pt x="809425" y="125053"/>
                </a:lnTo>
                <a:lnTo>
                  <a:pt x="805738" y="119426"/>
                </a:lnTo>
                <a:lnTo>
                  <a:pt x="803275" y="114893"/>
                </a:lnTo>
                <a:lnTo>
                  <a:pt x="806962" y="114893"/>
                </a:lnTo>
                <a:lnTo>
                  <a:pt x="811872" y="113799"/>
                </a:lnTo>
                <a:lnTo>
                  <a:pt x="815559" y="111610"/>
                </a:lnTo>
                <a:lnTo>
                  <a:pt x="819246" y="108171"/>
                </a:lnTo>
                <a:lnTo>
                  <a:pt x="821710" y="100355"/>
                </a:lnTo>
                <a:lnTo>
                  <a:pt x="821710" y="91289"/>
                </a:lnTo>
                <a:lnTo>
                  <a:pt x="818023" y="78940"/>
                </a:lnTo>
                <a:lnTo>
                  <a:pt x="811872" y="63152"/>
                </a:lnTo>
                <a:lnTo>
                  <a:pt x="806962" y="56430"/>
                </a:lnTo>
                <a:lnTo>
                  <a:pt x="798364" y="49552"/>
                </a:lnTo>
                <a:lnTo>
                  <a:pt x="786080" y="42830"/>
                </a:lnTo>
                <a:lnTo>
                  <a:pt x="771349" y="37203"/>
                </a:lnTo>
                <a:lnTo>
                  <a:pt x="755377" y="31576"/>
                </a:lnTo>
                <a:lnTo>
                  <a:pt x="736959" y="27042"/>
                </a:lnTo>
                <a:lnTo>
                  <a:pt x="718524" y="22509"/>
                </a:lnTo>
                <a:lnTo>
                  <a:pt x="698883" y="18132"/>
                </a:lnTo>
                <a:lnTo>
                  <a:pt x="678001" y="14693"/>
                </a:lnTo>
                <a:lnTo>
                  <a:pt x="658343" y="11254"/>
                </a:lnTo>
                <a:lnTo>
                  <a:pt x="639925" y="9066"/>
                </a:lnTo>
                <a:lnTo>
                  <a:pt x="621490" y="6721"/>
                </a:lnTo>
                <a:lnTo>
                  <a:pt x="605535" y="4533"/>
                </a:lnTo>
                <a:lnTo>
                  <a:pt x="590787" y="3438"/>
                </a:lnTo>
                <a:lnTo>
                  <a:pt x="579743" y="2344"/>
                </a:lnTo>
                <a:lnTo>
                  <a:pt x="571146" y="1094"/>
                </a:lnTo>
                <a:lnTo>
                  <a:pt x="567459" y="0"/>
                </a:lnTo>
                <a:lnTo>
                  <a:pt x="497440" y="48458"/>
                </a:lnTo>
                <a:lnTo>
                  <a:pt x="485155" y="38297"/>
                </a:lnTo>
                <a:lnTo>
                  <a:pt x="477798" y="28137"/>
                </a:lnTo>
                <a:lnTo>
                  <a:pt x="472871" y="21415"/>
                </a:lnTo>
                <a:lnTo>
                  <a:pt x="471648" y="18132"/>
                </a:lnTo>
                <a:lnTo>
                  <a:pt x="460604" y="24854"/>
                </a:lnTo>
                <a:lnTo>
                  <a:pt x="461827" y="28137"/>
                </a:lnTo>
                <a:lnTo>
                  <a:pt x="464274" y="36109"/>
                </a:lnTo>
                <a:lnTo>
                  <a:pt x="471648" y="46269"/>
                </a:lnTo>
                <a:lnTo>
                  <a:pt x="483932" y="58619"/>
                </a:lnTo>
                <a:lnTo>
                  <a:pt x="436035" y="92383"/>
                </a:lnTo>
                <a:lnTo>
                  <a:pt x="422527" y="80034"/>
                </a:lnTo>
                <a:lnTo>
                  <a:pt x="439722" y="69873"/>
                </a:lnTo>
                <a:lnTo>
                  <a:pt x="429884" y="56430"/>
                </a:lnTo>
                <a:lnTo>
                  <a:pt x="410243" y="68779"/>
                </a:lnTo>
                <a:lnTo>
                  <a:pt x="369703" y="30481"/>
                </a:lnTo>
                <a:lnTo>
                  <a:pt x="325493" y="43925"/>
                </a:lnTo>
                <a:lnTo>
                  <a:pt x="316895" y="67685"/>
                </a:lnTo>
                <a:lnTo>
                  <a:pt x="383210" y="133026"/>
                </a:lnTo>
                <a:lnTo>
                  <a:pt x="373390" y="140841"/>
                </a:lnTo>
                <a:lnTo>
                  <a:pt x="359882" y="149908"/>
                </a:lnTo>
                <a:lnTo>
                  <a:pt x="343911" y="162257"/>
                </a:lnTo>
                <a:lnTo>
                  <a:pt x="326716" y="175700"/>
                </a:lnTo>
                <a:lnTo>
                  <a:pt x="308298" y="190394"/>
                </a:lnTo>
                <a:lnTo>
                  <a:pt x="289863" y="205088"/>
                </a:lnTo>
                <a:lnTo>
                  <a:pt x="273909" y="218531"/>
                </a:lnTo>
                <a:lnTo>
                  <a:pt x="257937" y="232084"/>
                </a:lnTo>
                <a:lnTo>
                  <a:pt x="249340" y="241103"/>
                </a:lnTo>
                <a:lnTo>
                  <a:pt x="244429" y="251233"/>
                </a:lnTo>
                <a:lnTo>
                  <a:pt x="240742" y="261378"/>
                </a:lnTo>
                <a:lnTo>
                  <a:pt x="240742" y="272633"/>
                </a:lnTo>
                <a:lnTo>
                  <a:pt x="243189" y="282778"/>
                </a:lnTo>
                <a:lnTo>
                  <a:pt x="246876" y="292907"/>
                </a:lnTo>
                <a:lnTo>
                  <a:pt x="251786" y="303052"/>
                </a:lnTo>
                <a:lnTo>
                  <a:pt x="259161" y="310930"/>
                </a:lnTo>
                <a:lnTo>
                  <a:pt x="265311" y="317699"/>
                </a:lnTo>
                <a:lnTo>
                  <a:pt x="271445" y="323326"/>
                </a:lnTo>
                <a:lnTo>
                  <a:pt x="276355" y="327828"/>
                </a:lnTo>
                <a:lnTo>
                  <a:pt x="280042" y="331205"/>
                </a:lnTo>
                <a:lnTo>
                  <a:pt x="316895" y="407816"/>
                </a:lnTo>
                <a:lnTo>
                  <a:pt x="267758" y="389792"/>
                </a:lnTo>
                <a:lnTo>
                  <a:pt x="249340" y="435969"/>
                </a:lnTo>
                <a:lnTo>
                  <a:pt x="224771" y="439345"/>
                </a:lnTo>
                <a:lnTo>
                  <a:pt x="211263" y="467513"/>
                </a:lnTo>
                <a:lnTo>
                  <a:pt x="189158" y="474266"/>
                </a:lnTo>
                <a:lnTo>
                  <a:pt x="184248" y="476517"/>
                </a:lnTo>
                <a:lnTo>
                  <a:pt x="169500" y="481035"/>
                </a:lnTo>
                <a:lnTo>
                  <a:pt x="148618" y="488913"/>
                </a:lnTo>
                <a:lnTo>
                  <a:pt x="124049" y="496807"/>
                </a:lnTo>
                <a:lnTo>
                  <a:pt x="99498" y="505811"/>
                </a:lnTo>
                <a:lnTo>
                  <a:pt x="76152" y="513705"/>
                </a:lnTo>
                <a:lnTo>
                  <a:pt x="57734" y="520458"/>
                </a:lnTo>
                <a:lnTo>
                  <a:pt x="46673" y="524960"/>
                </a:lnTo>
                <a:lnTo>
                  <a:pt x="41763" y="523835"/>
                </a:lnTo>
                <a:lnTo>
                  <a:pt x="35629" y="523835"/>
                </a:lnTo>
                <a:lnTo>
                  <a:pt x="29479" y="522709"/>
                </a:lnTo>
                <a:lnTo>
                  <a:pt x="23345" y="522709"/>
                </a:lnTo>
                <a:lnTo>
                  <a:pt x="18435" y="523835"/>
                </a:lnTo>
                <a:lnTo>
                  <a:pt x="12284" y="524960"/>
                </a:lnTo>
                <a:lnTo>
                  <a:pt x="7374" y="526086"/>
                </a:lnTo>
                <a:lnTo>
                  <a:pt x="3687" y="529462"/>
                </a:lnTo>
                <a:lnTo>
                  <a:pt x="1223" y="531729"/>
                </a:lnTo>
                <a:lnTo>
                  <a:pt x="0" y="535105"/>
                </a:lnTo>
                <a:close/>
              </a:path>
            </a:pathLst>
          </a:custGeom>
          <a:solidFill>
            <a:srgbClr val="000000"/>
          </a:solidFill>
        </p:spPr>
        <p:txBody>
          <a:bodyPr wrap="square" lIns="0" tIns="0" rIns="0" bIns="0" rtlCol="0">
            <a:noAutofit/>
          </a:bodyPr>
          <a:lstStyle/>
          <a:p>
            <a:endParaRPr/>
          </a:p>
        </p:txBody>
      </p:sp>
      <p:sp>
        <p:nvSpPr>
          <p:cNvPr id="83" name="object 83"/>
          <p:cNvSpPr/>
          <p:nvPr/>
        </p:nvSpPr>
        <p:spPr>
          <a:xfrm>
            <a:off x="8955865" y="918044"/>
            <a:ext cx="401646" cy="539576"/>
          </a:xfrm>
          <a:custGeom>
            <a:avLst/>
            <a:gdLst/>
            <a:ahLst/>
            <a:cxnLst/>
            <a:rect l="l" t="t" r="r" b="b"/>
            <a:pathLst>
              <a:path w="401646" h="539576">
                <a:moveTo>
                  <a:pt x="330403" y="412287"/>
                </a:moveTo>
                <a:lnTo>
                  <a:pt x="327939" y="395389"/>
                </a:lnTo>
                <a:lnTo>
                  <a:pt x="326716" y="378491"/>
                </a:lnTo>
                <a:lnTo>
                  <a:pt x="324269" y="357091"/>
                </a:lnTo>
                <a:lnTo>
                  <a:pt x="314432" y="271476"/>
                </a:lnTo>
                <a:lnTo>
                  <a:pt x="300924" y="199382"/>
                </a:lnTo>
                <a:lnTo>
                  <a:pt x="284953" y="140810"/>
                </a:lnTo>
                <a:lnTo>
                  <a:pt x="268998" y="93493"/>
                </a:lnTo>
                <a:lnTo>
                  <a:pt x="253027" y="57446"/>
                </a:lnTo>
                <a:lnTo>
                  <a:pt x="239519" y="33795"/>
                </a:lnTo>
                <a:lnTo>
                  <a:pt x="230922" y="19148"/>
                </a:lnTo>
                <a:lnTo>
                  <a:pt x="227235" y="14646"/>
                </a:lnTo>
                <a:lnTo>
                  <a:pt x="225994" y="11270"/>
                </a:lnTo>
                <a:lnTo>
                  <a:pt x="228458" y="0"/>
                </a:lnTo>
                <a:lnTo>
                  <a:pt x="218637" y="1125"/>
                </a:lnTo>
                <a:lnTo>
                  <a:pt x="206353" y="27042"/>
                </a:lnTo>
                <a:lnTo>
                  <a:pt x="178097" y="36046"/>
                </a:lnTo>
                <a:lnTo>
                  <a:pt x="30702" y="87865"/>
                </a:lnTo>
                <a:lnTo>
                  <a:pt x="28255" y="87865"/>
                </a:lnTo>
                <a:lnTo>
                  <a:pt x="19658" y="86740"/>
                </a:lnTo>
                <a:lnTo>
                  <a:pt x="11061" y="85615"/>
                </a:lnTo>
                <a:lnTo>
                  <a:pt x="4910" y="85615"/>
                </a:lnTo>
                <a:lnTo>
                  <a:pt x="0" y="86740"/>
                </a:lnTo>
                <a:lnTo>
                  <a:pt x="0" y="88991"/>
                </a:lnTo>
                <a:lnTo>
                  <a:pt x="1240" y="93493"/>
                </a:lnTo>
                <a:lnTo>
                  <a:pt x="1240" y="100261"/>
                </a:lnTo>
                <a:lnTo>
                  <a:pt x="2463" y="109265"/>
                </a:lnTo>
                <a:lnTo>
                  <a:pt x="13507" y="198257"/>
                </a:lnTo>
                <a:lnTo>
                  <a:pt x="27032" y="275978"/>
                </a:lnTo>
                <a:lnTo>
                  <a:pt x="42986" y="343569"/>
                </a:lnTo>
                <a:lnTo>
                  <a:pt x="60181" y="401016"/>
                </a:lnTo>
                <a:lnTo>
                  <a:pt x="79839" y="448333"/>
                </a:lnTo>
                <a:lnTo>
                  <a:pt x="100721" y="484380"/>
                </a:lnTo>
                <a:lnTo>
                  <a:pt x="124049" y="510282"/>
                </a:lnTo>
                <a:lnTo>
                  <a:pt x="148618" y="524929"/>
                </a:lnTo>
                <a:lnTo>
                  <a:pt x="165813" y="530556"/>
                </a:lnTo>
                <a:lnTo>
                  <a:pt x="183008" y="535074"/>
                </a:lnTo>
                <a:lnTo>
                  <a:pt x="200202" y="537325"/>
                </a:lnTo>
                <a:lnTo>
                  <a:pt x="218637" y="539576"/>
                </a:lnTo>
                <a:lnTo>
                  <a:pt x="253027" y="539576"/>
                </a:lnTo>
                <a:lnTo>
                  <a:pt x="271445" y="538450"/>
                </a:lnTo>
                <a:lnTo>
                  <a:pt x="288640" y="536199"/>
                </a:lnTo>
                <a:lnTo>
                  <a:pt x="305834" y="533948"/>
                </a:lnTo>
                <a:lnTo>
                  <a:pt x="321806" y="530556"/>
                </a:lnTo>
                <a:lnTo>
                  <a:pt x="337777" y="527180"/>
                </a:lnTo>
                <a:lnTo>
                  <a:pt x="352508" y="523803"/>
                </a:lnTo>
                <a:lnTo>
                  <a:pt x="366016" y="520427"/>
                </a:lnTo>
                <a:lnTo>
                  <a:pt x="379540" y="515925"/>
                </a:lnTo>
                <a:lnTo>
                  <a:pt x="390585" y="512533"/>
                </a:lnTo>
                <a:lnTo>
                  <a:pt x="401646" y="509156"/>
                </a:lnTo>
                <a:lnTo>
                  <a:pt x="361105" y="504654"/>
                </a:lnTo>
                <a:lnTo>
                  <a:pt x="348821" y="477627"/>
                </a:lnTo>
                <a:lnTo>
                  <a:pt x="364792" y="450584"/>
                </a:lnTo>
                <a:lnTo>
                  <a:pt x="345134" y="449459"/>
                </a:lnTo>
                <a:lnTo>
                  <a:pt x="320582" y="448333"/>
                </a:lnTo>
                <a:lnTo>
                  <a:pt x="294790" y="447208"/>
                </a:lnTo>
                <a:lnTo>
                  <a:pt x="267758" y="443831"/>
                </a:lnTo>
                <a:lnTo>
                  <a:pt x="241966" y="440439"/>
                </a:lnTo>
                <a:lnTo>
                  <a:pt x="219861" y="434812"/>
                </a:lnTo>
                <a:lnTo>
                  <a:pt x="202666" y="428059"/>
                </a:lnTo>
                <a:lnTo>
                  <a:pt x="192845" y="419039"/>
                </a:lnTo>
                <a:lnTo>
                  <a:pt x="181784" y="384118"/>
                </a:lnTo>
                <a:lnTo>
                  <a:pt x="173187" y="334566"/>
                </a:lnTo>
                <a:lnTo>
                  <a:pt x="168277" y="287248"/>
                </a:lnTo>
                <a:lnTo>
                  <a:pt x="165813" y="260221"/>
                </a:lnTo>
                <a:lnTo>
                  <a:pt x="176874" y="228676"/>
                </a:lnTo>
                <a:lnTo>
                  <a:pt x="180561" y="269225"/>
                </a:lnTo>
                <a:lnTo>
                  <a:pt x="187918" y="324421"/>
                </a:lnTo>
                <a:lnTo>
                  <a:pt x="197756" y="378491"/>
                </a:lnTo>
                <a:lnTo>
                  <a:pt x="207576" y="411161"/>
                </a:lnTo>
                <a:lnTo>
                  <a:pt x="212487" y="415663"/>
                </a:lnTo>
                <a:lnTo>
                  <a:pt x="221084" y="419039"/>
                </a:lnTo>
                <a:lnTo>
                  <a:pt x="234592" y="422416"/>
                </a:lnTo>
                <a:lnTo>
                  <a:pt x="249340" y="425808"/>
                </a:lnTo>
                <a:lnTo>
                  <a:pt x="267758" y="428059"/>
                </a:lnTo>
                <a:lnTo>
                  <a:pt x="287416" y="430310"/>
                </a:lnTo>
                <a:lnTo>
                  <a:pt x="309521" y="432561"/>
                </a:lnTo>
                <a:lnTo>
                  <a:pt x="331626" y="433686"/>
                </a:lnTo>
                <a:lnTo>
                  <a:pt x="330403" y="412287"/>
                </a:lnTo>
                <a:close/>
              </a:path>
            </a:pathLst>
          </a:custGeom>
          <a:solidFill>
            <a:srgbClr val="E4E4E4"/>
          </a:solidFill>
        </p:spPr>
        <p:txBody>
          <a:bodyPr wrap="square" lIns="0" tIns="0" rIns="0" bIns="0" rtlCol="0">
            <a:noAutofit/>
          </a:bodyPr>
          <a:lstStyle/>
          <a:p>
            <a:endParaRPr/>
          </a:p>
        </p:txBody>
      </p:sp>
      <p:sp>
        <p:nvSpPr>
          <p:cNvPr id="84" name="object 84"/>
          <p:cNvSpPr/>
          <p:nvPr/>
        </p:nvSpPr>
        <p:spPr>
          <a:xfrm>
            <a:off x="9312060" y="1479021"/>
            <a:ext cx="110542" cy="23650"/>
          </a:xfrm>
          <a:custGeom>
            <a:avLst/>
            <a:gdLst/>
            <a:ahLst/>
            <a:cxnLst/>
            <a:rect l="l" t="t" r="r" b="b"/>
            <a:pathLst>
              <a:path w="110542" h="23650">
                <a:moveTo>
                  <a:pt x="110542" y="10144"/>
                </a:moveTo>
                <a:lnTo>
                  <a:pt x="110542" y="0"/>
                </a:lnTo>
                <a:lnTo>
                  <a:pt x="0" y="12395"/>
                </a:lnTo>
                <a:lnTo>
                  <a:pt x="0" y="23650"/>
                </a:lnTo>
                <a:lnTo>
                  <a:pt x="110542" y="10144"/>
                </a:lnTo>
                <a:close/>
              </a:path>
            </a:pathLst>
          </a:custGeom>
          <a:solidFill>
            <a:srgbClr val="00207B"/>
          </a:solidFill>
        </p:spPr>
        <p:txBody>
          <a:bodyPr wrap="square" lIns="0" tIns="0" rIns="0" bIns="0" rtlCol="0">
            <a:noAutofit/>
          </a:bodyPr>
          <a:lstStyle/>
          <a:p>
            <a:endParaRPr/>
          </a:p>
        </p:txBody>
      </p:sp>
      <p:sp>
        <p:nvSpPr>
          <p:cNvPr id="85" name="object 85"/>
          <p:cNvSpPr/>
          <p:nvPr/>
        </p:nvSpPr>
        <p:spPr>
          <a:xfrm>
            <a:off x="9310837" y="1431703"/>
            <a:ext cx="110542" cy="43940"/>
          </a:xfrm>
          <a:custGeom>
            <a:avLst/>
            <a:gdLst/>
            <a:ahLst/>
            <a:cxnLst/>
            <a:rect l="l" t="t" r="r" b="b"/>
            <a:pathLst>
              <a:path w="110542" h="43940">
                <a:moveTo>
                  <a:pt x="110542" y="31544"/>
                </a:moveTo>
                <a:lnTo>
                  <a:pt x="110542" y="23666"/>
                </a:lnTo>
                <a:lnTo>
                  <a:pt x="109318" y="16897"/>
                </a:lnTo>
                <a:lnTo>
                  <a:pt x="109318" y="10144"/>
                </a:lnTo>
                <a:lnTo>
                  <a:pt x="108078" y="3392"/>
                </a:lnTo>
                <a:lnTo>
                  <a:pt x="81063" y="0"/>
                </a:lnTo>
                <a:lnTo>
                  <a:pt x="76152" y="1141"/>
                </a:lnTo>
                <a:lnTo>
                  <a:pt x="70002" y="4517"/>
                </a:lnTo>
                <a:lnTo>
                  <a:pt x="61404" y="6768"/>
                </a:lnTo>
                <a:lnTo>
                  <a:pt x="51584" y="10144"/>
                </a:lnTo>
                <a:lnTo>
                  <a:pt x="40523" y="14646"/>
                </a:lnTo>
                <a:lnTo>
                  <a:pt x="28238" y="18023"/>
                </a:lnTo>
                <a:lnTo>
                  <a:pt x="14731" y="22540"/>
                </a:lnTo>
                <a:lnTo>
                  <a:pt x="0" y="27042"/>
                </a:lnTo>
                <a:lnTo>
                  <a:pt x="0" y="43940"/>
                </a:lnTo>
                <a:lnTo>
                  <a:pt x="110542" y="31544"/>
                </a:lnTo>
                <a:close/>
              </a:path>
            </a:pathLst>
          </a:custGeom>
          <a:solidFill>
            <a:srgbClr val="FFB12B"/>
          </a:solidFill>
        </p:spPr>
        <p:txBody>
          <a:bodyPr wrap="square" lIns="0" tIns="0" rIns="0" bIns="0" rtlCol="0">
            <a:noAutofit/>
          </a:bodyPr>
          <a:lstStyle/>
          <a:p>
            <a:endParaRPr/>
          </a:p>
        </p:txBody>
      </p:sp>
      <p:sp>
        <p:nvSpPr>
          <p:cNvPr id="86" name="object 86"/>
          <p:cNvSpPr/>
          <p:nvPr/>
        </p:nvSpPr>
        <p:spPr>
          <a:xfrm>
            <a:off x="9005002" y="1335960"/>
            <a:ext cx="300924" cy="666865"/>
          </a:xfrm>
          <a:custGeom>
            <a:avLst/>
            <a:gdLst/>
            <a:ahLst/>
            <a:cxnLst/>
            <a:rect l="l" t="t" r="r" b="b"/>
            <a:pathLst>
              <a:path w="300924" h="666865">
                <a:moveTo>
                  <a:pt x="8597" y="21399"/>
                </a:moveTo>
                <a:lnTo>
                  <a:pt x="0" y="0"/>
                </a:lnTo>
                <a:lnTo>
                  <a:pt x="4910" y="34921"/>
                </a:lnTo>
                <a:lnTo>
                  <a:pt x="11044" y="72093"/>
                </a:lnTo>
                <a:lnTo>
                  <a:pt x="17194" y="111516"/>
                </a:lnTo>
                <a:lnTo>
                  <a:pt x="23328" y="150955"/>
                </a:lnTo>
                <a:lnTo>
                  <a:pt x="29479" y="191504"/>
                </a:lnTo>
                <a:lnTo>
                  <a:pt x="35612" y="229802"/>
                </a:lnTo>
                <a:lnTo>
                  <a:pt x="40523" y="264723"/>
                </a:lnTo>
                <a:lnTo>
                  <a:pt x="44210" y="297393"/>
                </a:lnTo>
                <a:lnTo>
                  <a:pt x="54047" y="390887"/>
                </a:lnTo>
                <a:lnTo>
                  <a:pt x="61404" y="481004"/>
                </a:lnTo>
                <a:lnTo>
                  <a:pt x="65091" y="554223"/>
                </a:lnTo>
                <a:lnTo>
                  <a:pt x="66315" y="592520"/>
                </a:lnTo>
                <a:lnTo>
                  <a:pt x="72465" y="599273"/>
                </a:lnTo>
                <a:lnTo>
                  <a:pt x="82286" y="608293"/>
                </a:lnTo>
                <a:lnTo>
                  <a:pt x="94570" y="619548"/>
                </a:lnTo>
                <a:lnTo>
                  <a:pt x="109318" y="631944"/>
                </a:lnTo>
                <a:lnTo>
                  <a:pt x="126513" y="644340"/>
                </a:lnTo>
                <a:lnTo>
                  <a:pt x="143708" y="654469"/>
                </a:lnTo>
                <a:lnTo>
                  <a:pt x="160903" y="662363"/>
                </a:lnTo>
                <a:lnTo>
                  <a:pt x="178097" y="665740"/>
                </a:lnTo>
                <a:lnTo>
                  <a:pt x="194052" y="666865"/>
                </a:lnTo>
                <a:lnTo>
                  <a:pt x="228458" y="666865"/>
                </a:lnTo>
                <a:lnTo>
                  <a:pt x="246876" y="665740"/>
                </a:lnTo>
                <a:lnTo>
                  <a:pt x="262848" y="665740"/>
                </a:lnTo>
                <a:lnTo>
                  <a:pt x="277579" y="664614"/>
                </a:lnTo>
                <a:lnTo>
                  <a:pt x="291086" y="663489"/>
                </a:lnTo>
                <a:lnTo>
                  <a:pt x="300924" y="662363"/>
                </a:lnTo>
                <a:lnTo>
                  <a:pt x="300924" y="591395"/>
                </a:lnTo>
                <a:lnTo>
                  <a:pt x="298460" y="462980"/>
                </a:lnTo>
                <a:lnTo>
                  <a:pt x="294773" y="299644"/>
                </a:lnTo>
                <a:lnTo>
                  <a:pt x="288640" y="126163"/>
                </a:lnTo>
                <a:lnTo>
                  <a:pt x="277579" y="128414"/>
                </a:lnTo>
                <a:lnTo>
                  <a:pt x="265294" y="130665"/>
                </a:lnTo>
                <a:lnTo>
                  <a:pt x="254250" y="132932"/>
                </a:lnTo>
                <a:lnTo>
                  <a:pt x="241966" y="135183"/>
                </a:lnTo>
                <a:lnTo>
                  <a:pt x="229681" y="136308"/>
                </a:lnTo>
                <a:lnTo>
                  <a:pt x="217397" y="137434"/>
                </a:lnTo>
                <a:lnTo>
                  <a:pt x="205113" y="137434"/>
                </a:lnTo>
                <a:lnTo>
                  <a:pt x="192828" y="138559"/>
                </a:lnTo>
                <a:lnTo>
                  <a:pt x="179321" y="138559"/>
                </a:lnTo>
                <a:lnTo>
                  <a:pt x="167036" y="137434"/>
                </a:lnTo>
                <a:lnTo>
                  <a:pt x="153529" y="136308"/>
                </a:lnTo>
                <a:lnTo>
                  <a:pt x="141244" y="135183"/>
                </a:lnTo>
                <a:lnTo>
                  <a:pt x="128960" y="132932"/>
                </a:lnTo>
                <a:lnTo>
                  <a:pt x="116675" y="129540"/>
                </a:lnTo>
                <a:lnTo>
                  <a:pt x="104391" y="126163"/>
                </a:lnTo>
                <a:lnTo>
                  <a:pt x="92107" y="121661"/>
                </a:lnTo>
                <a:lnTo>
                  <a:pt x="77376" y="113767"/>
                </a:lnTo>
                <a:lnTo>
                  <a:pt x="63868" y="104763"/>
                </a:lnTo>
                <a:lnTo>
                  <a:pt x="51584" y="91242"/>
                </a:lnTo>
                <a:lnTo>
                  <a:pt x="39299" y="76595"/>
                </a:lnTo>
                <a:lnTo>
                  <a:pt x="28238" y="59713"/>
                </a:lnTo>
                <a:lnTo>
                  <a:pt x="18418" y="41689"/>
                </a:lnTo>
                <a:lnTo>
                  <a:pt x="8597" y="21399"/>
                </a:lnTo>
                <a:close/>
              </a:path>
            </a:pathLst>
          </a:custGeom>
          <a:solidFill>
            <a:srgbClr val="E4E4E4"/>
          </a:solidFill>
        </p:spPr>
        <p:txBody>
          <a:bodyPr wrap="square" lIns="0" tIns="0" rIns="0" bIns="0" rtlCol="0">
            <a:noAutofit/>
          </a:bodyPr>
          <a:lstStyle/>
          <a:p>
            <a:endParaRPr/>
          </a:p>
        </p:txBody>
      </p:sp>
      <p:sp>
        <p:nvSpPr>
          <p:cNvPr id="87" name="object 87"/>
          <p:cNvSpPr/>
          <p:nvPr/>
        </p:nvSpPr>
        <p:spPr>
          <a:xfrm>
            <a:off x="9174502" y="2195449"/>
            <a:ext cx="136334" cy="34919"/>
          </a:xfrm>
          <a:custGeom>
            <a:avLst/>
            <a:gdLst/>
            <a:ahLst/>
            <a:cxnLst/>
            <a:rect l="l" t="t" r="r" b="b"/>
            <a:pathLst>
              <a:path w="136334" h="34919">
                <a:moveTo>
                  <a:pt x="35612" y="13516"/>
                </a:moveTo>
                <a:lnTo>
                  <a:pt x="50360" y="25908"/>
                </a:lnTo>
                <a:lnTo>
                  <a:pt x="55271" y="27035"/>
                </a:lnTo>
                <a:lnTo>
                  <a:pt x="62628" y="28160"/>
                </a:lnTo>
                <a:lnTo>
                  <a:pt x="71225" y="30414"/>
                </a:lnTo>
                <a:lnTo>
                  <a:pt x="82286" y="31540"/>
                </a:lnTo>
                <a:lnTo>
                  <a:pt x="94570" y="32667"/>
                </a:lnTo>
                <a:lnTo>
                  <a:pt x="108078" y="33792"/>
                </a:lnTo>
                <a:lnTo>
                  <a:pt x="121586" y="34919"/>
                </a:lnTo>
                <a:lnTo>
                  <a:pt x="136334" y="34919"/>
                </a:lnTo>
                <a:lnTo>
                  <a:pt x="131424" y="33792"/>
                </a:lnTo>
                <a:lnTo>
                  <a:pt x="127736" y="32667"/>
                </a:lnTo>
                <a:lnTo>
                  <a:pt x="115452" y="28160"/>
                </a:lnTo>
                <a:lnTo>
                  <a:pt x="100704" y="23655"/>
                </a:lnTo>
                <a:lnTo>
                  <a:pt x="83509" y="18023"/>
                </a:lnTo>
                <a:lnTo>
                  <a:pt x="68778" y="13516"/>
                </a:lnTo>
                <a:lnTo>
                  <a:pt x="54030" y="9011"/>
                </a:lnTo>
                <a:lnTo>
                  <a:pt x="41763" y="5632"/>
                </a:lnTo>
                <a:lnTo>
                  <a:pt x="33149" y="3379"/>
                </a:lnTo>
                <a:lnTo>
                  <a:pt x="30702" y="0"/>
                </a:lnTo>
                <a:lnTo>
                  <a:pt x="22105" y="2252"/>
                </a:lnTo>
                <a:lnTo>
                  <a:pt x="14731" y="3379"/>
                </a:lnTo>
                <a:lnTo>
                  <a:pt x="3687" y="3379"/>
                </a:lnTo>
                <a:lnTo>
                  <a:pt x="0" y="2252"/>
                </a:lnTo>
                <a:lnTo>
                  <a:pt x="2446" y="20275"/>
                </a:lnTo>
                <a:lnTo>
                  <a:pt x="35612" y="13516"/>
                </a:lnTo>
                <a:close/>
              </a:path>
            </a:pathLst>
          </a:custGeom>
          <a:solidFill>
            <a:srgbClr val="00207B"/>
          </a:solidFill>
        </p:spPr>
        <p:txBody>
          <a:bodyPr wrap="square" lIns="0" tIns="0" rIns="0" bIns="0" rtlCol="0">
            <a:noAutofit/>
          </a:bodyPr>
          <a:lstStyle/>
          <a:p>
            <a:endParaRPr/>
          </a:p>
        </p:txBody>
      </p:sp>
      <p:sp>
        <p:nvSpPr>
          <p:cNvPr id="88" name="object 88"/>
          <p:cNvSpPr/>
          <p:nvPr/>
        </p:nvSpPr>
        <p:spPr>
          <a:xfrm>
            <a:off x="9153621" y="2010704"/>
            <a:ext cx="61404" cy="172353"/>
          </a:xfrm>
          <a:custGeom>
            <a:avLst/>
            <a:gdLst/>
            <a:ahLst/>
            <a:cxnLst/>
            <a:rect l="l" t="t" r="r" b="b"/>
            <a:pathLst>
              <a:path w="61404" h="172353">
                <a:moveTo>
                  <a:pt x="54030" y="168974"/>
                </a:moveTo>
                <a:lnTo>
                  <a:pt x="61404" y="7894"/>
                </a:lnTo>
                <a:lnTo>
                  <a:pt x="35612" y="7894"/>
                </a:lnTo>
                <a:lnTo>
                  <a:pt x="27015" y="6768"/>
                </a:lnTo>
                <a:lnTo>
                  <a:pt x="20881" y="5643"/>
                </a:lnTo>
                <a:lnTo>
                  <a:pt x="13507" y="4517"/>
                </a:lnTo>
                <a:lnTo>
                  <a:pt x="7374" y="2266"/>
                </a:lnTo>
                <a:lnTo>
                  <a:pt x="0" y="0"/>
                </a:lnTo>
                <a:lnTo>
                  <a:pt x="19641" y="170101"/>
                </a:lnTo>
                <a:lnTo>
                  <a:pt x="22105" y="171226"/>
                </a:lnTo>
                <a:lnTo>
                  <a:pt x="25792" y="172353"/>
                </a:lnTo>
                <a:lnTo>
                  <a:pt x="31925" y="172353"/>
                </a:lnTo>
                <a:lnTo>
                  <a:pt x="39299" y="171226"/>
                </a:lnTo>
                <a:lnTo>
                  <a:pt x="54030" y="168974"/>
                </a:lnTo>
                <a:close/>
              </a:path>
            </a:pathLst>
          </a:custGeom>
          <a:solidFill>
            <a:srgbClr val="257EAA"/>
          </a:solidFill>
        </p:spPr>
        <p:txBody>
          <a:bodyPr wrap="square" lIns="0" tIns="0" rIns="0" bIns="0" rtlCol="0">
            <a:noAutofit/>
          </a:bodyPr>
          <a:lstStyle/>
          <a:p>
            <a:endParaRPr/>
          </a:p>
        </p:txBody>
      </p:sp>
      <p:sp>
        <p:nvSpPr>
          <p:cNvPr id="89" name="object 89"/>
          <p:cNvSpPr/>
          <p:nvPr/>
        </p:nvSpPr>
        <p:spPr>
          <a:xfrm>
            <a:off x="9395588" y="2195449"/>
            <a:ext cx="135111" cy="34919"/>
          </a:xfrm>
          <a:custGeom>
            <a:avLst/>
            <a:gdLst/>
            <a:ahLst/>
            <a:cxnLst/>
            <a:rect l="l" t="t" r="r" b="b"/>
            <a:pathLst>
              <a:path w="135111" h="34919">
                <a:moveTo>
                  <a:pt x="1223" y="20275"/>
                </a:moveTo>
                <a:lnTo>
                  <a:pt x="35612" y="13516"/>
                </a:lnTo>
                <a:lnTo>
                  <a:pt x="49120" y="25908"/>
                </a:lnTo>
                <a:lnTo>
                  <a:pt x="54030" y="27035"/>
                </a:lnTo>
                <a:lnTo>
                  <a:pt x="61404" y="28160"/>
                </a:lnTo>
                <a:lnTo>
                  <a:pt x="70002" y="30414"/>
                </a:lnTo>
                <a:lnTo>
                  <a:pt x="81063" y="31540"/>
                </a:lnTo>
                <a:lnTo>
                  <a:pt x="93347" y="32667"/>
                </a:lnTo>
                <a:lnTo>
                  <a:pt x="106855" y="33792"/>
                </a:lnTo>
                <a:lnTo>
                  <a:pt x="120362" y="34919"/>
                </a:lnTo>
                <a:lnTo>
                  <a:pt x="135111" y="34919"/>
                </a:lnTo>
                <a:lnTo>
                  <a:pt x="131424" y="33792"/>
                </a:lnTo>
                <a:lnTo>
                  <a:pt x="127736" y="32667"/>
                </a:lnTo>
                <a:lnTo>
                  <a:pt x="115452" y="28160"/>
                </a:lnTo>
                <a:lnTo>
                  <a:pt x="100704" y="23655"/>
                </a:lnTo>
                <a:lnTo>
                  <a:pt x="83509" y="18023"/>
                </a:lnTo>
                <a:lnTo>
                  <a:pt x="67555" y="13516"/>
                </a:lnTo>
                <a:lnTo>
                  <a:pt x="52807" y="9011"/>
                </a:lnTo>
                <a:lnTo>
                  <a:pt x="41763" y="5632"/>
                </a:lnTo>
                <a:lnTo>
                  <a:pt x="33166" y="3379"/>
                </a:lnTo>
                <a:lnTo>
                  <a:pt x="29479" y="2252"/>
                </a:lnTo>
                <a:lnTo>
                  <a:pt x="30702" y="0"/>
                </a:lnTo>
                <a:lnTo>
                  <a:pt x="25792" y="1125"/>
                </a:lnTo>
                <a:lnTo>
                  <a:pt x="22105" y="2252"/>
                </a:lnTo>
                <a:lnTo>
                  <a:pt x="0" y="2252"/>
                </a:lnTo>
                <a:lnTo>
                  <a:pt x="1223" y="20275"/>
                </a:lnTo>
                <a:close/>
              </a:path>
            </a:pathLst>
          </a:custGeom>
          <a:solidFill>
            <a:srgbClr val="00207B"/>
          </a:solidFill>
        </p:spPr>
        <p:txBody>
          <a:bodyPr wrap="square" lIns="0" tIns="0" rIns="0" bIns="0" rtlCol="0">
            <a:noAutofit/>
          </a:bodyPr>
          <a:lstStyle/>
          <a:p>
            <a:endParaRPr/>
          </a:p>
        </p:txBody>
      </p:sp>
      <p:sp>
        <p:nvSpPr>
          <p:cNvPr id="90" name="object 90"/>
          <p:cNvSpPr/>
          <p:nvPr/>
        </p:nvSpPr>
        <p:spPr>
          <a:xfrm>
            <a:off x="9313283" y="1504939"/>
            <a:ext cx="131424" cy="676991"/>
          </a:xfrm>
          <a:custGeom>
            <a:avLst/>
            <a:gdLst/>
            <a:ahLst/>
            <a:cxnLst/>
            <a:rect l="l" t="t" r="r" b="b"/>
            <a:pathLst>
              <a:path w="131424" h="676991">
                <a:moveTo>
                  <a:pt x="2463" y="70952"/>
                </a:moveTo>
                <a:lnTo>
                  <a:pt x="2463" y="100246"/>
                </a:lnTo>
                <a:lnTo>
                  <a:pt x="3687" y="128414"/>
                </a:lnTo>
                <a:lnTo>
                  <a:pt x="4927" y="122771"/>
                </a:lnTo>
                <a:lnTo>
                  <a:pt x="17194" y="105873"/>
                </a:lnTo>
                <a:lnTo>
                  <a:pt x="19658" y="125022"/>
                </a:lnTo>
                <a:lnTo>
                  <a:pt x="27032" y="167837"/>
                </a:lnTo>
                <a:lnTo>
                  <a:pt x="35629" y="227535"/>
                </a:lnTo>
                <a:lnTo>
                  <a:pt x="45450" y="298503"/>
                </a:lnTo>
                <a:lnTo>
                  <a:pt x="56511" y="373973"/>
                </a:lnTo>
                <a:lnTo>
                  <a:pt x="65108" y="446067"/>
                </a:lnTo>
                <a:lnTo>
                  <a:pt x="71242" y="510282"/>
                </a:lnTo>
                <a:lnTo>
                  <a:pt x="73706" y="559834"/>
                </a:lnTo>
                <a:lnTo>
                  <a:pt x="73706" y="606025"/>
                </a:lnTo>
                <a:lnTo>
                  <a:pt x="72465" y="639819"/>
                </a:lnTo>
                <a:lnTo>
                  <a:pt x="71242" y="663474"/>
                </a:lnTo>
                <a:lnTo>
                  <a:pt x="70019" y="676991"/>
                </a:lnTo>
                <a:lnTo>
                  <a:pt x="105631" y="676991"/>
                </a:lnTo>
                <a:lnTo>
                  <a:pt x="108095" y="675866"/>
                </a:lnTo>
                <a:lnTo>
                  <a:pt x="110542" y="672486"/>
                </a:lnTo>
                <a:lnTo>
                  <a:pt x="111782" y="657842"/>
                </a:lnTo>
                <a:lnTo>
                  <a:pt x="114229" y="624048"/>
                </a:lnTo>
                <a:lnTo>
                  <a:pt x="117916" y="583501"/>
                </a:lnTo>
                <a:lnTo>
                  <a:pt x="122826" y="546329"/>
                </a:lnTo>
                <a:lnTo>
                  <a:pt x="126513" y="529431"/>
                </a:lnTo>
                <a:lnTo>
                  <a:pt x="128977" y="517035"/>
                </a:lnTo>
                <a:lnTo>
                  <a:pt x="130200" y="508031"/>
                </a:lnTo>
                <a:lnTo>
                  <a:pt x="131424" y="502388"/>
                </a:lnTo>
                <a:lnTo>
                  <a:pt x="116692" y="503513"/>
                </a:lnTo>
                <a:lnTo>
                  <a:pt x="105631" y="504639"/>
                </a:lnTo>
                <a:lnTo>
                  <a:pt x="99498" y="505764"/>
                </a:lnTo>
                <a:lnTo>
                  <a:pt x="97034" y="505764"/>
                </a:lnTo>
                <a:lnTo>
                  <a:pt x="100721" y="460714"/>
                </a:lnTo>
                <a:lnTo>
                  <a:pt x="104408" y="367220"/>
                </a:lnTo>
                <a:lnTo>
                  <a:pt x="108095" y="230912"/>
                </a:lnTo>
                <a:lnTo>
                  <a:pt x="110542" y="66450"/>
                </a:lnTo>
                <a:lnTo>
                  <a:pt x="110542" y="18023"/>
                </a:lnTo>
                <a:lnTo>
                  <a:pt x="109318" y="0"/>
                </a:lnTo>
                <a:lnTo>
                  <a:pt x="0" y="13505"/>
                </a:lnTo>
                <a:lnTo>
                  <a:pt x="1240" y="42799"/>
                </a:lnTo>
                <a:lnTo>
                  <a:pt x="2463" y="70952"/>
                </a:lnTo>
                <a:close/>
              </a:path>
            </a:pathLst>
          </a:custGeom>
          <a:solidFill>
            <a:srgbClr val="257EAA"/>
          </a:solidFill>
        </p:spPr>
        <p:txBody>
          <a:bodyPr wrap="square" lIns="0" tIns="0" rIns="0" bIns="0" rtlCol="0">
            <a:noAutofit/>
          </a:bodyPr>
          <a:lstStyle/>
          <a:p>
            <a:endParaRPr/>
          </a:p>
        </p:txBody>
      </p:sp>
      <p:sp>
        <p:nvSpPr>
          <p:cNvPr id="91" name="object 91"/>
          <p:cNvSpPr/>
          <p:nvPr/>
        </p:nvSpPr>
        <p:spPr>
          <a:xfrm>
            <a:off x="9428753" y="1437347"/>
            <a:ext cx="110542" cy="555333"/>
          </a:xfrm>
          <a:custGeom>
            <a:avLst/>
            <a:gdLst/>
            <a:ahLst/>
            <a:cxnLst/>
            <a:rect l="l" t="t" r="r" b="b"/>
            <a:pathLst>
              <a:path w="110542" h="555333">
                <a:moveTo>
                  <a:pt x="110542" y="511407"/>
                </a:moveTo>
                <a:lnTo>
                  <a:pt x="84733" y="9003"/>
                </a:lnTo>
                <a:lnTo>
                  <a:pt x="8597" y="0"/>
                </a:lnTo>
                <a:lnTo>
                  <a:pt x="11044" y="34921"/>
                </a:lnTo>
                <a:lnTo>
                  <a:pt x="12267" y="69842"/>
                </a:lnTo>
                <a:lnTo>
                  <a:pt x="12267" y="134042"/>
                </a:lnTo>
                <a:lnTo>
                  <a:pt x="11044" y="280480"/>
                </a:lnTo>
                <a:lnTo>
                  <a:pt x="7357" y="405518"/>
                </a:lnTo>
                <a:lnTo>
                  <a:pt x="2446" y="500137"/>
                </a:lnTo>
                <a:lnTo>
                  <a:pt x="0" y="555333"/>
                </a:lnTo>
                <a:lnTo>
                  <a:pt x="6133" y="555333"/>
                </a:lnTo>
                <a:lnTo>
                  <a:pt x="12267" y="554207"/>
                </a:lnTo>
                <a:lnTo>
                  <a:pt x="19641" y="553082"/>
                </a:lnTo>
                <a:lnTo>
                  <a:pt x="28238" y="551956"/>
                </a:lnTo>
                <a:lnTo>
                  <a:pt x="36836" y="550831"/>
                </a:lnTo>
                <a:lnTo>
                  <a:pt x="45433" y="548580"/>
                </a:lnTo>
                <a:lnTo>
                  <a:pt x="52807" y="547454"/>
                </a:lnTo>
                <a:lnTo>
                  <a:pt x="61404" y="545203"/>
                </a:lnTo>
                <a:lnTo>
                  <a:pt x="70002" y="542952"/>
                </a:lnTo>
                <a:lnTo>
                  <a:pt x="77376" y="538435"/>
                </a:lnTo>
                <a:lnTo>
                  <a:pt x="84733" y="533933"/>
                </a:lnTo>
                <a:lnTo>
                  <a:pt x="92107" y="528305"/>
                </a:lnTo>
                <a:lnTo>
                  <a:pt x="98257" y="523803"/>
                </a:lnTo>
                <a:lnTo>
                  <a:pt x="103168" y="519286"/>
                </a:lnTo>
                <a:lnTo>
                  <a:pt x="108078" y="514784"/>
                </a:lnTo>
                <a:lnTo>
                  <a:pt x="110542" y="511407"/>
                </a:lnTo>
                <a:close/>
              </a:path>
            </a:pathLst>
          </a:custGeom>
          <a:solidFill>
            <a:srgbClr val="E4E4E4"/>
          </a:solidFill>
        </p:spPr>
        <p:txBody>
          <a:bodyPr wrap="square" lIns="0" tIns="0" rIns="0" bIns="0" rtlCol="0">
            <a:noAutofit/>
          </a:bodyPr>
          <a:lstStyle/>
          <a:p>
            <a:endParaRPr/>
          </a:p>
        </p:txBody>
      </p:sp>
      <p:sp>
        <p:nvSpPr>
          <p:cNvPr id="92" name="object 92"/>
          <p:cNvSpPr/>
          <p:nvPr/>
        </p:nvSpPr>
        <p:spPr>
          <a:xfrm>
            <a:off x="9663346" y="1246968"/>
            <a:ext cx="66315" cy="117159"/>
          </a:xfrm>
          <a:custGeom>
            <a:avLst/>
            <a:gdLst/>
            <a:ahLst/>
            <a:cxnLst/>
            <a:rect l="l" t="t" r="r" b="b"/>
            <a:pathLst>
              <a:path w="66315" h="117159">
                <a:moveTo>
                  <a:pt x="40523" y="57446"/>
                </a:moveTo>
                <a:lnTo>
                  <a:pt x="0" y="117159"/>
                </a:lnTo>
                <a:lnTo>
                  <a:pt x="8597" y="114908"/>
                </a:lnTo>
                <a:lnTo>
                  <a:pt x="17194" y="111516"/>
                </a:lnTo>
                <a:lnTo>
                  <a:pt x="24568" y="108140"/>
                </a:lnTo>
                <a:lnTo>
                  <a:pt x="33166" y="103638"/>
                </a:lnTo>
                <a:lnTo>
                  <a:pt x="40523" y="99136"/>
                </a:lnTo>
                <a:lnTo>
                  <a:pt x="47897" y="93493"/>
                </a:lnTo>
                <a:lnTo>
                  <a:pt x="54030" y="87865"/>
                </a:lnTo>
                <a:lnTo>
                  <a:pt x="58958" y="81113"/>
                </a:lnTo>
                <a:lnTo>
                  <a:pt x="65091" y="69842"/>
                </a:lnTo>
                <a:lnTo>
                  <a:pt x="66315" y="56321"/>
                </a:lnTo>
                <a:lnTo>
                  <a:pt x="65091" y="41689"/>
                </a:lnTo>
                <a:lnTo>
                  <a:pt x="58958" y="25917"/>
                </a:lnTo>
                <a:lnTo>
                  <a:pt x="54030" y="16897"/>
                </a:lnTo>
                <a:lnTo>
                  <a:pt x="50360" y="10144"/>
                </a:lnTo>
                <a:lnTo>
                  <a:pt x="46673" y="4517"/>
                </a:lnTo>
                <a:lnTo>
                  <a:pt x="44210" y="0"/>
                </a:lnTo>
                <a:lnTo>
                  <a:pt x="14731" y="40564"/>
                </a:lnTo>
                <a:lnTo>
                  <a:pt x="22105" y="45066"/>
                </a:lnTo>
                <a:lnTo>
                  <a:pt x="28238" y="48442"/>
                </a:lnTo>
                <a:lnTo>
                  <a:pt x="31925" y="51819"/>
                </a:lnTo>
                <a:lnTo>
                  <a:pt x="34389" y="52944"/>
                </a:lnTo>
                <a:lnTo>
                  <a:pt x="40523" y="57446"/>
                </a:lnTo>
                <a:close/>
              </a:path>
            </a:pathLst>
          </a:custGeom>
          <a:solidFill>
            <a:srgbClr val="E4E4E4"/>
          </a:solidFill>
        </p:spPr>
        <p:txBody>
          <a:bodyPr wrap="square" lIns="0" tIns="0" rIns="0" bIns="0" rtlCol="0">
            <a:noAutofit/>
          </a:bodyPr>
          <a:lstStyle/>
          <a:p>
            <a:endParaRPr/>
          </a:p>
        </p:txBody>
      </p:sp>
      <p:sp>
        <p:nvSpPr>
          <p:cNvPr id="93" name="object 93"/>
          <p:cNvSpPr/>
          <p:nvPr/>
        </p:nvSpPr>
        <p:spPr>
          <a:xfrm>
            <a:off x="9323121" y="1124196"/>
            <a:ext cx="410226" cy="309774"/>
          </a:xfrm>
          <a:custGeom>
            <a:avLst/>
            <a:gdLst/>
            <a:ahLst/>
            <a:cxnLst/>
            <a:rect l="l" t="t" r="r" b="b"/>
            <a:pathLst>
              <a:path w="410226" h="309774">
                <a:moveTo>
                  <a:pt x="235815" y="259080"/>
                </a:moveTo>
                <a:lnTo>
                  <a:pt x="254250" y="170088"/>
                </a:lnTo>
                <a:lnTo>
                  <a:pt x="256697" y="167837"/>
                </a:lnTo>
                <a:lnTo>
                  <a:pt x="259161" y="164461"/>
                </a:lnTo>
                <a:lnTo>
                  <a:pt x="264071" y="161069"/>
                </a:lnTo>
                <a:lnTo>
                  <a:pt x="270205" y="157692"/>
                </a:lnTo>
                <a:lnTo>
                  <a:pt x="277579" y="153191"/>
                </a:lnTo>
                <a:lnTo>
                  <a:pt x="286176" y="149814"/>
                </a:lnTo>
                <a:lnTo>
                  <a:pt x="294773" y="147563"/>
                </a:lnTo>
                <a:lnTo>
                  <a:pt x="305834" y="146438"/>
                </a:lnTo>
                <a:lnTo>
                  <a:pt x="314432" y="147563"/>
                </a:lnTo>
                <a:lnTo>
                  <a:pt x="323029" y="148689"/>
                </a:lnTo>
                <a:lnTo>
                  <a:pt x="331626" y="152065"/>
                </a:lnTo>
                <a:lnTo>
                  <a:pt x="340224" y="155441"/>
                </a:lnTo>
                <a:lnTo>
                  <a:pt x="410226" y="57446"/>
                </a:lnTo>
                <a:lnTo>
                  <a:pt x="402869" y="45050"/>
                </a:lnTo>
                <a:lnTo>
                  <a:pt x="155975" y="0"/>
                </a:lnTo>
                <a:lnTo>
                  <a:pt x="0" y="271476"/>
                </a:lnTo>
                <a:lnTo>
                  <a:pt x="6133" y="283856"/>
                </a:lnTo>
                <a:lnTo>
                  <a:pt x="225994" y="309774"/>
                </a:lnTo>
                <a:lnTo>
                  <a:pt x="239502" y="301880"/>
                </a:lnTo>
                <a:lnTo>
                  <a:pt x="265294" y="261331"/>
                </a:lnTo>
                <a:lnTo>
                  <a:pt x="235815" y="259080"/>
                </a:lnTo>
                <a:close/>
              </a:path>
            </a:pathLst>
          </a:custGeom>
          <a:solidFill>
            <a:srgbClr val="660000"/>
          </a:solidFill>
        </p:spPr>
        <p:txBody>
          <a:bodyPr wrap="square" lIns="0" tIns="0" rIns="0" bIns="0" rtlCol="0">
            <a:noAutofit/>
          </a:bodyPr>
          <a:lstStyle/>
          <a:p>
            <a:endParaRPr/>
          </a:p>
        </p:txBody>
      </p:sp>
      <p:sp>
        <p:nvSpPr>
          <p:cNvPr id="94" name="object 94"/>
          <p:cNvSpPr/>
          <p:nvPr/>
        </p:nvSpPr>
        <p:spPr>
          <a:xfrm>
            <a:off x="9353824" y="932692"/>
            <a:ext cx="300924" cy="290625"/>
          </a:xfrm>
          <a:custGeom>
            <a:avLst/>
            <a:gdLst/>
            <a:ahLst/>
            <a:cxnLst/>
            <a:rect l="l" t="t" r="r" b="b"/>
            <a:pathLst>
              <a:path w="300924" h="290625">
                <a:moveTo>
                  <a:pt x="191605" y="37172"/>
                </a:moveTo>
                <a:lnTo>
                  <a:pt x="187918" y="36046"/>
                </a:lnTo>
                <a:lnTo>
                  <a:pt x="181784" y="34921"/>
                </a:lnTo>
                <a:lnTo>
                  <a:pt x="173187" y="33795"/>
                </a:lnTo>
                <a:lnTo>
                  <a:pt x="169500" y="33795"/>
                </a:lnTo>
                <a:lnTo>
                  <a:pt x="164590" y="32670"/>
                </a:lnTo>
                <a:lnTo>
                  <a:pt x="159662" y="31544"/>
                </a:lnTo>
                <a:lnTo>
                  <a:pt x="154752" y="31544"/>
                </a:lnTo>
                <a:lnTo>
                  <a:pt x="149842" y="30419"/>
                </a:lnTo>
                <a:lnTo>
                  <a:pt x="144931" y="29293"/>
                </a:lnTo>
                <a:lnTo>
                  <a:pt x="140021" y="27027"/>
                </a:lnTo>
                <a:lnTo>
                  <a:pt x="135111" y="25901"/>
                </a:lnTo>
                <a:lnTo>
                  <a:pt x="124049" y="22525"/>
                </a:lnTo>
                <a:lnTo>
                  <a:pt x="108078" y="18023"/>
                </a:lnTo>
                <a:lnTo>
                  <a:pt x="89660" y="14646"/>
                </a:lnTo>
                <a:lnTo>
                  <a:pt x="70002" y="11270"/>
                </a:lnTo>
                <a:lnTo>
                  <a:pt x="49120" y="7878"/>
                </a:lnTo>
                <a:lnTo>
                  <a:pt x="30702" y="4501"/>
                </a:lnTo>
                <a:lnTo>
                  <a:pt x="13507" y="2250"/>
                </a:lnTo>
                <a:lnTo>
                  <a:pt x="0" y="0"/>
                </a:lnTo>
                <a:lnTo>
                  <a:pt x="3687" y="21399"/>
                </a:lnTo>
                <a:lnTo>
                  <a:pt x="9820" y="47317"/>
                </a:lnTo>
                <a:lnTo>
                  <a:pt x="14731" y="78846"/>
                </a:lnTo>
                <a:lnTo>
                  <a:pt x="20881" y="113767"/>
                </a:lnTo>
                <a:lnTo>
                  <a:pt x="28255" y="153191"/>
                </a:lnTo>
                <a:lnTo>
                  <a:pt x="35612" y="196006"/>
                </a:lnTo>
                <a:lnTo>
                  <a:pt x="41763" y="242182"/>
                </a:lnTo>
                <a:lnTo>
                  <a:pt x="49120" y="290625"/>
                </a:lnTo>
                <a:lnTo>
                  <a:pt x="116675" y="173481"/>
                </a:lnTo>
                <a:lnTo>
                  <a:pt x="132647" y="176857"/>
                </a:lnTo>
                <a:lnTo>
                  <a:pt x="124049" y="130665"/>
                </a:lnTo>
                <a:lnTo>
                  <a:pt x="117916" y="100261"/>
                </a:lnTo>
                <a:lnTo>
                  <a:pt x="114229" y="84489"/>
                </a:lnTo>
                <a:lnTo>
                  <a:pt x="113005" y="78846"/>
                </a:lnTo>
                <a:lnTo>
                  <a:pt x="128960" y="74344"/>
                </a:lnTo>
                <a:lnTo>
                  <a:pt x="131424" y="79971"/>
                </a:lnTo>
                <a:lnTo>
                  <a:pt x="135111" y="97995"/>
                </a:lnTo>
                <a:lnTo>
                  <a:pt x="141244" y="129540"/>
                </a:lnTo>
                <a:lnTo>
                  <a:pt x="149842" y="180233"/>
                </a:lnTo>
                <a:lnTo>
                  <a:pt x="300924" y="207261"/>
                </a:lnTo>
                <a:lnTo>
                  <a:pt x="292327" y="193755"/>
                </a:lnTo>
                <a:lnTo>
                  <a:pt x="283729" y="179108"/>
                </a:lnTo>
                <a:lnTo>
                  <a:pt x="275132" y="165586"/>
                </a:lnTo>
                <a:lnTo>
                  <a:pt x="266535" y="152065"/>
                </a:lnTo>
                <a:lnTo>
                  <a:pt x="256697" y="138559"/>
                </a:lnTo>
                <a:lnTo>
                  <a:pt x="248099" y="125038"/>
                </a:lnTo>
                <a:lnTo>
                  <a:pt x="240742" y="112642"/>
                </a:lnTo>
                <a:lnTo>
                  <a:pt x="232145" y="100261"/>
                </a:lnTo>
                <a:lnTo>
                  <a:pt x="222307" y="85615"/>
                </a:lnTo>
                <a:lnTo>
                  <a:pt x="214950" y="74344"/>
                </a:lnTo>
                <a:lnTo>
                  <a:pt x="207576" y="64215"/>
                </a:lnTo>
                <a:lnTo>
                  <a:pt x="202666" y="56321"/>
                </a:lnTo>
                <a:lnTo>
                  <a:pt x="198979" y="50693"/>
                </a:lnTo>
                <a:lnTo>
                  <a:pt x="196515" y="45050"/>
                </a:lnTo>
                <a:lnTo>
                  <a:pt x="195292" y="41674"/>
                </a:lnTo>
                <a:lnTo>
                  <a:pt x="191605" y="37172"/>
                </a:lnTo>
                <a:close/>
              </a:path>
            </a:pathLst>
          </a:custGeom>
          <a:solidFill>
            <a:srgbClr val="E4E4E4"/>
          </a:solidFill>
        </p:spPr>
        <p:txBody>
          <a:bodyPr wrap="square" lIns="0" tIns="0" rIns="0" bIns="0" rtlCol="0">
            <a:noAutofit/>
          </a:bodyPr>
          <a:lstStyle/>
          <a:p>
            <a:endParaRPr/>
          </a:p>
        </p:txBody>
      </p:sp>
      <p:sp>
        <p:nvSpPr>
          <p:cNvPr id="95" name="object 95"/>
          <p:cNvSpPr/>
          <p:nvPr/>
        </p:nvSpPr>
        <p:spPr>
          <a:xfrm>
            <a:off x="9196607" y="483310"/>
            <a:ext cx="391808" cy="396436"/>
          </a:xfrm>
          <a:custGeom>
            <a:avLst/>
            <a:gdLst/>
            <a:ahLst/>
            <a:cxnLst/>
            <a:rect l="l" t="t" r="r" b="b"/>
            <a:pathLst>
              <a:path w="391808" h="396436">
                <a:moveTo>
                  <a:pt x="6133" y="271398"/>
                </a:moveTo>
                <a:lnTo>
                  <a:pt x="17194" y="287170"/>
                </a:lnTo>
                <a:lnTo>
                  <a:pt x="29479" y="298441"/>
                </a:lnTo>
                <a:lnTo>
                  <a:pt x="34389" y="301817"/>
                </a:lnTo>
                <a:lnTo>
                  <a:pt x="36853" y="304068"/>
                </a:lnTo>
                <a:lnTo>
                  <a:pt x="79839" y="396436"/>
                </a:lnTo>
                <a:lnTo>
                  <a:pt x="84750" y="395310"/>
                </a:lnTo>
                <a:lnTo>
                  <a:pt x="89660" y="394185"/>
                </a:lnTo>
                <a:lnTo>
                  <a:pt x="95794" y="394185"/>
                </a:lnTo>
                <a:lnTo>
                  <a:pt x="100721" y="393060"/>
                </a:lnTo>
                <a:lnTo>
                  <a:pt x="87196" y="345742"/>
                </a:lnTo>
                <a:lnTo>
                  <a:pt x="332850" y="243245"/>
                </a:lnTo>
                <a:lnTo>
                  <a:pt x="374613" y="243245"/>
                </a:lnTo>
                <a:lnTo>
                  <a:pt x="369703" y="229723"/>
                </a:lnTo>
                <a:lnTo>
                  <a:pt x="354955" y="238727"/>
                </a:lnTo>
                <a:lnTo>
                  <a:pt x="318119" y="210559"/>
                </a:lnTo>
                <a:lnTo>
                  <a:pt x="358642" y="161006"/>
                </a:lnTo>
                <a:lnTo>
                  <a:pt x="354955" y="140685"/>
                </a:lnTo>
                <a:lnTo>
                  <a:pt x="391808" y="105826"/>
                </a:lnTo>
                <a:lnTo>
                  <a:pt x="375836" y="72062"/>
                </a:lnTo>
                <a:lnTo>
                  <a:pt x="386898" y="55180"/>
                </a:lnTo>
                <a:lnTo>
                  <a:pt x="311968" y="0"/>
                </a:lnTo>
                <a:lnTo>
                  <a:pt x="254250" y="40486"/>
                </a:lnTo>
                <a:lnTo>
                  <a:pt x="257937" y="41580"/>
                </a:lnTo>
                <a:lnTo>
                  <a:pt x="261607" y="42674"/>
                </a:lnTo>
                <a:lnTo>
                  <a:pt x="265294" y="45019"/>
                </a:lnTo>
                <a:lnTo>
                  <a:pt x="268981" y="46113"/>
                </a:lnTo>
                <a:lnTo>
                  <a:pt x="308281" y="67529"/>
                </a:lnTo>
                <a:lnTo>
                  <a:pt x="309521" y="76595"/>
                </a:lnTo>
                <a:lnTo>
                  <a:pt x="262848" y="60807"/>
                </a:lnTo>
                <a:lnTo>
                  <a:pt x="256697" y="58462"/>
                </a:lnTo>
                <a:lnTo>
                  <a:pt x="250563" y="55180"/>
                </a:lnTo>
                <a:lnTo>
                  <a:pt x="245653" y="52835"/>
                </a:lnTo>
                <a:lnTo>
                  <a:pt x="239502" y="49552"/>
                </a:lnTo>
                <a:lnTo>
                  <a:pt x="176874" y="94572"/>
                </a:lnTo>
                <a:lnTo>
                  <a:pt x="106855" y="30325"/>
                </a:lnTo>
                <a:lnTo>
                  <a:pt x="81063" y="38297"/>
                </a:lnTo>
                <a:lnTo>
                  <a:pt x="78599" y="46113"/>
                </a:lnTo>
                <a:lnTo>
                  <a:pt x="149842" y="115987"/>
                </a:lnTo>
                <a:lnTo>
                  <a:pt x="147395" y="118175"/>
                </a:lnTo>
                <a:lnTo>
                  <a:pt x="143708" y="120520"/>
                </a:lnTo>
                <a:lnTo>
                  <a:pt x="137557" y="126148"/>
                </a:lnTo>
                <a:lnTo>
                  <a:pt x="127736" y="132869"/>
                </a:lnTo>
                <a:lnTo>
                  <a:pt x="112988" y="144124"/>
                </a:lnTo>
                <a:lnTo>
                  <a:pt x="94570" y="158818"/>
                </a:lnTo>
                <a:lnTo>
                  <a:pt x="71242" y="176794"/>
                </a:lnTo>
                <a:lnTo>
                  <a:pt x="79839" y="183516"/>
                </a:lnTo>
                <a:lnTo>
                  <a:pt x="89660" y="192582"/>
                </a:lnTo>
                <a:lnTo>
                  <a:pt x="98257" y="203837"/>
                </a:lnTo>
                <a:lnTo>
                  <a:pt x="104391" y="215077"/>
                </a:lnTo>
                <a:lnTo>
                  <a:pt x="108078" y="231974"/>
                </a:lnTo>
                <a:lnTo>
                  <a:pt x="106855" y="244370"/>
                </a:lnTo>
                <a:lnTo>
                  <a:pt x="104391" y="252249"/>
                </a:lnTo>
                <a:lnTo>
                  <a:pt x="103168" y="255625"/>
                </a:lnTo>
                <a:lnTo>
                  <a:pt x="92124" y="259002"/>
                </a:lnTo>
                <a:lnTo>
                  <a:pt x="92124" y="255625"/>
                </a:lnTo>
                <a:lnTo>
                  <a:pt x="93347" y="247747"/>
                </a:lnTo>
                <a:lnTo>
                  <a:pt x="92124" y="234225"/>
                </a:lnTo>
                <a:lnTo>
                  <a:pt x="88437" y="219578"/>
                </a:lnTo>
                <a:lnTo>
                  <a:pt x="83526" y="209465"/>
                </a:lnTo>
                <a:lnTo>
                  <a:pt x="74929" y="200398"/>
                </a:lnTo>
                <a:lnTo>
                  <a:pt x="66332" y="192582"/>
                </a:lnTo>
                <a:lnTo>
                  <a:pt x="57717" y="186955"/>
                </a:lnTo>
                <a:lnTo>
                  <a:pt x="51584" y="191488"/>
                </a:lnTo>
                <a:lnTo>
                  <a:pt x="45450" y="197116"/>
                </a:lnTo>
                <a:lnTo>
                  <a:pt x="39299" y="201493"/>
                </a:lnTo>
                <a:lnTo>
                  <a:pt x="34389" y="207120"/>
                </a:lnTo>
                <a:lnTo>
                  <a:pt x="28255" y="211653"/>
                </a:lnTo>
                <a:lnTo>
                  <a:pt x="23328" y="216202"/>
                </a:lnTo>
                <a:lnTo>
                  <a:pt x="17194" y="220704"/>
                </a:lnTo>
                <a:lnTo>
                  <a:pt x="12284" y="225222"/>
                </a:lnTo>
                <a:lnTo>
                  <a:pt x="6133" y="231974"/>
                </a:lnTo>
                <a:lnTo>
                  <a:pt x="2446" y="238727"/>
                </a:lnTo>
                <a:lnTo>
                  <a:pt x="0" y="245496"/>
                </a:lnTo>
                <a:lnTo>
                  <a:pt x="0" y="253374"/>
                </a:lnTo>
                <a:lnTo>
                  <a:pt x="6133" y="271398"/>
                </a:lnTo>
                <a:close/>
              </a:path>
            </a:pathLst>
          </a:custGeom>
          <a:solidFill>
            <a:srgbClr val="CC8B7E"/>
          </a:solidFill>
        </p:spPr>
        <p:txBody>
          <a:bodyPr wrap="square" lIns="0" tIns="0" rIns="0" bIns="0" rtlCol="0">
            <a:noAutofit/>
          </a:bodyPr>
          <a:lstStyle/>
          <a:p>
            <a:endParaRPr/>
          </a:p>
        </p:txBody>
      </p:sp>
      <p:sp>
        <p:nvSpPr>
          <p:cNvPr id="96" name="object 96"/>
          <p:cNvSpPr/>
          <p:nvPr/>
        </p:nvSpPr>
        <p:spPr>
          <a:xfrm>
            <a:off x="9538056" y="484405"/>
            <a:ext cx="206353" cy="218484"/>
          </a:xfrm>
          <a:custGeom>
            <a:avLst/>
            <a:gdLst/>
            <a:ahLst/>
            <a:cxnLst/>
            <a:rect l="l" t="t" r="r" b="b"/>
            <a:pathLst>
              <a:path w="206353" h="218484">
                <a:moveTo>
                  <a:pt x="159679" y="208371"/>
                </a:moveTo>
                <a:lnTo>
                  <a:pt x="162126" y="199304"/>
                </a:lnTo>
                <a:lnTo>
                  <a:pt x="160903" y="188049"/>
                </a:lnTo>
                <a:lnTo>
                  <a:pt x="155992" y="174606"/>
                </a:lnTo>
                <a:lnTo>
                  <a:pt x="153529" y="167728"/>
                </a:lnTo>
                <a:lnTo>
                  <a:pt x="151082" y="162101"/>
                </a:lnTo>
                <a:lnTo>
                  <a:pt x="149859" y="156473"/>
                </a:lnTo>
                <a:lnTo>
                  <a:pt x="147395" y="153191"/>
                </a:lnTo>
                <a:lnTo>
                  <a:pt x="143708" y="149752"/>
                </a:lnTo>
                <a:lnTo>
                  <a:pt x="140021" y="145218"/>
                </a:lnTo>
                <a:lnTo>
                  <a:pt x="138798" y="140841"/>
                </a:lnTo>
                <a:lnTo>
                  <a:pt x="137574" y="137402"/>
                </a:lnTo>
                <a:lnTo>
                  <a:pt x="138798" y="137402"/>
                </a:lnTo>
                <a:lnTo>
                  <a:pt x="142485" y="133963"/>
                </a:lnTo>
                <a:lnTo>
                  <a:pt x="146172" y="130681"/>
                </a:lnTo>
                <a:lnTo>
                  <a:pt x="148618" y="130681"/>
                </a:lnTo>
                <a:lnTo>
                  <a:pt x="152305" y="131775"/>
                </a:lnTo>
                <a:lnTo>
                  <a:pt x="155992" y="135058"/>
                </a:lnTo>
                <a:lnTo>
                  <a:pt x="160903" y="143030"/>
                </a:lnTo>
                <a:lnTo>
                  <a:pt x="160903" y="144124"/>
                </a:lnTo>
                <a:lnTo>
                  <a:pt x="165813" y="145218"/>
                </a:lnTo>
                <a:lnTo>
                  <a:pt x="171964" y="146469"/>
                </a:lnTo>
                <a:lnTo>
                  <a:pt x="195292" y="146469"/>
                </a:lnTo>
                <a:lnTo>
                  <a:pt x="200202" y="145218"/>
                </a:lnTo>
                <a:lnTo>
                  <a:pt x="202666" y="143030"/>
                </a:lnTo>
                <a:lnTo>
                  <a:pt x="203889" y="139591"/>
                </a:lnTo>
                <a:lnTo>
                  <a:pt x="203889" y="136308"/>
                </a:lnTo>
                <a:lnTo>
                  <a:pt x="202666" y="131775"/>
                </a:lnTo>
                <a:lnTo>
                  <a:pt x="201443" y="128336"/>
                </a:lnTo>
                <a:lnTo>
                  <a:pt x="196532" y="118175"/>
                </a:lnTo>
                <a:lnTo>
                  <a:pt x="192845" y="110360"/>
                </a:lnTo>
                <a:lnTo>
                  <a:pt x="189158" y="104732"/>
                </a:lnTo>
                <a:lnTo>
                  <a:pt x="186695" y="100199"/>
                </a:lnTo>
                <a:lnTo>
                  <a:pt x="184248" y="95666"/>
                </a:lnTo>
                <a:lnTo>
                  <a:pt x="181784" y="92383"/>
                </a:lnTo>
                <a:lnTo>
                  <a:pt x="181784" y="88944"/>
                </a:lnTo>
                <a:lnTo>
                  <a:pt x="183008" y="85505"/>
                </a:lnTo>
                <a:lnTo>
                  <a:pt x="185471" y="83317"/>
                </a:lnTo>
                <a:lnTo>
                  <a:pt x="189158" y="81128"/>
                </a:lnTo>
                <a:lnTo>
                  <a:pt x="201443" y="81128"/>
                </a:lnTo>
                <a:lnTo>
                  <a:pt x="206353" y="77689"/>
                </a:lnTo>
                <a:lnTo>
                  <a:pt x="205130" y="73156"/>
                </a:lnTo>
                <a:lnTo>
                  <a:pt x="202666" y="64090"/>
                </a:lnTo>
                <a:lnTo>
                  <a:pt x="196532" y="49552"/>
                </a:lnTo>
                <a:lnTo>
                  <a:pt x="194069" y="46113"/>
                </a:lnTo>
                <a:lnTo>
                  <a:pt x="189158" y="42830"/>
                </a:lnTo>
                <a:lnTo>
                  <a:pt x="181784" y="38297"/>
                </a:lnTo>
                <a:lnTo>
                  <a:pt x="173187" y="34858"/>
                </a:lnTo>
                <a:lnTo>
                  <a:pt x="163366" y="31576"/>
                </a:lnTo>
                <a:lnTo>
                  <a:pt x="152305" y="28137"/>
                </a:lnTo>
                <a:lnTo>
                  <a:pt x="140021" y="24698"/>
                </a:lnTo>
                <a:lnTo>
                  <a:pt x="126513" y="21415"/>
                </a:lnTo>
                <a:lnTo>
                  <a:pt x="111782" y="17976"/>
                </a:lnTo>
                <a:lnTo>
                  <a:pt x="95811" y="14537"/>
                </a:lnTo>
                <a:lnTo>
                  <a:pt x="81063" y="12349"/>
                </a:lnTo>
                <a:lnTo>
                  <a:pt x="65108" y="8910"/>
                </a:lnTo>
                <a:lnTo>
                  <a:pt x="47914" y="6721"/>
                </a:lnTo>
                <a:lnTo>
                  <a:pt x="31942" y="4533"/>
                </a:lnTo>
                <a:lnTo>
                  <a:pt x="15971" y="2188"/>
                </a:lnTo>
                <a:lnTo>
                  <a:pt x="0" y="0"/>
                </a:lnTo>
                <a:lnTo>
                  <a:pt x="67555" y="50646"/>
                </a:lnTo>
                <a:lnTo>
                  <a:pt x="52824" y="72062"/>
                </a:lnTo>
                <a:lnTo>
                  <a:pt x="71242" y="108171"/>
                </a:lnTo>
                <a:lnTo>
                  <a:pt x="31942" y="144124"/>
                </a:lnTo>
                <a:lnTo>
                  <a:pt x="35629" y="163351"/>
                </a:lnTo>
                <a:lnTo>
                  <a:pt x="0" y="207276"/>
                </a:lnTo>
                <a:lnTo>
                  <a:pt x="13507" y="218484"/>
                </a:lnTo>
                <a:lnTo>
                  <a:pt x="76152" y="177889"/>
                </a:lnTo>
                <a:lnTo>
                  <a:pt x="67555" y="170073"/>
                </a:lnTo>
                <a:lnTo>
                  <a:pt x="58958" y="163351"/>
                </a:lnTo>
                <a:lnTo>
                  <a:pt x="51584" y="156473"/>
                </a:lnTo>
                <a:lnTo>
                  <a:pt x="45450" y="152096"/>
                </a:lnTo>
                <a:lnTo>
                  <a:pt x="60181" y="153191"/>
                </a:lnTo>
                <a:lnTo>
                  <a:pt x="67555" y="158818"/>
                </a:lnTo>
                <a:lnTo>
                  <a:pt x="77376" y="165540"/>
                </a:lnTo>
                <a:lnTo>
                  <a:pt x="88437" y="174606"/>
                </a:lnTo>
                <a:lnTo>
                  <a:pt x="99498" y="182422"/>
                </a:lnTo>
                <a:lnTo>
                  <a:pt x="110542" y="191488"/>
                </a:lnTo>
                <a:lnTo>
                  <a:pt x="120379" y="199304"/>
                </a:lnTo>
                <a:lnTo>
                  <a:pt x="127736" y="204932"/>
                </a:lnTo>
                <a:lnTo>
                  <a:pt x="131424" y="209465"/>
                </a:lnTo>
                <a:lnTo>
                  <a:pt x="135111" y="212857"/>
                </a:lnTo>
                <a:lnTo>
                  <a:pt x="141261" y="213982"/>
                </a:lnTo>
                <a:lnTo>
                  <a:pt x="147395" y="213982"/>
                </a:lnTo>
                <a:lnTo>
                  <a:pt x="153529" y="212857"/>
                </a:lnTo>
                <a:lnTo>
                  <a:pt x="159679" y="208371"/>
                </a:lnTo>
                <a:close/>
              </a:path>
            </a:pathLst>
          </a:custGeom>
          <a:solidFill>
            <a:srgbClr val="D1772C"/>
          </a:solidFill>
        </p:spPr>
        <p:txBody>
          <a:bodyPr wrap="square" lIns="0" tIns="0" rIns="0" bIns="0" rtlCol="0">
            <a:noAutofit/>
          </a:bodyPr>
          <a:lstStyle/>
          <a:p>
            <a:endParaRPr/>
          </a:p>
        </p:txBody>
      </p:sp>
      <p:sp>
        <p:nvSpPr>
          <p:cNvPr id="97" name="object 97"/>
          <p:cNvSpPr/>
          <p:nvPr/>
        </p:nvSpPr>
        <p:spPr>
          <a:xfrm>
            <a:off x="9415228" y="565533"/>
            <a:ext cx="42986" cy="27042"/>
          </a:xfrm>
          <a:custGeom>
            <a:avLst/>
            <a:gdLst/>
            <a:ahLst/>
            <a:cxnLst/>
            <a:rect l="l" t="t" r="r" b="b"/>
            <a:pathLst>
              <a:path w="42986" h="27042">
                <a:moveTo>
                  <a:pt x="0" y="13443"/>
                </a:moveTo>
                <a:lnTo>
                  <a:pt x="9837" y="27042"/>
                </a:lnTo>
                <a:lnTo>
                  <a:pt x="42986" y="12349"/>
                </a:lnTo>
                <a:lnTo>
                  <a:pt x="33166" y="0"/>
                </a:lnTo>
                <a:lnTo>
                  <a:pt x="0" y="13443"/>
                </a:lnTo>
                <a:close/>
              </a:path>
            </a:pathLst>
          </a:custGeom>
          <a:solidFill>
            <a:srgbClr val="000000"/>
          </a:solidFill>
        </p:spPr>
        <p:txBody>
          <a:bodyPr wrap="square" lIns="0" tIns="0" rIns="0" bIns="0" rtlCol="0">
            <a:noAutofit/>
          </a:bodyPr>
          <a:lstStyle/>
          <a:p>
            <a:endParaRPr/>
          </a:p>
        </p:txBody>
      </p:sp>
      <p:sp>
        <p:nvSpPr>
          <p:cNvPr id="98" name="object 98"/>
          <p:cNvSpPr/>
          <p:nvPr/>
        </p:nvSpPr>
        <p:spPr>
          <a:xfrm>
            <a:off x="9578595" y="1286392"/>
            <a:ext cx="101944" cy="85615"/>
          </a:xfrm>
          <a:custGeom>
            <a:avLst/>
            <a:gdLst/>
            <a:ahLst/>
            <a:cxnLst/>
            <a:rect l="l" t="t" r="r" b="b"/>
            <a:pathLst>
              <a:path w="101944" h="85615">
                <a:moveTo>
                  <a:pt x="24568" y="85615"/>
                </a:moveTo>
                <a:lnTo>
                  <a:pt x="27015" y="84489"/>
                </a:lnTo>
                <a:lnTo>
                  <a:pt x="41763" y="85615"/>
                </a:lnTo>
                <a:lnTo>
                  <a:pt x="45450" y="85615"/>
                </a:lnTo>
                <a:lnTo>
                  <a:pt x="50360" y="84489"/>
                </a:lnTo>
                <a:lnTo>
                  <a:pt x="58958" y="82238"/>
                </a:lnTo>
                <a:lnTo>
                  <a:pt x="63868" y="77736"/>
                </a:lnTo>
                <a:lnTo>
                  <a:pt x="101944" y="21415"/>
                </a:lnTo>
                <a:lnTo>
                  <a:pt x="97034" y="18023"/>
                </a:lnTo>
                <a:lnTo>
                  <a:pt x="90883" y="14646"/>
                </a:lnTo>
                <a:lnTo>
                  <a:pt x="83509" y="10144"/>
                </a:lnTo>
                <a:lnTo>
                  <a:pt x="77376" y="6768"/>
                </a:lnTo>
                <a:lnTo>
                  <a:pt x="70002" y="4517"/>
                </a:lnTo>
                <a:lnTo>
                  <a:pt x="62645" y="2266"/>
                </a:lnTo>
                <a:lnTo>
                  <a:pt x="56494" y="0"/>
                </a:lnTo>
                <a:lnTo>
                  <a:pt x="50360" y="0"/>
                </a:lnTo>
                <a:lnTo>
                  <a:pt x="38076" y="2266"/>
                </a:lnTo>
                <a:lnTo>
                  <a:pt x="27015" y="5643"/>
                </a:lnTo>
                <a:lnTo>
                  <a:pt x="19641" y="11270"/>
                </a:lnTo>
                <a:lnTo>
                  <a:pt x="14731" y="14646"/>
                </a:lnTo>
                <a:lnTo>
                  <a:pt x="14731" y="15772"/>
                </a:lnTo>
                <a:lnTo>
                  <a:pt x="19641" y="14646"/>
                </a:lnTo>
                <a:lnTo>
                  <a:pt x="27015" y="12395"/>
                </a:lnTo>
                <a:lnTo>
                  <a:pt x="34389" y="12395"/>
                </a:lnTo>
                <a:lnTo>
                  <a:pt x="42986" y="13521"/>
                </a:lnTo>
                <a:lnTo>
                  <a:pt x="56494" y="15772"/>
                </a:lnTo>
                <a:lnTo>
                  <a:pt x="63868" y="16897"/>
                </a:lnTo>
                <a:lnTo>
                  <a:pt x="67555" y="18023"/>
                </a:lnTo>
                <a:lnTo>
                  <a:pt x="68778" y="18023"/>
                </a:lnTo>
                <a:lnTo>
                  <a:pt x="66315" y="24791"/>
                </a:lnTo>
                <a:lnTo>
                  <a:pt x="65091" y="23666"/>
                </a:lnTo>
                <a:lnTo>
                  <a:pt x="60181" y="22540"/>
                </a:lnTo>
                <a:lnTo>
                  <a:pt x="50360" y="21415"/>
                </a:lnTo>
                <a:lnTo>
                  <a:pt x="35612" y="22540"/>
                </a:lnTo>
                <a:lnTo>
                  <a:pt x="28238" y="23666"/>
                </a:lnTo>
                <a:lnTo>
                  <a:pt x="17194" y="23666"/>
                </a:lnTo>
                <a:lnTo>
                  <a:pt x="13507" y="24791"/>
                </a:lnTo>
                <a:lnTo>
                  <a:pt x="9820" y="37187"/>
                </a:lnTo>
                <a:lnTo>
                  <a:pt x="14731" y="36046"/>
                </a:lnTo>
                <a:lnTo>
                  <a:pt x="22105" y="34921"/>
                </a:lnTo>
                <a:lnTo>
                  <a:pt x="38076" y="34921"/>
                </a:lnTo>
                <a:lnTo>
                  <a:pt x="50360" y="37187"/>
                </a:lnTo>
                <a:lnTo>
                  <a:pt x="58958" y="38313"/>
                </a:lnTo>
                <a:lnTo>
                  <a:pt x="62645" y="39438"/>
                </a:lnTo>
                <a:lnTo>
                  <a:pt x="63868" y="39438"/>
                </a:lnTo>
                <a:lnTo>
                  <a:pt x="60181" y="46191"/>
                </a:lnTo>
                <a:lnTo>
                  <a:pt x="58958" y="45066"/>
                </a:lnTo>
                <a:lnTo>
                  <a:pt x="55271" y="43940"/>
                </a:lnTo>
                <a:lnTo>
                  <a:pt x="45450" y="42815"/>
                </a:lnTo>
                <a:lnTo>
                  <a:pt x="30702" y="43940"/>
                </a:lnTo>
                <a:lnTo>
                  <a:pt x="23328" y="45066"/>
                </a:lnTo>
                <a:lnTo>
                  <a:pt x="12284" y="45066"/>
                </a:lnTo>
                <a:lnTo>
                  <a:pt x="8597" y="46191"/>
                </a:lnTo>
                <a:lnTo>
                  <a:pt x="6133" y="58587"/>
                </a:lnTo>
                <a:lnTo>
                  <a:pt x="11044" y="57462"/>
                </a:lnTo>
                <a:lnTo>
                  <a:pt x="17194" y="56336"/>
                </a:lnTo>
                <a:lnTo>
                  <a:pt x="34389" y="56336"/>
                </a:lnTo>
                <a:lnTo>
                  <a:pt x="46673" y="58587"/>
                </a:lnTo>
                <a:lnTo>
                  <a:pt x="54047" y="59713"/>
                </a:lnTo>
                <a:lnTo>
                  <a:pt x="57717" y="60838"/>
                </a:lnTo>
                <a:lnTo>
                  <a:pt x="58958" y="60838"/>
                </a:lnTo>
                <a:lnTo>
                  <a:pt x="56494" y="67591"/>
                </a:lnTo>
                <a:lnTo>
                  <a:pt x="55271" y="66466"/>
                </a:lnTo>
                <a:lnTo>
                  <a:pt x="50360" y="65340"/>
                </a:lnTo>
                <a:lnTo>
                  <a:pt x="41763" y="64215"/>
                </a:lnTo>
                <a:lnTo>
                  <a:pt x="27015" y="65340"/>
                </a:lnTo>
                <a:lnTo>
                  <a:pt x="18418" y="66466"/>
                </a:lnTo>
                <a:lnTo>
                  <a:pt x="12284" y="66466"/>
                </a:lnTo>
                <a:lnTo>
                  <a:pt x="7374" y="67591"/>
                </a:lnTo>
                <a:lnTo>
                  <a:pt x="3687" y="67591"/>
                </a:lnTo>
                <a:lnTo>
                  <a:pt x="0" y="82238"/>
                </a:lnTo>
                <a:lnTo>
                  <a:pt x="24568" y="85615"/>
                </a:lnTo>
                <a:close/>
              </a:path>
            </a:pathLst>
          </a:custGeom>
          <a:solidFill>
            <a:srgbClr val="CC8B7E"/>
          </a:solidFill>
        </p:spPr>
        <p:txBody>
          <a:bodyPr wrap="square" lIns="0" tIns="0" rIns="0" bIns="0" rtlCol="0">
            <a:noAutofit/>
          </a:bodyPr>
          <a:lstStyle/>
          <a:p>
            <a:endParaRPr/>
          </a:p>
        </p:txBody>
      </p:sp>
      <p:sp>
        <p:nvSpPr>
          <p:cNvPr id="99" name="object 99"/>
          <p:cNvSpPr/>
          <p:nvPr/>
        </p:nvSpPr>
        <p:spPr>
          <a:xfrm>
            <a:off x="9199054" y="921422"/>
            <a:ext cx="191622" cy="431435"/>
          </a:xfrm>
          <a:custGeom>
            <a:avLst/>
            <a:gdLst/>
            <a:ahLst/>
            <a:cxnLst/>
            <a:rect l="l" t="t" r="r" b="b"/>
            <a:pathLst>
              <a:path w="191622" h="431435">
                <a:moveTo>
                  <a:pt x="116692" y="46191"/>
                </a:moveTo>
                <a:lnTo>
                  <a:pt x="84750" y="23666"/>
                </a:lnTo>
                <a:lnTo>
                  <a:pt x="44227" y="49568"/>
                </a:lnTo>
                <a:lnTo>
                  <a:pt x="40540" y="28168"/>
                </a:lnTo>
                <a:lnTo>
                  <a:pt x="1240" y="0"/>
                </a:lnTo>
                <a:lnTo>
                  <a:pt x="0" y="4517"/>
                </a:lnTo>
                <a:lnTo>
                  <a:pt x="7374" y="14646"/>
                </a:lnTo>
                <a:lnTo>
                  <a:pt x="18435" y="33795"/>
                </a:lnTo>
                <a:lnTo>
                  <a:pt x="31942" y="60838"/>
                </a:lnTo>
                <a:lnTo>
                  <a:pt x="46673" y="98010"/>
                </a:lnTo>
                <a:lnTo>
                  <a:pt x="62645" y="145312"/>
                </a:lnTo>
                <a:lnTo>
                  <a:pt x="76152" y="202774"/>
                </a:lnTo>
                <a:lnTo>
                  <a:pt x="88437" y="271476"/>
                </a:lnTo>
                <a:lnTo>
                  <a:pt x="98274" y="352589"/>
                </a:lnTo>
                <a:lnTo>
                  <a:pt x="100721" y="373989"/>
                </a:lnTo>
                <a:lnTo>
                  <a:pt x="101944" y="390887"/>
                </a:lnTo>
                <a:lnTo>
                  <a:pt x="104408" y="407785"/>
                </a:lnTo>
                <a:lnTo>
                  <a:pt x="105631" y="430310"/>
                </a:lnTo>
                <a:lnTo>
                  <a:pt x="111782" y="431435"/>
                </a:lnTo>
                <a:lnTo>
                  <a:pt x="130200" y="431435"/>
                </a:lnTo>
                <a:lnTo>
                  <a:pt x="191622" y="325546"/>
                </a:lnTo>
                <a:lnTo>
                  <a:pt x="184248" y="273727"/>
                </a:lnTo>
                <a:lnTo>
                  <a:pt x="175651" y="225300"/>
                </a:lnTo>
                <a:lnTo>
                  <a:pt x="168277" y="179108"/>
                </a:lnTo>
                <a:lnTo>
                  <a:pt x="160903" y="137434"/>
                </a:lnTo>
                <a:lnTo>
                  <a:pt x="153546" y="99136"/>
                </a:lnTo>
                <a:lnTo>
                  <a:pt x="147395" y="65340"/>
                </a:lnTo>
                <a:lnTo>
                  <a:pt x="142485" y="37172"/>
                </a:lnTo>
                <a:lnTo>
                  <a:pt x="137574" y="14646"/>
                </a:lnTo>
                <a:lnTo>
                  <a:pt x="115469" y="25917"/>
                </a:lnTo>
                <a:lnTo>
                  <a:pt x="116692" y="46191"/>
                </a:lnTo>
                <a:close/>
              </a:path>
            </a:pathLst>
          </a:custGeom>
          <a:solidFill>
            <a:srgbClr val="FFB12B"/>
          </a:solidFill>
        </p:spPr>
        <p:txBody>
          <a:bodyPr wrap="square" lIns="0" tIns="0" rIns="0" bIns="0" rtlCol="0">
            <a:noAutofit/>
          </a:bodyPr>
          <a:lstStyle/>
          <a:p>
            <a:endParaRPr/>
          </a:p>
        </p:txBody>
      </p:sp>
      <p:sp>
        <p:nvSpPr>
          <p:cNvPr id="100" name="object 100"/>
          <p:cNvSpPr/>
          <p:nvPr/>
        </p:nvSpPr>
        <p:spPr>
          <a:xfrm>
            <a:off x="9205205" y="875245"/>
            <a:ext cx="127736" cy="54070"/>
          </a:xfrm>
          <a:custGeom>
            <a:avLst/>
            <a:gdLst/>
            <a:ahLst/>
            <a:cxnLst/>
            <a:rect l="l" t="t" r="r" b="b"/>
            <a:pathLst>
              <a:path w="127736" h="54070">
                <a:moveTo>
                  <a:pt x="11061" y="0"/>
                </a:moveTo>
                <a:lnTo>
                  <a:pt x="0" y="30403"/>
                </a:lnTo>
                <a:lnTo>
                  <a:pt x="29479" y="51819"/>
                </a:lnTo>
                <a:lnTo>
                  <a:pt x="29479" y="49568"/>
                </a:lnTo>
                <a:lnTo>
                  <a:pt x="58958" y="54070"/>
                </a:lnTo>
                <a:lnTo>
                  <a:pt x="78599" y="32670"/>
                </a:lnTo>
                <a:lnTo>
                  <a:pt x="92124" y="46176"/>
                </a:lnTo>
                <a:lnTo>
                  <a:pt x="108078" y="34921"/>
                </a:lnTo>
                <a:lnTo>
                  <a:pt x="109318" y="54070"/>
                </a:lnTo>
                <a:lnTo>
                  <a:pt x="127736" y="45050"/>
                </a:lnTo>
                <a:lnTo>
                  <a:pt x="126513" y="40548"/>
                </a:lnTo>
                <a:lnTo>
                  <a:pt x="126513" y="24776"/>
                </a:lnTo>
                <a:lnTo>
                  <a:pt x="125273" y="20274"/>
                </a:lnTo>
                <a:lnTo>
                  <a:pt x="120362" y="16897"/>
                </a:lnTo>
                <a:lnTo>
                  <a:pt x="116675" y="15772"/>
                </a:lnTo>
                <a:lnTo>
                  <a:pt x="103168" y="15772"/>
                </a:lnTo>
                <a:lnTo>
                  <a:pt x="94570" y="16897"/>
                </a:lnTo>
                <a:lnTo>
                  <a:pt x="85973" y="18023"/>
                </a:lnTo>
                <a:lnTo>
                  <a:pt x="77376" y="19148"/>
                </a:lnTo>
                <a:lnTo>
                  <a:pt x="67555" y="20274"/>
                </a:lnTo>
                <a:lnTo>
                  <a:pt x="65091" y="21399"/>
                </a:lnTo>
                <a:lnTo>
                  <a:pt x="11061" y="0"/>
                </a:lnTo>
                <a:close/>
              </a:path>
            </a:pathLst>
          </a:custGeom>
          <a:solidFill>
            <a:srgbClr val="FFB12B"/>
          </a:solidFill>
        </p:spPr>
        <p:txBody>
          <a:bodyPr wrap="square" lIns="0" tIns="0" rIns="0" bIns="0" rtlCol="0">
            <a:noAutofit/>
          </a:bodyPr>
          <a:lstStyle/>
          <a:p>
            <a:endParaRPr/>
          </a:p>
        </p:txBody>
      </p:sp>
      <p:sp>
        <p:nvSpPr>
          <p:cNvPr id="101" name="object 101"/>
          <p:cNvSpPr/>
          <p:nvPr/>
        </p:nvSpPr>
        <p:spPr>
          <a:xfrm>
            <a:off x="9373483" y="535051"/>
            <a:ext cx="117899" cy="111454"/>
          </a:xfrm>
          <a:custGeom>
            <a:avLst/>
            <a:gdLst/>
            <a:ahLst/>
            <a:cxnLst/>
            <a:rect l="l" t="t" r="r" b="b"/>
            <a:pathLst>
              <a:path w="117899" h="111454">
                <a:moveTo>
                  <a:pt x="0" y="66434"/>
                </a:moveTo>
                <a:lnTo>
                  <a:pt x="0" y="85661"/>
                </a:lnTo>
                <a:lnTo>
                  <a:pt x="9820" y="101449"/>
                </a:lnTo>
                <a:lnTo>
                  <a:pt x="17194" y="107077"/>
                </a:lnTo>
                <a:lnTo>
                  <a:pt x="27015" y="110360"/>
                </a:lnTo>
                <a:lnTo>
                  <a:pt x="36836" y="111454"/>
                </a:lnTo>
                <a:lnTo>
                  <a:pt x="47897" y="110360"/>
                </a:lnTo>
                <a:lnTo>
                  <a:pt x="60181" y="107077"/>
                </a:lnTo>
                <a:lnTo>
                  <a:pt x="71225" y="102544"/>
                </a:lnTo>
                <a:lnTo>
                  <a:pt x="82286" y="95822"/>
                </a:lnTo>
                <a:lnTo>
                  <a:pt x="93347" y="86756"/>
                </a:lnTo>
                <a:lnTo>
                  <a:pt x="109301" y="66434"/>
                </a:lnTo>
                <a:lnTo>
                  <a:pt x="117899" y="43925"/>
                </a:lnTo>
                <a:lnTo>
                  <a:pt x="116675" y="24854"/>
                </a:lnTo>
                <a:lnTo>
                  <a:pt x="106855" y="9066"/>
                </a:lnTo>
                <a:lnTo>
                  <a:pt x="99481" y="4533"/>
                </a:lnTo>
                <a:lnTo>
                  <a:pt x="90883" y="1094"/>
                </a:lnTo>
                <a:lnTo>
                  <a:pt x="81063" y="0"/>
                </a:lnTo>
                <a:lnTo>
                  <a:pt x="71225" y="0"/>
                </a:lnTo>
                <a:lnTo>
                  <a:pt x="60181" y="2188"/>
                </a:lnTo>
                <a:lnTo>
                  <a:pt x="50343" y="5627"/>
                </a:lnTo>
                <a:lnTo>
                  <a:pt x="39299" y="11254"/>
                </a:lnTo>
                <a:lnTo>
                  <a:pt x="29462" y="17976"/>
                </a:lnTo>
                <a:lnTo>
                  <a:pt x="35612" y="24854"/>
                </a:lnTo>
                <a:lnTo>
                  <a:pt x="44210" y="19227"/>
                </a:lnTo>
                <a:lnTo>
                  <a:pt x="51584" y="15788"/>
                </a:lnTo>
                <a:lnTo>
                  <a:pt x="60181" y="12349"/>
                </a:lnTo>
                <a:lnTo>
                  <a:pt x="68778" y="11254"/>
                </a:lnTo>
                <a:lnTo>
                  <a:pt x="77376" y="10160"/>
                </a:lnTo>
                <a:lnTo>
                  <a:pt x="84733" y="11254"/>
                </a:lnTo>
                <a:lnTo>
                  <a:pt x="90883" y="14693"/>
                </a:lnTo>
                <a:lnTo>
                  <a:pt x="97017" y="17976"/>
                </a:lnTo>
                <a:lnTo>
                  <a:pt x="105614" y="30481"/>
                </a:lnTo>
                <a:lnTo>
                  <a:pt x="105614" y="46113"/>
                </a:lnTo>
                <a:lnTo>
                  <a:pt x="99481" y="63152"/>
                </a:lnTo>
                <a:lnTo>
                  <a:pt x="85973" y="80034"/>
                </a:lnTo>
                <a:lnTo>
                  <a:pt x="77376" y="86756"/>
                </a:lnTo>
                <a:lnTo>
                  <a:pt x="68778" y="92383"/>
                </a:lnTo>
                <a:lnTo>
                  <a:pt x="60181" y="96916"/>
                </a:lnTo>
                <a:lnTo>
                  <a:pt x="50343" y="99105"/>
                </a:lnTo>
                <a:lnTo>
                  <a:pt x="41746" y="100199"/>
                </a:lnTo>
                <a:lnTo>
                  <a:pt x="33149" y="99105"/>
                </a:lnTo>
                <a:lnTo>
                  <a:pt x="25792" y="96916"/>
                </a:lnTo>
                <a:lnTo>
                  <a:pt x="19641" y="92383"/>
                </a:lnTo>
                <a:lnTo>
                  <a:pt x="12267" y="80034"/>
                </a:lnTo>
                <a:lnTo>
                  <a:pt x="12267" y="64246"/>
                </a:lnTo>
                <a:lnTo>
                  <a:pt x="17194" y="47364"/>
                </a:lnTo>
                <a:lnTo>
                  <a:pt x="29462" y="31576"/>
                </a:lnTo>
                <a:lnTo>
                  <a:pt x="22105" y="24854"/>
                </a:lnTo>
                <a:lnTo>
                  <a:pt x="6133" y="45019"/>
                </a:lnTo>
                <a:lnTo>
                  <a:pt x="0" y="66434"/>
                </a:lnTo>
                <a:close/>
              </a:path>
            </a:pathLst>
          </a:custGeom>
          <a:solidFill>
            <a:srgbClr val="000000"/>
          </a:solidFill>
        </p:spPr>
        <p:txBody>
          <a:bodyPr wrap="square" lIns="0" tIns="0" rIns="0" bIns="0" rtlCol="0">
            <a:noAutofit/>
          </a:bodyPr>
          <a:lstStyle/>
          <a:p>
            <a:endParaRPr/>
          </a:p>
        </p:txBody>
      </p:sp>
      <p:sp>
        <p:nvSpPr>
          <p:cNvPr id="102" name="object 102"/>
          <p:cNvSpPr/>
          <p:nvPr/>
        </p:nvSpPr>
        <p:spPr>
          <a:xfrm>
            <a:off x="9379616" y="537241"/>
            <a:ext cx="30702" cy="29387"/>
          </a:xfrm>
          <a:custGeom>
            <a:avLst/>
            <a:gdLst/>
            <a:ahLst/>
            <a:cxnLst/>
            <a:rect l="l" t="t" r="r" b="b"/>
            <a:pathLst>
              <a:path w="30702" h="29387">
                <a:moveTo>
                  <a:pt x="18418" y="18132"/>
                </a:moveTo>
                <a:lnTo>
                  <a:pt x="17194" y="21415"/>
                </a:lnTo>
                <a:lnTo>
                  <a:pt x="15971" y="22666"/>
                </a:lnTo>
                <a:lnTo>
                  <a:pt x="23328" y="29387"/>
                </a:lnTo>
                <a:lnTo>
                  <a:pt x="29479" y="22666"/>
                </a:lnTo>
                <a:lnTo>
                  <a:pt x="29479" y="21415"/>
                </a:lnTo>
                <a:lnTo>
                  <a:pt x="30702" y="18132"/>
                </a:lnTo>
                <a:lnTo>
                  <a:pt x="29479" y="13599"/>
                </a:lnTo>
                <a:lnTo>
                  <a:pt x="25792" y="6877"/>
                </a:lnTo>
                <a:lnTo>
                  <a:pt x="19658" y="1250"/>
                </a:lnTo>
                <a:lnTo>
                  <a:pt x="13507" y="0"/>
                </a:lnTo>
                <a:lnTo>
                  <a:pt x="6133" y="0"/>
                </a:lnTo>
                <a:lnTo>
                  <a:pt x="0" y="6877"/>
                </a:lnTo>
                <a:lnTo>
                  <a:pt x="7374" y="13599"/>
                </a:lnTo>
                <a:lnTo>
                  <a:pt x="12284" y="12505"/>
                </a:lnTo>
                <a:lnTo>
                  <a:pt x="15971" y="12505"/>
                </a:lnTo>
                <a:lnTo>
                  <a:pt x="18418" y="14693"/>
                </a:lnTo>
                <a:lnTo>
                  <a:pt x="18418" y="18132"/>
                </a:lnTo>
                <a:close/>
              </a:path>
            </a:pathLst>
          </a:custGeom>
          <a:solidFill>
            <a:srgbClr val="000000"/>
          </a:solidFill>
        </p:spPr>
        <p:txBody>
          <a:bodyPr wrap="square" lIns="0" tIns="0" rIns="0" bIns="0" rtlCol="0">
            <a:noAutofit/>
          </a:bodyPr>
          <a:lstStyle/>
          <a:p>
            <a:endParaRPr/>
          </a:p>
        </p:txBody>
      </p:sp>
      <p:sp>
        <p:nvSpPr>
          <p:cNvPr id="103" name="object 103"/>
          <p:cNvSpPr/>
          <p:nvPr/>
        </p:nvSpPr>
        <p:spPr>
          <a:xfrm>
            <a:off x="9361198" y="544118"/>
            <a:ext cx="25792" cy="20164"/>
          </a:xfrm>
          <a:custGeom>
            <a:avLst/>
            <a:gdLst/>
            <a:ahLst/>
            <a:cxnLst/>
            <a:rect l="l" t="t" r="r" b="b"/>
            <a:pathLst>
              <a:path w="25792" h="20164">
                <a:moveTo>
                  <a:pt x="4910" y="11254"/>
                </a:moveTo>
                <a:lnTo>
                  <a:pt x="0" y="13443"/>
                </a:lnTo>
                <a:lnTo>
                  <a:pt x="7357" y="20164"/>
                </a:lnTo>
                <a:lnTo>
                  <a:pt x="12284" y="17976"/>
                </a:lnTo>
                <a:lnTo>
                  <a:pt x="17194" y="14537"/>
                </a:lnTo>
                <a:lnTo>
                  <a:pt x="20881" y="11254"/>
                </a:lnTo>
                <a:lnTo>
                  <a:pt x="25792" y="6721"/>
                </a:lnTo>
                <a:lnTo>
                  <a:pt x="18418" y="0"/>
                </a:lnTo>
                <a:lnTo>
                  <a:pt x="13507" y="4376"/>
                </a:lnTo>
                <a:lnTo>
                  <a:pt x="9820" y="7815"/>
                </a:lnTo>
                <a:lnTo>
                  <a:pt x="4910" y="11254"/>
                </a:lnTo>
                <a:close/>
              </a:path>
            </a:pathLst>
          </a:custGeom>
          <a:solidFill>
            <a:srgbClr val="000000"/>
          </a:solidFill>
        </p:spPr>
        <p:txBody>
          <a:bodyPr wrap="square" lIns="0" tIns="0" rIns="0" bIns="0" rtlCol="0">
            <a:noAutofit/>
          </a:bodyPr>
          <a:lstStyle/>
          <a:p>
            <a:endParaRPr/>
          </a:p>
        </p:txBody>
      </p:sp>
      <p:sp>
        <p:nvSpPr>
          <p:cNvPr id="104" name="object 104"/>
          <p:cNvSpPr/>
          <p:nvPr/>
        </p:nvSpPr>
        <p:spPr>
          <a:xfrm>
            <a:off x="9303463" y="462989"/>
            <a:ext cx="108078" cy="81128"/>
          </a:xfrm>
          <a:custGeom>
            <a:avLst/>
            <a:gdLst/>
            <a:ahLst/>
            <a:cxnLst/>
            <a:rect l="l" t="t" r="r" b="b"/>
            <a:pathLst>
              <a:path w="108078" h="81128">
                <a:moveTo>
                  <a:pt x="7374" y="46113"/>
                </a:moveTo>
                <a:lnTo>
                  <a:pt x="9820" y="42830"/>
                </a:lnTo>
                <a:lnTo>
                  <a:pt x="13507" y="38297"/>
                </a:lnTo>
                <a:lnTo>
                  <a:pt x="17194" y="34858"/>
                </a:lnTo>
                <a:lnTo>
                  <a:pt x="20881" y="30325"/>
                </a:lnTo>
                <a:lnTo>
                  <a:pt x="29479" y="23603"/>
                </a:lnTo>
                <a:lnTo>
                  <a:pt x="38076" y="17976"/>
                </a:lnTo>
                <a:lnTo>
                  <a:pt x="46673" y="13443"/>
                </a:lnTo>
                <a:lnTo>
                  <a:pt x="56494" y="11254"/>
                </a:lnTo>
                <a:lnTo>
                  <a:pt x="65091" y="11254"/>
                </a:lnTo>
                <a:lnTo>
                  <a:pt x="73689" y="12349"/>
                </a:lnTo>
                <a:lnTo>
                  <a:pt x="81063" y="14537"/>
                </a:lnTo>
                <a:lnTo>
                  <a:pt x="87213" y="19070"/>
                </a:lnTo>
                <a:lnTo>
                  <a:pt x="94570" y="30325"/>
                </a:lnTo>
                <a:lnTo>
                  <a:pt x="95811" y="43925"/>
                </a:lnTo>
                <a:lnTo>
                  <a:pt x="92124" y="59713"/>
                </a:lnTo>
                <a:lnTo>
                  <a:pt x="82286" y="74250"/>
                </a:lnTo>
                <a:lnTo>
                  <a:pt x="89660" y="81128"/>
                </a:lnTo>
                <a:lnTo>
                  <a:pt x="101944" y="61901"/>
                </a:lnTo>
                <a:lnTo>
                  <a:pt x="108078" y="41580"/>
                </a:lnTo>
                <a:lnTo>
                  <a:pt x="105631" y="23603"/>
                </a:lnTo>
                <a:lnTo>
                  <a:pt x="95811" y="8910"/>
                </a:lnTo>
                <a:lnTo>
                  <a:pt x="88437" y="3282"/>
                </a:lnTo>
                <a:lnTo>
                  <a:pt x="78616" y="1094"/>
                </a:lnTo>
                <a:lnTo>
                  <a:pt x="68778" y="0"/>
                </a:lnTo>
                <a:lnTo>
                  <a:pt x="57734" y="1094"/>
                </a:lnTo>
                <a:lnTo>
                  <a:pt x="46673" y="4533"/>
                </a:lnTo>
                <a:lnTo>
                  <a:pt x="35612" y="8910"/>
                </a:lnTo>
                <a:lnTo>
                  <a:pt x="24568" y="15788"/>
                </a:lnTo>
                <a:lnTo>
                  <a:pt x="13507" y="24698"/>
                </a:lnTo>
                <a:lnTo>
                  <a:pt x="9820" y="28137"/>
                </a:lnTo>
                <a:lnTo>
                  <a:pt x="6133" y="31576"/>
                </a:lnTo>
                <a:lnTo>
                  <a:pt x="2463" y="35952"/>
                </a:lnTo>
                <a:lnTo>
                  <a:pt x="0" y="39391"/>
                </a:lnTo>
                <a:lnTo>
                  <a:pt x="7374" y="46113"/>
                </a:lnTo>
                <a:close/>
              </a:path>
            </a:pathLst>
          </a:custGeom>
          <a:solidFill>
            <a:srgbClr val="000000"/>
          </a:solidFill>
        </p:spPr>
        <p:txBody>
          <a:bodyPr wrap="square" lIns="0" tIns="0" rIns="0" bIns="0" rtlCol="0">
            <a:noAutofit/>
          </a:bodyPr>
          <a:lstStyle/>
          <a:p>
            <a:endParaRPr/>
          </a:p>
        </p:txBody>
      </p:sp>
      <p:sp>
        <p:nvSpPr>
          <p:cNvPr id="60" name="object 60"/>
          <p:cNvSpPr/>
          <p:nvPr/>
        </p:nvSpPr>
        <p:spPr>
          <a:xfrm>
            <a:off x="9928640" y="1498170"/>
            <a:ext cx="283780" cy="269225"/>
          </a:xfrm>
          <a:custGeom>
            <a:avLst/>
            <a:gdLst/>
            <a:ahLst/>
            <a:cxnLst/>
            <a:rect l="l" t="t" r="r" b="b"/>
            <a:pathLst>
              <a:path w="283780" h="269225">
                <a:moveTo>
                  <a:pt x="283780" y="0"/>
                </a:moveTo>
                <a:lnTo>
                  <a:pt x="267809" y="5627"/>
                </a:lnTo>
                <a:lnTo>
                  <a:pt x="7374" y="88991"/>
                </a:lnTo>
                <a:lnTo>
                  <a:pt x="0" y="91242"/>
                </a:lnTo>
                <a:lnTo>
                  <a:pt x="0" y="269225"/>
                </a:lnTo>
                <a:lnTo>
                  <a:pt x="15971" y="264723"/>
                </a:lnTo>
                <a:lnTo>
                  <a:pt x="275115" y="181359"/>
                </a:lnTo>
                <a:lnTo>
                  <a:pt x="283780" y="179108"/>
                </a:lnTo>
                <a:lnTo>
                  <a:pt x="283780" y="0"/>
                </a:lnTo>
                <a:close/>
              </a:path>
            </a:pathLst>
          </a:custGeom>
          <a:solidFill>
            <a:srgbClr val="3E3E3E"/>
          </a:solidFill>
        </p:spPr>
        <p:txBody>
          <a:bodyPr wrap="square" lIns="0" tIns="0" rIns="0" bIns="0" rtlCol="0">
            <a:noAutofit/>
          </a:bodyPr>
          <a:lstStyle/>
          <a:p>
            <a:endParaRPr/>
          </a:p>
        </p:txBody>
      </p:sp>
      <p:sp>
        <p:nvSpPr>
          <p:cNvPr id="61" name="object 61"/>
          <p:cNvSpPr/>
          <p:nvPr/>
        </p:nvSpPr>
        <p:spPr>
          <a:xfrm>
            <a:off x="9953210" y="1530840"/>
            <a:ext cx="234575" cy="205010"/>
          </a:xfrm>
          <a:custGeom>
            <a:avLst/>
            <a:gdLst/>
            <a:ahLst/>
            <a:cxnLst/>
            <a:rect l="l" t="t" r="r" b="b"/>
            <a:pathLst>
              <a:path w="234575" h="205010">
                <a:moveTo>
                  <a:pt x="234575" y="0"/>
                </a:moveTo>
                <a:lnTo>
                  <a:pt x="0" y="75470"/>
                </a:lnTo>
                <a:lnTo>
                  <a:pt x="0" y="205010"/>
                </a:lnTo>
                <a:lnTo>
                  <a:pt x="234575" y="129540"/>
                </a:lnTo>
                <a:lnTo>
                  <a:pt x="234575" y="0"/>
                </a:lnTo>
                <a:close/>
              </a:path>
            </a:pathLst>
          </a:custGeom>
          <a:solidFill>
            <a:srgbClr val="4B88D2"/>
          </a:solidFill>
        </p:spPr>
        <p:txBody>
          <a:bodyPr wrap="square" lIns="0" tIns="0" rIns="0" bIns="0" rtlCol="0">
            <a:noAutofit/>
          </a:bodyPr>
          <a:lstStyle/>
          <a:p>
            <a:endParaRPr/>
          </a:p>
        </p:txBody>
      </p:sp>
      <p:sp>
        <p:nvSpPr>
          <p:cNvPr id="58" name="object 58"/>
          <p:cNvSpPr/>
          <p:nvPr/>
        </p:nvSpPr>
        <p:spPr>
          <a:xfrm>
            <a:off x="8580029" y="1482398"/>
            <a:ext cx="284953" cy="269225"/>
          </a:xfrm>
          <a:custGeom>
            <a:avLst/>
            <a:gdLst/>
            <a:ahLst/>
            <a:cxnLst/>
            <a:rect l="l" t="t" r="r" b="b"/>
            <a:pathLst>
              <a:path w="284953" h="269225">
                <a:moveTo>
                  <a:pt x="284953" y="0"/>
                </a:moveTo>
                <a:lnTo>
                  <a:pt x="267758" y="5643"/>
                </a:lnTo>
                <a:lnTo>
                  <a:pt x="8597" y="87865"/>
                </a:lnTo>
                <a:lnTo>
                  <a:pt x="0" y="91242"/>
                </a:lnTo>
                <a:lnTo>
                  <a:pt x="0" y="269225"/>
                </a:lnTo>
                <a:lnTo>
                  <a:pt x="17194" y="263597"/>
                </a:lnTo>
                <a:lnTo>
                  <a:pt x="276355" y="181359"/>
                </a:lnTo>
                <a:lnTo>
                  <a:pt x="284953" y="177982"/>
                </a:lnTo>
                <a:lnTo>
                  <a:pt x="284953" y="0"/>
                </a:lnTo>
                <a:close/>
              </a:path>
            </a:pathLst>
          </a:custGeom>
          <a:solidFill>
            <a:srgbClr val="3E3E3E"/>
          </a:solidFill>
        </p:spPr>
        <p:txBody>
          <a:bodyPr wrap="square" lIns="0" tIns="0" rIns="0" bIns="0" rtlCol="0">
            <a:noAutofit/>
          </a:bodyPr>
          <a:lstStyle/>
          <a:p>
            <a:endParaRPr/>
          </a:p>
        </p:txBody>
      </p:sp>
      <p:sp>
        <p:nvSpPr>
          <p:cNvPr id="59" name="object 59"/>
          <p:cNvSpPr/>
          <p:nvPr/>
        </p:nvSpPr>
        <p:spPr>
          <a:xfrm>
            <a:off x="8605820" y="1515067"/>
            <a:ext cx="233368" cy="203884"/>
          </a:xfrm>
          <a:custGeom>
            <a:avLst/>
            <a:gdLst/>
            <a:ahLst/>
            <a:cxnLst/>
            <a:rect l="l" t="t" r="r" b="b"/>
            <a:pathLst>
              <a:path w="233368" h="203884">
                <a:moveTo>
                  <a:pt x="233368" y="0"/>
                </a:moveTo>
                <a:lnTo>
                  <a:pt x="0" y="74344"/>
                </a:lnTo>
                <a:lnTo>
                  <a:pt x="0" y="203884"/>
                </a:lnTo>
                <a:lnTo>
                  <a:pt x="233368" y="129540"/>
                </a:lnTo>
                <a:lnTo>
                  <a:pt x="233368" y="0"/>
                </a:lnTo>
                <a:close/>
              </a:path>
            </a:pathLst>
          </a:custGeom>
          <a:solidFill>
            <a:srgbClr val="4B88D2"/>
          </a:solidFill>
        </p:spPr>
        <p:txBody>
          <a:bodyPr wrap="square" lIns="0" tIns="0" rIns="0" bIns="0" rtlCol="0">
            <a:noAutofit/>
          </a:bodyPr>
          <a:lstStyle/>
          <a:p>
            <a:endParaRPr/>
          </a:p>
        </p:txBody>
      </p:sp>
      <p:sp>
        <p:nvSpPr>
          <p:cNvPr id="56" name="object 56"/>
          <p:cNvSpPr/>
          <p:nvPr/>
        </p:nvSpPr>
        <p:spPr>
          <a:xfrm>
            <a:off x="8377362" y="643224"/>
            <a:ext cx="283729" cy="270319"/>
          </a:xfrm>
          <a:custGeom>
            <a:avLst/>
            <a:gdLst/>
            <a:ahLst/>
            <a:cxnLst/>
            <a:rect l="l" t="t" r="r" b="b"/>
            <a:pathLst>
              <a:path w="283729" h="270319">
                <a:moveTo>
                  <a:pt x="283729" y="0"/>
                </a:moveTo>
                <a:lnTo>
                  <a:pt x="267758" y="5627"/>
                </a:lnTo>
                <a:lnTo>
                  <a:pt x="8597" y="88960"/>
                </a:lnTo>
                <a:lnTo>
                  <a:pt x="0" y="91211"/>
                </a:lnTo>
                <a:lnTo>
                  <a:pt x="0" y="270319"/>
                </a:lnTo>
                <a:lnTo>
                  <a:pt x="15967" y="264692"/>
                </a:lnTo>
                <a:lnTo>
                  <a:pt x="275132" y="181328"/>
                </a:lnTo>
                <a:lnTo>
                  <a:pt x="283729" y="179077"/>
                </a:lnTo>
                <a:lnTo>
                  <a:pt x="283729" y="0"/>
                </a:lnTo>
                <a:close/>
              </a:path>
            </a:pathLst>
          </a:custGeom>
          <a:solidFill>
            <a:srgbClr val="3E3E3E"/>
          </a:solidFill>
        </p:spPr>
        <p:txBody>
          <a:bodyPr wrap="square" lIns="0" tIns="0" rIns="0" bIns="0" rtlCol="0">
            <a:noAutofit/>
          </a:bodyPr>
          <a:lstStyle/>
          <a:p>
            <a:endParaRPr/>
          </a:p>
        </p:txBody>
      </p:sp>
      <p:sp>
        <p:nvSpPr>
          <p:cNvPr id="57" name="object 57"/>
          <p:cNvSpPr/>
          <p:nvPr/>
        </p:nvSpPr>
        <p:spPr>
          <a:xfrm>
            <a:off x="8401927" y="675893"/>
            <a:ext cx="234595" cy="204978"/>
          </a:xfrm>
          <a:custGeom>
            <a:avLst/>
            <a:gdLst/>
            <a:ahLst/>
            <a:cxnLst/>
            <a:rect l="l" t="t" r="r" b="b"/>
            <a:pathLst>
              <a:path w="234595" h="204978">
                <a:moveTo>
                  <a:pt x="0" y="204978"/>
                </a:moveTo>
                <a:lnTo>
                  <a:pt x="234595" y="129508"/>
                </a:lnTo>
                <a:lnTo>
                  <a:pt x="234595" y="0"/>
                </a:lnTo>
                <a:lnTo>
                  <a:pt x="0" y="75438"/>
                </a:lnTo>
                <a:lnTo>
                  <a:pt x="0" y="204978"/>
                </a:lnTo>
                <a:close/>
              </a:path>
            </a:pathLst>
          </a:custGeom>
          <a:solidFill>
            <a:srgbClr val="4B88D2"/>
          </a:solidFill>
        </p:spPr>
        <p:txBody>
          <a:bodyPr wrap="square" lIns="0" tIns="0" rIns="0" bIns="0" rtlCol="0">
            <a:noAutofit/>
          </a:bodyPr>
          <a:lstStyle/>
          <a:p>
            <a:endParaRPr/>
          </a:p>
        </p:txBody>
      </p:sp>
      <p:sp>
        <p:nvSpPr>
          <p:cNvPr id="12" name="object 12"/>
          <p:cNvSpPr/>
          <p:nvPr/>
        </p:nvSpPr>
        <p:spPr>
          <a:xfrm>
            <a:off x="2001804" y="3968181"/>
            <a:ext cx="1547283" cy="1100140"/>
          </a:xfrm>
          <a:custGeom>
            <a:avLst/>
            <a:gdLst/>
            <a:ahLst/>
            <a:cxnLst/>
            <a:rect l="l" t="t" r="r" b="b"/>
            <a:pathLst>
              <a:path w="1547283" h="1100140">
                <a:moveTo>
                  <a:pt x="736614" y="931728"/>
                </a:moveTo>
                <a:lnTo>
                  <a:pt x="886360" y="992839"/>
                </a:lnTo>
                <a:lnTo>
                  <a:pt x="1027030" y="1100140"/>
                </a:lnTo>
                <a:lnTo>
                  <a:pt x="1007366" y="923573"/>
                </a:lnTo>
                <a:lnTo>
                  <a:pt x="1231185" y="882831"/>
                </a:lnTo>
                <a:lnTo>
                  <a:pt x="1334012" y="810842"/>
                </a:lnTo>
                <a:lnTo>
                  <a:pt x="1267492" y="670948"/>
                </a:lnTo>
                <a:lnTo>
                  <a:pt x="1449026" y="592176"/>
                </a:lnTo>
                <a:lnTo>
                  <a:pt x="1547283" y="505249"/>
                </a:lnTo>
                <a:lnTo>
                  <a:pt x="1170721" y="0"/>
                </a:lnTo>
                <a:lnTo>
                  <a:pt x="1145001" y="58401"/>
                </a:lnTo>
                <a:lnTo>
                  <a:pt x="833423" y="346345"/>
                </a:lnTo>
                <a:lnTo>
                  <a:pt x="287388" y="300160"/>
                </a:lnTo>
                <a:lnTo>
                  <a:pt x="270745" y="306954"/>
                </a:lnTo>
                <a:lnTo>
                  <a:pt x="0" y="668237"/>
                </a:lnTo>
                <a:lnTo>
                  <a:pt x="140663" y="736143"/>
                </a:lnTo>
                <a:lnTo>
                  <a:pt x="222340" y="736143"/>
                </a:lnTo>
                <a:lnTo>
                  <a:pt x="133109" y="927644"/>
                </a:lnTo>
                <a:lnTo>
                  <a:pt x="270745" y="892336"/>
                </a:lnTo>
                <a:lnTo>
                  <a:pt x="595944" y="897769"/>
                </a:lnTo>
                <a:lnTo>
                  <a:pt x="592923" y="927644"/>
                </a:lnTo>
                <a:lnTo>
                  <a:pt x="736614" y="931728"/>
                </a:lnTo>
                <a:close/>
              </a:path>
            </a:pathLst>
          </a:custGeom>
          <a:solidFill>
            <a:srgbClr val="CCFFCC"/>
          </a:solidFill>
        </p:spPr>
        <p:txBody>
          <a:bodyPr wrap="square" lIns="0" tIns="0" rIns="0" bIns="0" rtlCol="0">
            <a:noAutofit/>
          </a:bodyPr>
          <a:lstStyle/>
          <a:p>
            <a:endParaRPr/>
          </a:p>
        </p:txBody>
      </p:sp>
      <p:sp>
        <p:nvSpPr>
          <p:cNvPr id="13" name="object 13"/>
          <p:cNvSpPr/>
          <p:nvPr/>
        </p:nvSpPr>
        <p:spPr>
          <a:xfrm>
            <a:off x="2080452" y="2009666"/>
            <a:ext cx="1567016" cy="1310648"/>
          </a:xfrm>
          <a:custGeom>
            <a:avLst/>
            <a:gdLst/>
            <a:ahLst/>
            <a:cxnLst/>
            <a:rect l="l" t="t" r="r" b="b"/>
            <a:pathLst>
              <a:path w="1567016" h="1310648">
                <a:moveTo>
                  <a:pt x="1373423" y="192839"/>
                </a:moveTo>
                <a:lnTo>
                  <a:pt x="937793" y="0"/>
                </a:lnTo>
                <a:lnTo>
                  <a:pt x="939303" y="237675"/>
                </a:lnTo>
                <a:lnTo>
                  <a:pt x="872745" y="220061"/>
                </a:lnTo>
                <a:lnTo>
                  <a:pt x="842494" y="300125"/>
                </a:lnTo>
                <a:lnTo>
                  <a:pt x="558133" y="213199"/>
                </a:lnTo>
                <a:lnTo>
                  <a:pt x="372093" y="92302"/>
                </a:lnTo>
                <a:lnTo>
                  <a:pt x="406876" y="289259"/>
                </a:lnTo>
                <a:lnTo>
                  <a:pt x="279828" y="247169"/>
                </a:lnTo>
                <a:lnTo>
                  <a:pt x="311590" y="461740"/>
                </a:lnTo>
                <a:lnTo>
                  <a:pt x="231423" y="465858"/>
                </a:lnTo>
                <a:lnTo>
                  <a:pt x="98320" y="501200"/>
                </a:lnTo>
                <a:lnTo>
                  <a:pt x="0" y="563650"/>
                </a:lnTo>
                <a:lnTo>
                  <a:pt x="199661" y="775477"/>
                </a:lnTo>
                <a:lnTo>
                  <a:pt x="284360" y="934461"/>
                </a:lnTo>
                <a:lnTo>
                  <a:pt x="408387" y="933089"/>
                </a:lnTo>
                <a:lnTo>
                  <a:pt x="1052743" y="1310648"/>
                </a:lnTo>
                <a:lnTo>
                  <a:pt x="1193412" y="1064851"/>
                </a:lnTo>
                <a:lnTo>
                  <a:pt x="1290273" y="918105"/>
                </a:lnTo>
                <a:lnTo>
                  <a:pt x="1567016" y="643829"/>
                </a:lnTo>
                <a:lnTo>
                  <a:pt x="1368853" y="552785"/>
                </a:lnTo>
                <a:lnTo>
                  <a:pt x="1476250" y="315109"/>
                </a:lnTo>
                <a:lnTo>
                  <a:pt x="1373423" y="192839"/>
                </a:lnTo>
                <a:close/>
              </a:path>
            </a:pathLst>
          </a:custGeom>
          <a:solidFill>
            <a:srgbClr val="CCFFCC"/>
          </a:solidFill>
        </p:spPr>
        <p:txBody>
          <a:bodyPr wrap="square" lIns="0" tIns="0" rIns="0" bIns="0" rtlCol="0">
            <a:noAutofit/>
          </a:bodyPr>
          <a:lstStyle/>
          <a:p>
            <a:endParaRPr/>
          </a:p>
        </p:txBody>
      </p:sp>
      <p:sp>
        <p:nvSpPr>
          <p:cNvPr id="14" name="object 14"/>
          <p:cNvSpPr/>
          <p:nvPr/>
        </p:nvSpPr>
        <p:spPr>
          <a:xfrm>
            <a:off x="1905001" y="2957739"/>
            <a:ext cx="1562459" cy="1389374"/>
          </a:xfrm>
          <a:custGeom>
            <a:avLst/>
            <a:gdLst/>
            <a:ahLst/>
            <a:cxnLst/>
            <a:rect l="l" t="t" r="r" b="b"/>
            <a:pathLst>
              <a:path w="1562459" h="1389374">
                <a:moveTo>
                  <a:pt x="214781" y="267528"/>
                </a:moveTo>
                <a:lnTo>
                  <a:pt x="0" y="433260"/>
                </a:lnTo>
                <a:lnTo>
                  <a:pt x="0" y="521445"/>
                </a:lnTo>
                <a:lnTo>
                  <a:pt x="57477" y="660070"/>
                </a:lnTo>
                <a:lnTo>
                  <a:pt x="68064" y="839299"/>
                </a:lnTo>
                <a:lnTo>
                  <a:pt x="128571" y="956079"/>
                </a:lnTo>
                <a:lnTo>
                  <a:pt x="145201" y="1162564"/>
                </a:lnTo>
                <a:lnTo>
                  <a:pt x="205704" y="1233192"/>
                </a:lnTo>
                <a:lnTo>
                  <a:pt x="414442" y="1340489"/>
                </a:lnTo>
                <a:lnTo>
                  <a:pt x="837962" y="1389374"/>
                </a:lnTo>
                <a:lnTo>
                  <a:pt x="1253902" y="1102802"/>
                </a:lnTo>
                <a:lnTo>
                  <a:pt x="1269035" y="995539"/>
                </a:lnTo>
                <a:lnTo>
                  <a:pt x="1293205" y="915360"/>
                </a:lnTo>
                <a:lnTo>
                  <a:pt x="1338652" y="897746"/>
                </a:lnTo>
                <a:lnTo>
                  <a:pt x="1450492" y="669564"/>
                </a:lnTo>
                <a:lnTo>
                  <a:pt x="1562459" y="541919"/>
                </a:lnTo>
                <a:lnTo>
                  <a:pt x="1509522" y="314994"/>
                </a:lnTo>
                <a:lnTo>
                  <a:pt x="1382449" y="286514"/>
                </a:lnTo>
                <a:lnTo>
                  <a:pt x="1173748" y="374814"/>
                </a:lnTo>
                <a:lnTo>
                  <a:pt x="482511" y="0"/>
                </a:lnTo>
                <a:lnTo>
                  <a:pt x="378136" y="0"/>
                </a:lnTo>
                <a:lnTo>
                  <a:pt x="284360" y="50211"/>
                </a:lnTo>
                <a:lnTo>
                  <a:pt x="232934" y="119409"/>
                </a:lnTo>
                <a:lnTo>
                  <a:pt x="214781" y="267528"/>
                </a:lnTo>
                <a:close/>
              </a:path>
            </a:pathLst>
          </a:custGeom>
          <a:solidFill>
            <a:srgbClr val="C6695C"/>
          </a:solidFill>
        </p:spPr>
        <p:txBody>
          <a:bodyPr wrap="square" lIns="0" tIns="0" rIns="0" bIns="0" rtlCol="0">
            <a:noAutofit/>
          </a:bodyPr>
          <a:lstStyle/>
          <a:p>
            <a:endParaRPr/>
          </a:p>
        </p:txBody>
      </p:sp>
      <p:sp>
        <p:nvSpPr>
          <p:cNvPr id="15" name="object 15"/>
          <p:cNvSpPr/>
          <p:nvPr/>
        </p:nvSpPr>
        <p:spPr>
          <a:xfrm>
            <a:off x="1906513" y="2925141"/>
            <a:ext cx="1598777" cy="1148976"/>
          </a:xfrm>
          <a:custGeom>
            <a:avLst/>
            <a:gdLst/>
            <a:ahLst/>
            <a:cxnLst/>
            <a:rect l="l" t="t" r="r" b="b"/>
            <a:pathLst>
              <a:path w="1598777" h="1148976">
                <a:moveTo>
                  <a:pt x="234443" y="247169"/>
                </a:moveTo>
                <a:lnTo>
                  <a:pt x="234443" y="166990"/>
                </a:lnTo>
                <a:lnTo>
                  <a:pt x="260162" y="108543"/>
                </a:lnTo>
                <a:lnTo>
                  <a:pt x="217813" y="166990"/>
                </a:lnTo>
                <a:lnTo>
                  <a:pt x="208736" y="226810"/>
                </a:lnTo>
                <a:lnTo>
                  <a:pt x="164863" y="287887"/>
                </a:lnTo>
                <a:lnTo>
                  <a:pt x="78652" y="355827"/>
                </a:lnTo>
                <a:lnTo>
                  <a:pt x="27225" y="406039"/>
                </a:lnTo>
                <a:lnTo>
                  <a:pt x="9075" y="445384"/>
                </a:lnTo>
                <a:lnTo>
                  <a:pt x="0" y="465858"/>
                </a:lnTo>
                <a:lnTo>
                  <a:pt x="208736" y="465858"/>
                </a:lnTo>
                <a:lnTo>
                  <a:pt x="884841" y="742879"/>
                </a:lnTo>
                <a:lnTo>
                  <a:pt x="922659" y="812192"/>
                </a:lnTo>
                <a:lnTo>
                  <a:pt x="913582" y="861031"/>
                </a:lnTo>
                <a:lnTo>
                  <a:pt x="851569" y="890884"/>
                </a:lnTo>
                <a:lnTo>
                  <a:pt x="783500" y="890884"/>
                </a:lnTo>
                <a:lnTo>
                  <a:pt x="539978" y="852910"/>
                </a:lnTo>
                <a:lnTo>
                  <a:pt x="296456" y="723893"/>
                </a:lnTo>
                <a:lnTo>
                  <a:pt x="269239" y="723893"/>
                </a:lnTo>
                <a:lnTo>
                  <a:pt x="494607" y="881390"/>
                </a:lnTo>
                <a:lnTo>
                  <a:pt x="913582" y="1029509"/>
                </a:lnTo>
                <a:lnTo>
                  <a:pt x="972574" y="1148976"/>
                </a:lnTo>
                <a:lnTo>
                  <a:pt x="1261467" y="1079709"/>
                </a:lnTo>
                <a:lnTo>
                  <a:pt x="1296263" y="1029509"/>
                </a:lnTo>
                <a:lnTo>
                  <a:pt x="1296263" y="961569"/>
                </a:lnTo>
                <a:lnTo>
                  <a:pt x="1208530" y="961569"/>
                </a:lnTo>
                <a:lnTo>
                  <a:pt x="1138950" y="900377"/>
                </a:lnTo>
                <a:lnTo>
                  <a:pt x="1113244" y="801326"/>
                </a:lnTo>
                <a:lnTo>
                  <a:pt x="1119286" y="733386"/>
                </a:lnTo>
                <a:lnTo>
                  <a:pt x="1164670" y="613862"/>
                </a:lnTo>
                <a:lnTo>
                  <a:pt x="1261467" y="554043"/>
                </a:lnTo>
                <a:lnTo>
                  <a:pt x="1296263" y="416904"/>
                </a:lnTo>
                <a:lnTo>
                  <a:pt x="1382459" y="365320"/>
                </a:lnTo>
                <a:lnTo>
                  <a:pt x="1443013" y="365320"/>
                </a:lnTo>
                <a:lnTo>
                  <a:pt x="1520070" y="406039"/>
                </a:lnTo>
                <a:lnTo>
                  <a:pt x="1548887" y="525563"/>
                </a:lnTo>
                <a:lnTo>
                  <a:pt x="1548887" y="564909"/>
                </a:lnTo>
                <a:lnTo>
                  <a:pt x="1415719" y="613862"/>
                </a:lnTo>
                <a:lnTo>
                  <a:pt x="1296263" y="613862"/>
                </a:lnTo>
                <a:lnTo>
                  <a:pt x="1225173" y="684433"/>
                </a:lnTo>
                <a:lnTo>
                  <a:pt x="1190376" y="782225"/>
                </a:lnTo>
                <a:lnTo>
                  <a:pt x="1181300" y="871897"/>
                </a:lnTo>
                <a:lnTo>
                  <a:pt x="1252390" y="674939"/>
                </a:lnTo>
                <a:lnTo>
                  <a:pt x="1365829" y="674939"/>
                </a:lnTo>
                <a:lnTo>
                  <a:pt x="1415719" y="723893"/>
                </a:lnTo>
                <a:lnTo>
                  <a:pt x="1415719" y="752373"/>
                </a:lnTo>
                <a:lnTo>
                  <a:pt x="1338663" y="931716"/>
                </a:lnTo>
                <a:lnTo>
                  <a:pt x="1443013" y="752373"/>
                </a:lnTo>
                <a:lnTo>
                  <a:pt x="1580623" y="585382"/>
                </a:lnTo>
                <a:lnTo>
                  <a:pt x="1598777" y="525563"/>
                </a:lnTo>
                <a:lnTo>
                  <a:pt x="1598777" y="475351"/>
                </a:lnTo>
                <a:lnTo>
                  <a:pt x="1530733" y="237675"/>
                </a:lnTo>
                <a:lnTo>
                  <a:pt x="1485286" y="188722"/>
                </a:lnTo>
                <a:lnTo>
                  <a:pt x="1433873" y="166990"/>
                </a:lnTo>
                <a:lnTo>
                  <a:pt x="1365829" y="138510"/>
                </a:lnTo>
                <a:lnTo>
                  <a:pt x="1225173" y="355827"/>
                </a:lnTo>
                <a:lnTo>
                  <a:pt x="703333" y="9493"/>
                </a:lnTo>
                <a:lnTo>
                  <a:pt x="549055" y="0"/>
                </a:lnTo>
                <a:lnTo>
                  <a:pt x="408385" y="9493"/>
                </a:lnTo>
                <a:lnTo>
                  <a:pt x="329742" y="39345"/>
                </a:lnTo>
                <a:lnTo>
                  <a:pt x="285869" y="78691"/>
                </a:lnTo>
                <a:lnTo>
                  <a:pt x="363014" y="50211"/>
                </a:lnTo>
                <a:lnTo>
                  <a:pt x="461334" y="50211"/>
                </a:lnTo>
                <a:lnTo>
                  <a:pt x="877288" y="365320"/>
                </a:lnTo>
                <a:lnTo>
                  <a:pt x="902995" y="465858"/>
                </a:lnTo>
                <a:lnTo>
                  <a:pt x="884841" y="495710"/>
                </a:lnTo>
                <a:lnTo>
                  <a:pt x="840981" y="525563"/>
                </a:lnTo>
                <a:lnTo>
                  <a:pt x="763836" y="525563"/>
                </a:lnTo>
                <a:lnTo>
                  <a:pt x="477964" y="416904"/>
                </a:lnTo>
                <a:lnTo>
                  <a:pt x="234443" y="247169"/>
                </a:lnTo>
                <a:close/>
              </a:path>
            </a:pathLst>
          </a:custGeom>
          <a:solidFill>
            <a:srgbClr val="000000"/>
          </a:solidFill>
        </p:spPr>
        <p:txBody>
          <a:bodyPr wrap="square" lIns="0" tIns="0" rIns="0" bIns="0" rtlCol="0">
            <a:noAutofit/>
          </a:bodyPr>
          <a:lstStyle/>
          <a:p>
            <a:endParaRPr/>
          </a:p>
        </p:txBody>
      </p:sp>
      <p:sp>
        <p:nvSpPr>
          <p:cNvPr id="16" name="object 16"/>
          <p:cNvSpPr/>
          <p:nvPr/>
        </p:nvSpPr>
        <p:spPr>
          <a:xfrm>
            <a:off x="1906513" y="3420853"/>
            <a:ext cx="234443" cy="613885"/>
          </a:xfrm>
          <a:custGeom>
            <a:avLst/>
            <a:gdLst/>
            <a:ahLst/>
            <a:cxnLst/>
            <a:rect l="l" t="t" r="r" b="b"/>
            <a:pathLst>
              <a:path w="234443" h="613885">
                <a:moveTo>
                  <a:pt x="208736" y="365320"/>
                </a:moveTo>
                <a:lnTo>
                  <a:pt x="234443" y="357200"/>
                </a:lnTo>
                <a:lnTo>
                  <a:pt x="43864" y="118151"/>
                </a:lnTo>
                <a:lnTo>
                  <a:pt x="9075" y="39345"/>
                </a:lnTo>
                <a:lnTo>
                  <a:pt x="0" y="0"/>
                </a:lnTo>
                <a:lnTo>
                  <a:pt x="0" y="48839"/>
                </a:lnTo>
                <a:lnTo>
                  <a:pt x="52939" y="206450"/>
                </a:lnTo>
                <a:lnTo>
                  <a:pt x="52939" y="327347"/>
                </a:lnTo>
                <a:lnTo>
                  <a:pt x="60502" y="365320"/>
                </a:lnTo>
                <a:lnTo>
                  <a:pt x="111929" y="484844"/>
                </a:lnTo>
                <a:lnTo>
                  <a:pt x="139157" y="613885"/>
                </a:lnTo>
                <a:lnTo>
                  <a:pt x="139157" y="494338"/>
                </a:lnTo>
                <a:lnTo>
                  <a:pt x="78652" y="385679"/>
                </a:lnTo>
                <a:lnTo>
                  <a:pt x="78652" y="336840"/>
                </a:lnTo>
                <a:lnTo>
                  <a:pt x="208736" y="365320"/>
                </a:lnTo>
                <a:close/>
              </a:path>
            </a:pathLst>
          </a:custGeom>
          <a:solidFill>
            <a:srgbClr val="000000"/>
          </a:solidFill>
        </p:spPr>
        <p:txBody>
          <a:bodyPr wrap="square" lIns="0" tIns="0" rIns="0" bIns="0" rtlCol="0">
            <a:noAutofit/>
          </a:bodyPr>
          <a:lstStyle/>
          <a:p>
            <a:endParaRPr/>
          </a:p>
        </p:txBody>
      </p:sp>
      <p:sp>
        <p:nvSpPr>
          <p:cNvPr id="17" name="object 17"/>
          <p:cNvSpPr/>
          <p:nvPr/>
        </p:nvSpPr>
        <p:spPr>
          <a:xfrm>
            <a:off x="2192382" y="3926057"/>
            <a:ext cx="975597" cy="415623"/>
          </a:xfrm>
          <a:custGeom>
            <a:avLst/>
            <a:gdLst/>
            <a:ahLst/>
            <a:cxnLst/>
            <a:rect l="l" t="t" r="r" b="b"/>
            <a:pathLst>
              <a:path w="975597" h="415623">
                <a:moveTo>
                  <a:pt x="10587" y="59784"/>
                </a:moveTo>
                <a:lnTo>
                  <a:pt x="62013" y="118185"/>
                </a:lnTo>
                <a:lnTo>
                  <a:pt x="555112" y="306976"/>
                </a:lnTo>
                <a:lnTo>
                  <a:pt x="591419" y="335491"/>
                </a:lnTo>
                <a:lnTo>
                  <a:pt x="591419" y="374882"/>
                </a:lnTo>
                <a:lnTo>
                  <a:pt x="532427" y="406119"/>
                </a:lnTo>
                <a:lnTo>
                  <a:pt x="668551" y="415623"/>
                </a:lnTo>
                <a:lnTo>
                  <a:pt x="807710" y="365377"/>
                </a:lnTo>
                <a:lnTo>
                  <a:pt x="922661" y="247214"/>
                </a:lnTo>
                <a:lnTo>
                  <a:pt x="975597" y="99165"/>
                </a:lnTo>
                <a:lnTo>
                  <a:pt x="936269" y="153494"/>
                </a:lnTo>
                <a:lnTo>
                  <a:pt x="757795" y="217328"/>
                </a:lnTo>
                <a:lnTo>
                  <a:pt x="547546" y="217328"/>
                </a:lnTo>
                <a:lnTo>
                  <a:pt x="0" y="0"/>
                </a:lnTo>
                <a:lnTo>
                  <a:pt x="10587" y="59784"/>
                </a:lnTo>
                <a:close/>
              </a:path>
            </a:pathLst>
          </a:custGeom>
          <a:solidFill>
            <a:srgbClr val="000000"/>
          </a:solidFill>
        </p:spPr>
        <p:txBody>
          <a:bodyPr wrap="square" lIns="0" tIns="0" rIns="0" bIns="0" rtlCol="0">
            <a:noAutofit/>
          </a:bodyPr>
          <a:lstStyle/>
          <a:p>
            <a:endParaRPr/>
          </a:p>
        </p:txBody>
      </p:sp>
      <p:sp>
        <p:nvSpPr>
          <p:cNvPr id="18" name="object 18"/>
          <p:cNvSpPr/>
          <p:nvPr/>
        </p:nvSpPr>
        <p:spPr>
          <a:xfrm>
            <a:off x="2245332" y="4669016"/>
            <a:ext cx="211747" cy="139894"/>
          </a:xfrm>
          <a:custGeom>
            <a:avLst/>
            <a:gdLst/>
            <a:ahLst/>
            <a:cxnLst/>
            <a:rect l="l" t="t" r="r" b="b"/>
            <a:pathLst>
              <a:path w="211747" h="139894">
                <a:moveTo>
                  <a:pt x="24196" y="43451"/>
                </a:moveTo>
                <a:lnTo>
                  <a:pt x="0" y="139894"/>
                </a:lnTo>
                <a:lnTo>
                  <a:pt x="211747" y="131739"/>
                </a:lnTo>
                <a:lnTo>
                  <a:pt x="155788" y="88276"/>
                </a:lnTo>
                <a:lnTo>
                  <a:pt x="155788" y="0"/>
                </a:lnTo>
                <a:lnTo>
                  <a:pt x="24196" y="43451"/>
                </a:lnTo>
                <a:close/>
              </a:path>
            </a:pathLst>
          </a:custGeom>
          <a:solidFill>
            <a:srgbClr val="008B00"/>
          </a:solidFill>
        </p:spPr>
        <p:txBody>
          <a:bodyPr wrap="square" lIns="0" tIns="0" rIns="0" bIns="0" rtlCol="0">
            <a:noAutofit/>
          </a:bodyPr>
          <a:lstStyle/>
          <a:p>
            <a:endParaRPr/>
          </a:p>
        </p:txBody>
      </p:sp>
      <p:sp>
        <p:nvSpPr>
          <p:cNvPr id="19" name="object 19"/>
          <p:cNvSpPr/>
          <p:nvPr/>
        </p:nvSpPr>
        <p:spPr>
          <a:xfrm>
            <a:off x="3015212" y="2244597"/>
            <a:ext cx="378110" cy="362690"/>
          </a:xfrm>
          <a:custGeom>
            <a:avLst/>
            <a:gdLst/>
            <a:ahLst/>
            <a:cxnLst/>
            <a:rect l="l" t="t" r="r" b="b"/>
            <a:pathLst>
              <a:path w="378110" h="362690">
                <a:moveTo>
                  <a:pt x="361480" y="138510"/>
                </a:moveTo>
                <a:lnTo>
                  <a:pt x="258653" y="355827"/>
                </a:lnTo>
                <a:lnTo>
                  <a:pt x="264747" y="362690"/>
                </a:lnTo>
                <a:lnTo>
                  <a:pt x="378110" y="135880"/>
                </a:lnTo>
                <a:lnTo>
                  <a:pt x="4544" y="0"/>
                </a:lnTo>
                <a:lnTo>
                  <a:pt x="0" y="9493"/>
                </a:lnTo>
                <a:lnTo>
                  <a:pt x="361480" y="138510"/>
                </a:lnTo>
                <a:close/>
              </a:path>
            </a:pathLst>
          </a:custGeom>
          <a:solidFill>
            <a:srgbClr val="000000"/>
          </a:solidFill>
        </p:spPr>
        <p:txBody>
          <a:bodyPr wrap="square" lIns="0" tIns="0" rIns="0" bIns="0" rtlCol="0">
            <a:noAutofit/>
          </a:bodyPr>
          <a:lstStyle/>
          <a:p>
            <a:endParaRPr/>
          </a:p>
        </p:txBody>
      </p:sp>
      <p:sp>
        <p:nvSpPr>
          <p:cNvPr id="20" name="object 20"/>
          <p:cNvSpPr/>
          <p:nvPr/>
        </p:nvSpPr>
        <p:spPr>
          <a:xfrm>
            <a:off x="2382966" y="2471407"/>
            <a:ext cx="80166" cy="464600"/>
          </a:xfrm>
          <a:custGeom>
            <a:avLst/>
            <a:gdLst/>
            <a:ahLst/>
            <a:cxnLst/>
            <a:rect l="l" t="t" r="r" b="b"/>
            <a:pathLst>
              <a:path w="80166" h="464600">
                <a:moveTo>
                  <a:pt x="10587" y="0"/>
                </a:moveTo>
                <a:lnTo>
                  <a:pt x="0" y="1372"/>
                </a:lnTo>
                <a:lnTo>
                  <a:pt x="66558" y="464600"/>
                </a:lnTo>
                <a:lnTo>
                  <a:pt x="80166" y="464600"/>
                </a:lnTo>
                <a:lnTo>
                  <a:pt x="10587" y="0"/>
                </a:lnTo>
                <a:close/>
              </a:path>
            </a:pathLst>
          </a:custGeom>
          <a:solidFill>
            <a:srgbClr val="000000"/>
          </a:solidFill>
        </p:spPr>
        <p:txBody>
          <a:bodyPr wrap="square" lIns="0" tIns="0" rIns="0" bIns="0" rtlCol="0">
            <a:noAutofit/>
          </a:bodyPr>
          <a:lstStyle/>
          <a:p>
            <a:endParaRPr/>
          </a:p>
        </p:txBody>
      </p:sp>
      <p:sp>
        <p:nvSpPr>
          <p:cNvPr id="21" name="object 21"/>
          <p:cNvSpPr/>
          <p:nvPr/>
        </p:nvSpPr>
        <p:spPr>
          <a:xfrm>
            <a:off x="3007659" y="4640490"/>
            <a:ext cx="337297" cy="260768"/>
          </a:xfrm>
          <a:custGeom>
            <a:avLst/>
            <a:gdLst/>
            <a:ahLst/>
            <a:cxnLst/>
            <a:rect l="l" t="t" r="r" b="b"/>
            <a:pathLst>
              <a:path w="337297" h="260768">
                <a:moveTo>
                  <a:pt x="0" y="249902"/>
                </a:moveTo>
                <a:lnTo>
                  <a:pt x="1510" y="260768"/>
                </a:lnTo>
                <a:lnTo>
                  <a:pt x="222283" y="217305"/>
                </a:lnTo>
                <a:lnTo>
                  <a:pt x="337297" y="138533"/>
                </a:lnTo>
                <a:lnTo>
                  <a:pt x="266207" y="0"/>
                </a:lnTo>
                <a:lnTo>
                  <a:pt x="260113" y="2710"/>
                </a:lnTo>
                <a:lnTo>
                  <a:pt x="322190" y="131739"/>
                </a:lnTo>
                <a:lnTo>
                  <a:pt x="214793" y="206439"/>
                </a:lnTo>
                <a:lnTo>
                  <a:pt x="0" y="249902"/>
                </a:lnTo>
                <a:close/>
              </a:path>
            </a:pathLst>
          </a:custGeom>
          <a:solidFill>
            <a:srgbClr val="000000"/>
          </a:solidFill>
        </p:spPr>
        <p:txBody>
          <a:bodyPr wrap="square" lIns="0" tIns="0" rIns="0" bIns="0" rtlCol="0">
            <a:noAutofit/>
          </a:bodyPr>
          <a:lstStyle/>
          <a:p>
            <a:endParaRPr/>
          </a:p>
        </p:txBody>
      </p:sp>
      <p:sp>
        <p:nvSpPr>
          <p:cNvPr id="22" name="object 22"/>
          <p:cNvSpPr/>
          <p:nvPr/>
        </p:nvSpPr>
        <p:spPr>
          <a:xfrm>
            <a:off x="2588671" y="4821127"/>
            <a:ext cx="15132" cy="39391"/>
          </a:xfrm>
          <a:custGeom>
            <a:avLst/>
            <a:gdLst/>
            <a:ahLst/>
            <a:cxnLst/>
            <a:rect l="l" t="t" r="r" b="b"/>
            <a:pathLst>
              <a:path w="15132" h="39391">
                <a:moveTo>
                  <a:pt x="0" y="0"/>
                </a:moveTo>
                <a:lnTo>
                  <a:pt x="0" y="39391"/>
                </a:lnTo>
                <a:lnTo>
                  <a:pt x="15132" y="39391"/>
                </a:lnTo>
                <a:lnTo>
                  <a:pt x="12110" y="0"/>
                </a:lnTo>
                <a:lnTo>
                  <a:pt x="0" y="0"/>
                </a:lnTo>
                <a:close/>
              </a:path>
            </a:pathLst>
          </a:custGeom>
          <a:solidFill>
            <a:srgbClr val="000000"/>
          </a:solidFill>
        </p:spPr>
        <p:txBody>
          <a:bodyPr wrap="square" lIns="0" tIns="0" rIns="0" bIns="0" rtlCol="0">
            <a:noAutofit/>
          </a:bodyPr>
          <a:lstStyle/>
          <a:p>
            <a:endParaRPr/>
          </a:p>
        </p:txBody>
      </p:sp>
      <p:sp>
        <p:nvSpPr>
          <p:cNvPr id="23" name="object 23"/>
          <p:cNvSpPr/>
          <p:nvPr/>
        </p:nvSpPr>
        <p:spPr>
          <a:xfrm>
            <a:off x="2134914" y="4291434"/>
            <a:ext cx="639811" cy="437332"/>
          </a:xfrm>
          <a:custGeom>
            <a:avLst/>
            <a:gdLst/>
            <a:ahLst/>
            <a:cxnLst/>
            <a:rect l="l" t="t" r="r" b="b"/>
            <a:pathLst>
              <a:path w="639811" h="437332">
                <a:moveTo>
                  <a:pt x="169397" y="0"/>
                </a:moveTo>
                <a:lnTo>
                  <a:pt x="0" y="334118"/>
                </a:lnTo>
                <a:lnTo>
                  <a:pt x="196627" y="328685"/>
                </a:lnTo>
                <a:lnTo>
                  <a:pt x="353927" y="437332"/>
                </a:lnTo>
                <a:lnTo>
                  <a:pt x="555099" y="437332"/>
                </a:lnTo>
                <a:lnTo>
                  <a:pt x="639811" y="40741"/>
                </a:lnTo>
                <a:lnTo>
                  <a:pt x="169397" y="0"/>
                </a:lnTo>
                <a:close/>
              </a:path>
            </a:pathLst>
          </a:custGeom>
          <a:solidFill>
            <a:srgbClr val="0CC10C"/>
          </a:solidFill>
        </p:spPr>
        <p:txBody>
          <a:bodyPr wrap="square" lIns="0" tIns="0" rIns="0" bIns="0" rtlCol="0">
            <a:noAutofit/>
          </a:bodyPr>
          <a:lstStyle/>
          <a:p>
            <a:endParaRPr/>
          </a:p>
        </p:txBody>
      </p:sp>
      <p:sp>
        <p:nvSpPr>
          <p:cNvPr id="24" name="object 24"/>
          <p:cNvSpPr/>
          <p:nvPr/>
        </p:nvSpPr>
        <p:spPr>
          <a:xfrm>
            <a:off x="2620434" y="4061902"/>
            <a:ext cx="794089" cy="814914"/>
          </a:xfrm>
          <a:custGeom>
            <a:avLst/>
            <a:gdLst/>
            <a:ahLst/>
            <a:cxnLst/>
            <a:rect l="l" t="t" r="r" b="b"/>
            <a:pathLst>
              <a:path w="794089" h="814914">
                <a:moveTo>
                  <a:pt x="189074" y="756513"/>
                </a:moveTo>
                <a:lnTo>
                  <a:pt x="338820" y="814914"/>
                </a:lnTo>
                <a:lnTo>
                  <a:pt x="311590" y="537835"/>
                </a:lnTo>
                <a:lnTo>
                  <a:pt x="425030" y="537835"/>
                </a:lnTo>
                <a:lnTo>
                  <a:pt x="562665" y="501166"/>
                </a:lnTo>
                <a:lnTo>
                  <a:pt x="794089" y="384364"/>
                </a:lnTo>
                <a:lnTo>
                  <a:pt x="642895" y="190140"/>
                </a:lnTo>
                <a:lnTo>
                  <a:pt x="532427" y="0"/>
                </a:lnTo>
                <a:lnTo>
                  <a:pt x="399323" y="180635"/>
                </a:lnTo>
                <a:lnTo>
                  <a:pt x="199661" y="279778"/>
                </a:lnTo>
                <a:lnTo>
                  <a:pt x="110418" y="715761"/>
                </a:lnTo>
                <a:lnTo>
                  <a:pt x="0" y="756513"/>
                </a:lnTo>
                <a:lnTo>
                  <a:pt x="189074" y="756513"/>
                </a:lnTo>
                <a:close/>
              </a:path>
            </a:pathLst>
          </a:custGeom>
          <a:solidFill>
            <a:srgbClr val="0CC10C"/>
          </a:solidFill>
        </p:spPr>
        <p:txBody>
          <a:bodyPr wrap="square" lIns="0" tIns="0" rIns="0" bIns="0" rtlCol="0">
            <a:noAutofit/>
          </a:bodyPr>
          <a:lstStyle/>
          <a:p>
            <a:endParaRPr/>
          </a:p>
        </p:txBody>
      </p:sp>
      <p:sp>
        <p:nvSpPr>
          <p:cNvPr id="25" name="object 25"/>
          <p:cNvSpPr/>
          <p:nvPr/>
        </p:nvSpPr>
        <p:spPr>
          <a:xfrm>
            <a:off x="2980429" y="4667656"/>
            <a:ext cx="255607" cy="167059"/>
          </a:xfrm>
          <a:custGeom>
            <a:avLst/>
            <a:gdLst/>
            <a:ahLst/>
            <a:cxnLst/>
            <a:rect l="l" t="t" r="r" b="b"/>
            <a:pathLst>
              <a:path w="255607" h="167059">
                <a:moveTo>
                  <a:pt x="0" y="40741"/>
                </a:moveTo>
                <a:lnTo>
                  <a:pt x="19664" y="167059"/>
                </a:lnTo>
                <a:lnTo>
                  <a:pt x="169410" y="118163"/>
                </a:lnTo>
                <a:lnTo>
                  <a:pt x="255607" y="73338"/>
                </a:lnTo>
                <a:lnTo>
                  <a:pt x="223870" y="0"/>
                </a:lnTo>
                <a:lnTo>
                  <a:pt x="116460" y="28525"/>
                </a:lnTo>
                <a:lnTo>
                  <a:pt x="0" y="40741"/>
                </a:lnTo>
                <a:close/>
              </a:path>
            </a:pathLst>
          </a:custGeom>
          <a:solidFill>
            <a:srgbClr val="008B00"/>
          </a:solidFill>
        </p:spPr>
        <p:txBody>
          <a:bodyPr wrap="square" lIns="0" tIns="0" rIns="0" bIns="0" rtlCol="0">
            <a:noAutofit/>
          </a:bodyPr>
          <a:lstStyle/>
          <a:p>
            <a:endParaRPr/>
          </a:p>
        </p:txBody>
      </p:sp>
      <p:sp>
        <p:nvSpPr>
          <p:cNvPr id="26" name="object 26"/>
          <p:cNvSpPr/>
          <p:nvPr/>
        </p:nvSpPr>
        <p:spPr>
          <a:xfrm>
            <a:off x="1997266" y="3950533"/>
            <a:ext cx="1560960" cy="1125938"/>
          </a:xfrm>
          <a:custGeom>
            <a:avLst/>
            <a:gdLst/>
            <a:ahLst/>
            <a:cxnLst/>
            <a:rect l="l" t="t" r="r" b="b"/>
            <a:pathLst>
              <a:path w="1560960" h="1125938">
                <a:moveTo>
                  <a:pt x="1101146" y="745647"/>
                </a:moveTo>
                <a:lnTo>
                  <a:pt x="981651" y="755152"/>
                </a:lnTo>
                <a:lnTo>
                  <a:pt x="1027022" y="1104206"/>
                </a:lnTo>
                <a:lnTo>
                  <a:pt x="886353" y="1005055"/>
                </a:lnTo>
                <a:lnTo>
                  <a:pt x="741151" y="945293"/>
                </a:lnTo>
                <a:lnTo>
                  <a:pt x="611069" y="942582"/>
                </a:lnTo>
                <a:lnTo>
                  <a:pt x="608047" y="909985"/>
                </a:lnTo>
                <a:lnTo>
                  <a:pt x="282848" y="904552"/>
                </a:lnTo>
                <a:lnTo>
                  <a:pt x="146723" y="935788"/>
                </a:lnTo>
                <a:lnTo>
                  <a:pt x="231422" y="752430"/>
                </a:lnTo>
                <a:lnTo>
                  <a:pt x="136123" y="742925"/>
                </a:lnTo>
                <a:lnTo>
                  <a:pt x="16637" y="683163"/>
                </a:lnTo>
                <a:lnTo>
                  <a:pt x="282848" y="332746"/>
                </a:lnTo>
                <a:lnTo>
                  <a:pt x="305533" y="342262"/>
                </a:lnTo>
                <a:lnTo>
                  <a:pt x="794088" y="384364"/>
                </a:lnTo>
                <a:lnTo>
                  <a:pt x="301001" y="332746"/>
                </a:lnTo>
                <a:lnTo>
                  <a:pt x="116472" y="240398"/>
                </a:lnTo>
                <a:lnTo>
                  <a:pt x="57480" y="175203"/>
                </a:lnTo>
                <a:lnTo>
                  <a:pt x="43858" y="82843"/>
                </a:lnTo>
                <a:lnTo>
                  <a:pt x="48403" y="175203"/>
                </a:lnTo>
                <a:lnTo>
                  <a:pt x="105884" y="240398"/>
                </a:lnTo>
                <a:lnTo>
                  <a:pt x="270750" y="328674"/>
                </a:lnTo>
                <a:lnTo>
                  <a:pt x="0" y="689957"/>
                </a:lnTo>
                <a:lnTo>
                  <a:pt x="140668" y="756502"/>
                </a:lnTo>
                <a:lnTo>
                  <a:pt x="217813" y="759224"/>
                </a:lnTo>
                <a:lnTo>
                  <a:pt x="131591" y="950726"/>
                </a:lnTo>
                <a:lnTo>
                  <a:pt x="279827" y="914056"/>
                </a:lnTo>
                <a:lnTo>
                  <a:pt x="592915" y="919489"/>
                </a:lnTo>
                <a:lnTo>
                  <a:pt x="592915" y="952087"/>
                </a:lnTo>
                <a:lnTo>
                  <a:pt x="733585" y="952087"/>
                </a:lnTo>
                <a:lnTo>
                  <a:pt x="883331" y="1011849"/>
                </a:lnTo>
                <a:lnTo>
                  <a:pt x="1039120" y="1125938"/>
                </a:lnTo>
                <a:lnTo>
                  <a:pt x="987694" y="764657"/>
                </a:lnTo>
                <a:lnTo>
                  <a:pt x="1104168" y="752430"/>
                </a:lnTo>
                <a:lnTo>
                  <a:pt x="1202462" y="726626"/>
                </a:lnTo>
                <a:lnTo>
                  <a:pt x="1452040" y="613896"/>
                </a:lnTo>
                <a:lnTo>
                  <a:pt x="1560960" y="522898"/>
                </a:lnTo>
                <a:lnTo>
                  <a:pt x="1166181" y="0"/>
                </a:lnTo>
                <a:lnTo>
                  <a:pt x="1173747" y="24442"/>
                </a:lnTo>
                <a:lnTo>
                  <a:pt x="1545853" y="520176"/>
                </a:lnTo>
                <a:lnTo>
                  <a:pt x="1447469" y="607102"/>
                </a:lnTo>
                <a:lnTo>
                  <a:pt x="1203986" y="715761"/>
                </a:lnTo>
                <a:lnTo>
                  <a:pt x="1101146" y="745647"/>
                </a:lnTo>
                <a:close/>
              </a:path>
            </a:pathLst>
          </a:custGeom>
          <a:solidFill>
            <a:srgbClr val="000000"/>
          </a:solidFill>
        </p:spPr>
        <p:txBody>
          <a:bodyPr wrap="square" lIns="0" tIns="0" rIns="0" bIns="0" rtlCol="0">
            <a:noAutofit/>
          </a:bodyPr>
          <a:lstStyle/>
          <a:p>
            <a:endParaRPr/>
          </a:p>
        </p:txBody>
      </p:sp>
      <p:sp>
        <p:nvSpPr>
          <p:cNvPr id="27" name="object 27"/>
          <p:cNvSpPr/>
          <p:nvPr/>
        </p:nvSpPr>
        <p:spPr>
          <a:xfrm>
            <a:off x="2128858" y="4288712"/>
            <a:ext cx="651909" cy="446848"/>
          </a:xfrm>
          <a:custGeom>
            <a:avLst/>
            <a:gdLst/>
            <a:ahLst/>
            <a:cxnLst/>
            <a:rect l="l" t="t" r="r" b="b"/>
            <a:pathLst>
              <a:path w="651909" h="446848">
                <a:moveTo>
                  <a:pt x="564189" y="446848"/>
                </a:moveTo>
                <a:lnTo>
                  <a:pt x="651909" y="42102"/>
                </a:lnTo>
                <a:lnTo>
                  <a:pt x="635279" y="42102"/>
                </a:lnTo>
                <a:lnTo>
                  <a:pt x="555112" y="433272"/>
                </a:lnTo>
                <a:lnTo>
                  <a:pt x="358471" y="437344"/>
                </a:lnTo>
                <a:lnTo>
                  <a:pt x="210249" y="324613"/>
                </a:lnTo>
                <a:lnTo>
                  <a:pt x="15132" y="332757"/>
                </a:lnTo>
                <a:lnTo>
                  <a:pt x="181508" y="1361"/>
                </a:lnTo>
                <a:lnTo>
                  <a:pt x="169410" y="0"/>
                </a:lnTo>
                <a:lnTo>
                  <a:pt x="0" y="339551"/>
                </a:lnTo>
                <a:lnTo>
                  <a:pt x="207215" y="338190"/>
                </a:lnTo>
                <a:lnTo>
                  <a:pt x="356961" y="446848"/>
                </a:lnTo>
                <a:lnTo>
                  <a:pt x="564189" y="446848"/>
                </a:lnTo>
                <a:close/>
              </a:path>
            </a:pathLst>
          </a:custGeom>
          <a:solidFill>
            <a:srgbClr val="000000"/>
          </a:solidFill>
        </p:spPr>
        <p:txBody>
          <a:bodyPr wrap="square" lIns="0" tIns="0" rIns="0" bIns="0" rtlCol="0">
            <a:noAutofit/>
          </a:bodyPr>
          <a:lstStyle/>
          <a:p>
            <a:endParaRPr/>
          </a:p>
        </p:txBody>
      </p:sp>
      <p:sp>
        <p:nvSpPr>
          <p:cNvPr id="28" name="object 28"/>
          <p:cNvSpPr/>
          <p:nvPr/>
        </p:nvSpPr>
        <p:spPr>
          <a:xfrm>
            <a:off x="2420785" y="4056469"/>
            <a:ext cx="769931" cy="825780"/>
          </a:xfrm>
          <a:custGeom>
            <a:avLst/>
            <a:gdLst/>
            <a:ahLst/>
            <a:cxnLst/>
            <a:rect l="l" t="t" r="r" b="b"/>
            <a:pathLst>
              <a:path w="769931" h="825780">
                <a:moveTo>
                  <a:pt x="304024" y="718483"/>
                </a:moveTo>
                <a:lnTo>
                  <a:pt x="184529" y="757874"/>
                </a:lnTo>
                <a:lnTo>
                  <a:pt x="57468" y="751080"/>
                </a:lnTo>
                <a:lnTo>
                  <a:pt x="0" y="717122"/>
                </a:lnTo>
                <a:lnTo>
                  <a:pt x="49915" y="766018"/>
                </a:lnTo>
                <a:lnTo>
                  <a:pt x="391744" y="766018"/>
                </a:lnTo>
                <a:lnTo>
                  <a:pt x="546035" y="825780"/>
                </a:lnTo>
                <a:lnTo>
                  <a:pt x="515784" y="547352"/>
                </a:lnTo>
                <a:lnTo>
                  <a:pt x="633755" y="547352"/>
                </a:lnTo>
                <a:lnTo>
                  <a:pt x="769931" y="510682"/>
                </a:lnTo>
                <a:lnTo>
                  <a:pt x="757744" y="42102"/>
                </a:lnTo>
                <a:lnTo>
                  <a:pt x="733586" y="0"/>
                </a:lnTo>
                <a:lnTo>
                  <a:pt x="724510" y="8143"/>
                </a:lnTo>
                <a:lnTo>
                  <a:pt x="750229" y="50245"/>
                </a:lnTo>
                <a:lnTo>
                  <a:pt x="763838" y="502527"/>
                </a:lnTo>
                <a:lnTo>
                  <a:pt x="633755" y="537835"/>
                </a:lnTo>
                <a:lnTo>
                  <a:pt x="503673" y="537835"/>
                </a:lnTo>
                <a:lnTo>
                  <a:pt x="532414" y="810842"/>
                </a:lnTo>
                <a:lnTo>
                  <a:pt x="393268" y="755152"/>
                </a:lnTo>
                <a:lnTo>
                  <a:pt x="211759" y="756513"/>
                </a:lnTo>
                <a:lnTo>
                  <a:pt x="313101" y="725277"/>
                </a:lnTo>
                <a:lnTo>
                  <a:pt x="408387" y="270273"/>
                </a:lnTo>
                <a:lnTo>
                  <a:pt x="393268" y="270273"/>
                </a:lnTo>
                <a:lnTo>
                  <a:pt x="304024" y="718483"/>
                </a:lnTo>
                <a:close/>
              </a:path>
            </a:pathLst>
          </a:custGeom>
          <a:solidFill>
            <a:srgbClr val="000000"/>
          </a:solidFill>
        </p:spPr>
        <p:txBody>
          <a:bodyPr wrap="square" lIns="0" tIns="0" rIns="0" bIns="0" rtlCol="0">
            <a:noAutofit/>
          </a:bodyPr>
          <a:lstStyle/>
          <a:p>
            <a:endParaRPr/>
          </a:p>
        </p:txBody>
      </p:sp>
      <p:sp>
        <p:nvSpPr>
          <p:cNvPr id="29" name="object 29"/>
          <p:cNvSpPr/>
          <p:nvPr/>
        </p:nvSpPr>
        <p:spPr>
          <a:xfrm>
            <a:off x="3000093" y="4670367"/>
            <a:ext cx="238989" cy="169781"/>
          </a:xfrm>
          <a:custGeom>
            <a:avLst/>
            <a:gdLst/>
            <a:ahLst/>
            <a:cxnLst/>
            <a:rect l="l" t="t" r="r" b="b"/>
            <a:pathLst>
              <a:path w="238989" h="169781">
                <a:moveTo>
                  <a:pt x="223883" y="69266"/>
                </a:moveTo>
                <a:lnTo>
                  <a:pt x="149746" y="115452"/>
                </a:lnTo>
                <a:lnTo>
                  <a:pt x="0" y="156193"/>
                </a:lnTo>
                <a:lnTo>
                  <a:pt x="0" y="169781"/>
                </a:lnTo>
                <a:lnTo>
                  <a:pt x="152767" y="123596"/>
                </a:lnTo>
                <a:lnTo>
                  <a:pt x="238989" y="71989"/>
                </a:lnTo>
                <a:lnTo>
                  <a:pt x="204206" y="0"/>
                </a:lnTo>
                <a:lnTo>
                  <a:pt x="223883" y="69266"/>
                </a:lnTo>
                <a:close/>
              </a:path>
            </a:pathLst>
          </a:custGeom>
          <a:solidFill>
            <a:srgbClr val="000000"/>
          </a:solidFill>
        </p:spPr>
        <p:txBody>
          <a:bodyPr wrap="square" lIns="0" tIns="0" rIns="0" bIns="0" rtlCol="0">
            <a:noAutofit/>
          </a:bodyPr>
          <a:lstStyle/>
          <a:p>
            <a:endParaRPr/>
          </a:p>
        </p:txBody>
      </p:sp>
      <p:sp>
        <p:nvSpPr>
          <p:cNvPr id="30" name="object 30"/>
          <p:cNvSpPr/>
          <p:nvPr/>
        </p:nvSpPr>
        <p:spPr>
          <a:xfrm>
            <a:off x="2221122" y="4666295"/>
            <a:ext cx="232934" cy="138533"/>
          </a:xfrm>
          <a:custGeom>
            <a:avLst/>
            <a:gdLst/>
            <a:ahLst/>
            <a:cxnLst/>
            <a:rect l="l" t="t" r="r" b="b"/>
            <a:pathLst>
              <a:path w="232934" h="138533">
                <a:moveTo>
                  <a:pt x="1510" y="35319"/>
                </a:moveTo>
                <a:lnTo>
                  <a:pt x="0" y="44824"/>
                </a:lnTo>
                <a:lnTo>
                  <a:pt x="51426" y="46174"/>
                </a:lnTo>
                <a:lnTo>
                  <a:pt x="175452" y="10865"/>
                </a:lnTo>
                <a:lnTo>
                  <a:pt x="172431" y="90998"/>
                </a:lnTo>
                <a:lnTo>
                  <a:pt x="232934" y="138533"/>
                </a:lnTo>
                <a:lnTo>
                  <a:pt x="186040" y="86926"/>
                </a:lnTo>
                <a:lnTo>
                  <a:pt x="186040" y="6794"/>
                </a:lnTo>
                <a:lnTo>
                  <a:pt x="175452" y="0"/>
                </a:lnTo>
                <a:lnTo>
                  <a:pt x="52936" y="35319"/>
                </a:lnTo>
                <a:lnTo>
                  <a:pt x="1510" y="35319"/>
                </a:lnTo>
                <a:close/>
              </a:path>
            </a:pathLst>
          </a:custGeom>
          <a:solidFill>
            <a:srgbClr val="000000"/>
          </a:solidFill>
        </p:spPr>
        <p:txBody>
          <a:bodyPr wrap="square" lIns="0" tIns="0" rIns="0" bIns="0" rtlCol="0">
            <a:noAutofit/>
          </a:bodyPr>
          <a:lstStyle/>
          <a:p>
            <a:endParaRPr/>
          </a:p>
        </p:txBody>
      </p:sp>
      <p:sp>
        <p:nvSpPr>
          <p:cNvPr id="31" name="object 31"/>
          <p:cNvSpPr/>
          <p:nvPr/>
        </p:nvSpPr>
        <p:spPr>
          <a:xfrm>
            <a:off x="3175609" y="4097211"/>
            <a:ext cx="246530" cy="467219"/>
          </a:xfrm>
          <a:custGeom>
            <a:avLst/>
            <a:gdLst/>
            <a:ahLst/>
            <a:cxnLst/>
            <a:rect l="l" t="t" r="r" b="b"/>
            <a:pathLst>
              <a:path w="246530" h="467219">
                <a:moveTo>
                  <a:pt x="0" y="0"/>
                </a:moveTo>
                <a:lnTo>
                  <a:pt x="0" y="14937"/>
                </a:lnTo>
                <a:lnTo>
                  <a:pt x="84673" y="164337"/>
                </a:lnTo>
                <a:lnTo>
                  <a:pt x="232820" y="347695"/>
                </a:lnTo>
                <a:lnTo>
                  <a:pt x="10536" y="457714"/>
                </a:lnTo>
                <a:lnTo>
                  <a:pt x="10536" y="467219"/>
                </a:lnTo>
                <a:lnTo>
                  <a:pt x="246530" y="350417"/>
                </a:lnTo>
                <a:lnTo>
                  <a:pt x="90639" y="154832"/>
                </a:lnTo>
                <a:lnTo>
                  <a:pt x="0" y="0"/>
                </a:lnTo>
                <a:close/>
              </a:path>
            </a:pathLst>
          </a:custGeom>
          <a:solidFill>
            <a:srgbClr val="000000"/>
          </a:solidFill>
        </p:spPr>
        <p:txBody>
          <a:bodyPr wrap="square" lIns="0" tIns="0" rIns="0" bIns="0" rtlCol="0">
            <a:noAutofit/>
          </a:bodyPr>
          <a:lstStyle/>
          <a:p>
            <a:endParaRPr/>
          </a:p>
        </p:txBody>
      </p:sp>
      <p:sp>
        <p:nvSpPr>
          <p:cNvPr id="32" name="object 32"/>
          <p:cNvSpPr/>
          <p:nvPr/>
        </p:nvSpPr>
        <p:spPr>
          <a:xfrm>
            <a:off x="2546322" y="2256836"/>
            <a:ext cx="733637" cy="331465"/>
          </a:xfrm>
          <a:custGeom>
            <a:avLst/>
            <a:gdLst/>
            <a:ahLst/>
            <a:cxnLst/>
            <a:rect l="l" t="t" r="r" b="b"/>
            <a:pathLst>
              <a:path w="733637" h="331465">
                <a:moveTo>
                  <a:pt x="13608" y="72057"/>
                </a:moveTo>
                <a:lnTo>
                  <a:pt x="317633" y="190209"/>
                </a:lnTo>
                <a:lnTo>
                  <a:pt x="290415" y="310991"/>
                </a:lnTo>
                <a:lnTo>
                  <a:pt x="358471" y="183346"/>
                </a:lnTo>
                <a:lnTo>
                  <a:pt x="464358" y="254031"/>
                </a:lnTo>
                <a:lnTo>
                  <a:pt x="626202" y="290632"/>
                </a:lnTo>
                <a:lnTo>
                  <a:pt x="706343" y="331465"/>
                </a:lnTo>
                <a:lnTo>
                  <a:pt x="733637" y="161614"/>
                </a:lnTo>
                <a:lnTo>
                  <a:pt x="375114" y="51584"/>
                </a:lnTo>
                <a:lnTo>
                  <a:pt x="349407" y="123641"/>
                </a:lnTo>
                <a:lnTo>
                  <a:pt x="0" y="0"/>
                </a:lnTo>
                <a:lnTo>
                  <a:pt x="13608" y="72057"/>
                </a:lnTo>
                <a:close/>
              </a:path>
            </a:pathLst>
          </a:custGeom>
          <a:solidFill>
            <a:srgbClr val="0CC10C"/>
          </a:solidFill>
        </p:spPr>
        <p:txBody>
          <a:bodyPr wrap="square" lIns="0" tIns="0" rIns="0" bIns="0" rtlCol="0">
            <a:noAutofit/>
          </a:bodyPr>
          <a:lstStyle/>
          <a:p>
            <a:endParaRPr/>
          </a:p>
        </p:txBody>
      </p:sp>
      <p:sp>
        <p:nvSpPr>
          <p:cNvPr id="33" name="object 33"/>
          <p:cNvSpPr/>
          <p:nvPr/>
        </p:nvSpPr>
        <p:spPr>
          <a:xfrm>
            <a:off x="2219611" y="2567827"/>
            <a:ext cx="232934" cy="362690"/>
          </a:xfrm>
          <a:custGeom>
            <a:avLst/>
            <a:gdLst/>
            <a:ahLst/>
            <a:cxnLst/>
            <a:rect l="l" t="t" r="r" b="b"/>
            <a:pathLst>
              <a:path w="232934" h="362690">
                <a:moveTo>
                  <a:pt x="176963" y="1372"/>
                </a:moveTo>
                <a:lnTo>
                  <a:pt x="49915" y="0"/>
                </a:lnTo>
                <a:lnTo>
                  <a:pt x="0" y="29966"/>
                </a:lnTo>
                <a:lnTo>
                  <a:pt x="95286" y="138625"/>
                </a:lnTo>
                <a:lnTo>
                  <a:pt x="199661" y="362690"/>
                </a:lnTo>
                <a:lnTo>
                  <a:pt x="232934" y="359945"/>
                </a:lnTo>
                <a:lnTo>
                  <a:pt x="176963" y="1372"/>
                </a:lnTo>
                <a:close/>
              </a:path>
            </a:pathLst>
          </a:custGeom>
          <a:solidFill>
            <a:srgbClr val="008B00"/>
          </a:solidFill>
        </p:spPr>
        <p:txBody>
          <a:bodyPr wrap="square" lIns="0" tIns="0" rIns="0" bIns="0" rtlCol="0">
            <a:noAutofit/>
          </a:bodyPr>
          <a:lstStyle/>
          <a:p>
            <a:endParaRPr/>
          </a:p>
        </p:txBody>
      </p:sp>
      <p:sp>
        <p:nvSpPr>
          <p:cNvPr id="34" name="object 34"/>
          <p:cNvSpPr/>
          <p:nvPr/>
        </p:nvSpPr>
        <p:spPr>
          <a:xfrm>
            <a:off x="2994037" y="2885681"/>
            <a:ext cx="225368" cy="365320"/>
          </a:xfrm>
          <a:custGeom>
            <a:avLst/>
            <a:gdLst/>
            <a:ahLst/>
            <a:cxnLst/>
            <a:rect l="l" t="t" r="r" b="b"/>
            <a:pathLst>
              <a:path w="225368" h="365320">
                <a:moveTo>
                  <a:pt x="225368" y="0"/>
                </a:moveTo>
                <a:lnTo>
                  <a:pt x="51426" y="228182"/>
                </a:lnTo>
                <a:lnTo>
                  <a:pt x="0" y="336840"/>
                </a:lnTo>
                <a:lnTo>
                  <a:pt x="68068" y="365320"/>
                </a:lnTo>
                <a:lnTo>
                  <a:pt x="225368" y="0"/>
                </a:lnTo>
                <a:close/>
              </a:path>
            </a:pathLst>
          </a:custGeom>
          <a:solidFill>
            <a:srgbClr val="0CC10C"/>
          </a:solidFill>
        </p:spPr>
        <p:txBody>
          <a:bodyPr wrap="square" lIns="0" tIns="0" rIns="0" bIns="0" rtlCol="0">
            <a:noAutofit/>
          </a:bodyPr>
          <a:lstStyle/>
          <a:p>
            <a:endParaRPr/>
          </a:p>
        </p:txBody>
      </p:sp>
      <p:sp>
        <p:nvSpPr>
          <p:cNvPr id="35" name="object 35"/>
          <p:cNvSpPr/>
          <p:nvPr/>
        </p:nvSpPr>
        <p:spPr>
          <a:xfrm>
            <a:off x="2376911" y="2345134"/>
            <a:ext cx="851634" cy="846162"/>
          </a:xfrm>
          <a:custGeom>
            <a:avLst/>
            <a:gdLst/>
            <a:ahLst/>
            <a:cxnLst/>
            <a:rect l="l" t="t" r="r" b="b"/>
            <a:pathLst>
              <a:path w="851634" h="846162">
                <a:moveTo>
                  <a:pt x="564189" y="846162"/>
                </a:moveTo>
                <a:lnTo>
                  <a:pt x="851634" y="392542"/>
                </a:lnTo>
                <a:lnTo>
                  <a:pt x="842494" y="302870"/>
                </a:lnTo>
                <a:lnTo>
                  <a:pt x="562678" y="217316"/>
                </a:lnTo>
                <a:lnTo>
                  <a:pt x="435617" y="520187"/>
                </a:lnTo>
                <a:lnTo>
                  <a:pt x="356974" y="522932"/>
                </a:lnTo>
                <a:lnTo>
                  <a:pt x="260164" y="449616"/>
                </a:lnTo>
                <a:lnTo>
                  <a:pt x="258653" y="383049"/>
                </a:lnTo>
                <a:lnTo>
                  <a:pt x="313101" y="410156"/>
                </a:lnTo>
                <a:lnTo>
                  <a:pt x="388736" y="410156"/>
                </a:lnTo>
                <a:lnTo>
                  <a:pt x="423519" y="283884"/>
                </a:lnTo>
                <a:lnTo>
                  <a:pt x="437140" y="187464"/>
                </a:lnTo>
                <a:lnTo>
                  <a:pt x="155801" y="95047"/>
                </a:lnTo>
                <a:lnTo>
                  <a:pt x="0" y="0"/>
                </a:lnTo>
                <a:lnTo>
                  <a:pt x="13621" y="126272"/>
                </a:lnTo>
                <a:lnTo>
                  <a:pt x="208738" y="183346"/>
                </a:lnTo>
                <a:lnTo>
                  <a:pt x="232934" y="232300"/>
                </a:lnTo>
                <a:lnTo>
                  <a:pt x="155801" y="598993"/>
                </a:lnTo>
                <a:lnTo>
                  <a:pt x="564189" y="846162"/>
                </a:lnTo>
                <a:close/>
              </a:path>
            </a:pathLst>
          </a:custGeom>
          <a:solidFill>
            <a:srgbClr val="0CC10C"/>
          </a:solidFill>
        </p:spPr>
        <p:txBody>
          <a:bodyPr wrap="square" lIns="0" tIns="0" rIns="0" bIns="0" rtlCol="0">
            <a:noAutofit/>
          </a:bodyPr>
          <a:lstStyle/>
          <a:p>
            <a:endParaRPr/>
          </a:p>
        </p:txBody>
      </p:sp>
      <p:sp>
        <p:nvSpPr>
          <p:cNvPr id="36" name="object 36"/>
          <p:cNvSpPr/>
          <p:nvPr/>
        </p:nvSpPr>
        <p:spPr>
          <a:xfrm>
            <a:off x="3015212" y="2103342"/>
            <a:ext cx="307020" cy="247169"/>
          </a:xfrm>
          <a:custGeom>
            <a:avLst/>
            <a:gdLst/>
            <a:ahLst/>
            <a:cxnLst/>
            <a:rect l="l" t="t" r="r" b="b"/>
            <a:pathLst>
              <a:path w="307020" h="247169">
                <a:moveTo>
                  <a:pt x="4544" y="0"/>
                </a:moveTo>
                <a:lnTo>
                  <a:pt x="0" y="145373"/>
                </a:lnTo>
                <a:lnTo>
                  <a:pt x="290390" y="247169"/>
                </a:lnTo>
                <a:lnTo>
                  <a:pt x="307020" y="188836"/>
                </a:lnTo>
                <a:lnTo>
                  <a:pt x="187563" y="77433"/>
                </a:lnTo>
                <a:lnTo>
                  <a:pt x="4544" y="0"/>
                </a:lnTo>
                <a:close/>
              </a:path>
            </a:pathLst>
          </a:custGeom>
          <a:solidFill>
            <a:srgbClr val="008B00"/>
          </a:solidFill>
        </p:spPr>
        <p:txBody>
          <a:bodyPr wrap="square" lIns="0" tIns="0" rIns="0" bIns="0" rtlCol="0">
            <a:noAutofit/>
          </a:bodyPr>
          <a:lstStyle/>
          <a:p>
            <a:endParaRPr/>
          </a:p>
        </p:txBody>
      </p:sp>
      <p:sp>
        <p:nvSpPr>
          <p:cNvPr id="37" name="object 37"/>
          <p:cNvSpPr/>
          <p:nvPr/>
        </p:nvSpPr>
        <p:spPr>
          <a:xfrm>
            <a:off x="3279959" y="2171281"/>
            <a:ext cx="198036" cy="476724"/>
          </a:xfrm>
          <a:custGeom>
            <a:avLst/>
            <a:gdLst/>
            <a:ahLst/>
            <a:cxnLst/>
            <a:rect l="l" t="t" r="r" b="b"/>
            <a:pathLst>
              <a:path w="198036" h="476724">
                <a:moveTo>
                  <a:pt x="0" y="430515"/>
                </a:moveTo>
                <a:lnTo>
                  <a:pt x="42273" y="476724"/>
                </a:lnTo>
                <a:lnTo>
                  <a:pt x="198036" y="148004"/>
                </a:lnTo>
                <a:lnTo>
                  <a:pt x="175440" y="99165"/>
                </a:lnTo>
                <a:lnTo>
                  <a:pt x="25643" y="0"/>
                </a:lnTo>
                <a:lnTo>
                  <a:pt x="111840" y="108658"/>
                </a:lnTo>
                <a:lnTo>
                  <a:pt x="107396" y="207823"/>
                </a:lnTo>
                <a:lnTo>
                  <a:pt x="0" y="430515"/>
                </a:lnTo>
                <a:close/>
              </a:path>
            </a:pathLst>
          </a:custGeom>
          <a:solidFill>
            <a:srgbClr val="008B00"/>
          </a:solidFill>
        </p:spPr>
        <p:txBody>
          <a:bodyPr wrap="square" lIns="0" tIns="0" rIns="0" bIns="0" rtlCol="0">
            <a:noAutofit/>
          </a:bodyPr>
          <a:lstStyle/>
          <a:p>
            <a:endParaRPr/>
          </a:p>
        </p:txBody>
      </p:sp>
      <p:sp>
        <p:nvSpPr>
          <p:cNvPr id="38" name="object 38"/>
          <p:cNvSpPr/>
          <p:nvPr/>
        </p:nvSpPr>
        <p:spPr>
          <a:xfrm>
            <a:off x="3096889" y="2387225"/>
            <a:ext cx="425030" cy="764726"/>
          </a:xfrm>
          <a:custGeom>
            <a:avLst/>
            <a:gdLst/>
            <a:ahLst/>
            <a:cxnLst/>
            <a:rect l="l" t="t" r="r" b="b"/>
            <a:pathLst>
              <a:path w="425030" h="764726">
                <a:moveTo>
                  <a:pt x="87732" y="620725"/>
                </a:moveTo>
                <a:lnTo>
                  <a:pt x="0" y="764726"/>
                </a:lnTo>
                <a:lnTo>
                  <a:pt x="399259" y="309733"/>
                </a:lnTo>
                <a:lnTo>
                  <a:pt x="320679" y="268900"/>
                </a:lnTo>
                <a:lnTo>
                  <a:pt x="425030" y="0"/>
                </a:lnTo>
                <a:lnTo>
                  <a:pt x="87732" y="620725"/>
                </a:lnTo>
                <a:close/>
              </a:path>
            </a:pathLst>
          </a:custGeom>
          <a:solidFill>
            <a:srgbClr val="008B00"/>
          </a:solidFill>
        </p:spPr>
        <p:txBody>
          <a:bodyPr wrap="square" lIns="0" tIns="0" rIns="0" bIns="0" rtlCol="0">
            <a:noAutofit/>
          </a:bodyPr>
          <a:lstStyle/>
          <a:p>
            <a:endParaRPr/>
          </a:p>
        </p:txBody>
      </p:sp>
      <p:sp>
        <p:nvSpPr>
          <p:cNvPr id="39" name="object 39"/>
          <p:cNvSpPr/>
          <p:nvPr/>
        </p:nvSpPr>
        <p:spPr>
          <a:xfrm>
            <a:off x="2077431" y="2004177"/>
            <a:ext cx="1482318" cy="943955"/>
          </a:xfrm>
          <a:custGeom>
            <a:avLst/>
            <a:gdLst/>
            <a:ahLst/>
            <a:cxnLst/>
            <a:rect l="l" t="t" r="r" b="b"/>
            <a:pathLst>
              <a:path w="1482318" h="943955">
                <a:moveTo>
                  <a:pt x="564189" y="211940"/>
                </a:moveTo>
                <a:lnTo>
                  <a:pt x="367548" y="91044"/>
                </a:lnTo>
                <a:lnTo>
                  <a:pt x="397800" y="286629"/>
                </a:lnTo>
                <a:lnTo>
                  <a:pt x="278305" y="244538"/>
                </a:lnTo>
                <a:lnTo>
                  <a:pt x="308556" y="465858"/>
                </a:lnTo>
                <a:lnTo>
                  <a:pt x="232934" y="465858"/>
                </a:lnTo>
                <a:lnTo>
                  <a:pt x="102852" y="499828"/>
                </a:lnTo>
                <a:lnTo>
                  <a:pt x="0" y="569140"/>
                </a:lnTo>
                <a:lnTo>
                  <a:pt x="207215" y="789202"/>
                </a:lnTo>
                <a:lnTo>
                  <a:pt x="279828" y="943955"/>
                </a:lnTo>
                <a:lnTo>
                  <a:pt x="290415" y="931831"/>
                </a:lnTo>
                <a:lnTo>
                  <a:pt x="207215" y="772846"/>
                </a:lnTo>
                <a:lnTo>
                  <a:pt x="13608" y="573258"/>
                </a:lnTo>
                <a:lnTo>
                  <a:pt x="107396" y="512066"/>
                </a:lnTo>
                <a:lnTo>
                  <a:pt x="240500" y="476724"/>
                </a:lnTo>
                <a:lnTo>
                  <a:pt x="320667" y="472721"/>
                </a:lnTo>
                <a:lnTo>
                  <a:pt x="293437" y="262152"/>
                </a:lnTo>
                <a:lnTo>
                  <a:pt x="414442" y="301612"/>
                </a:lnTo>
                <a:lnTo>
                  <a:pt x="378136" y="111403"/>
                </a:lnTo>
                <a:lnTo>
                  <a:pt x="562665" y="222806"/>
                </a:lnTo>
                <a:lnTo>
                  <a:pt x="850060" y="311106"/>
                </a:lnTo>
                <a:lnTo>
                  <a:pt x="883332" y="229555"/>
                </a:lnTo>
                <a:lnTo>
                  <a:pt x="949891" y="254031"/>
                </a:lnTo>
                <a:lnTo>
                  <a:pt x="946857" y="13610"/>
                </a:lnTo>
                <a:lnTo>
                  <a:pt x="1367304" y="194326"/>
                </a:lnTo>
                <a:lnTo>
                  <a:pt x="1476224" y="327347"/>
                </a:lnTo>
                <a:lnTo>
                  <a:pt x="1482318" y="313851"/>
                </a:lnTo>
                <a:lnTo>
                  <a:pt x="1371874" y="186091"/>
                </a:lnTo>
                <a:lnTo>
                  <a:pt x="937780" y="0"/>
                </a:lnTo>
                <a:lnTo>
                  <a:pt x="934759" y="236417"/>
                </a:lnTo>
                <a:lnTo>
                  <a:pt x="872745" y="213313"/>
                </a:lnTo>
                <a:lnTo>
                  <a:pt x="839472" y="300240"/>
                </a:lnTo>
                <a:lnTo>
                  <a:pt x="564189" y="211940"/>
                </a:lnTo>
                <a:close/>
              </a:path>
            </a:pathLst>
          </a:custGeom>
          <a:solidFill>
            <a:srgbClr val="000000"/>
          </a:solidFill>
        </p:spPr>
        <p:txBody>
          <a:bodyPr wrap="square" lIns="0" tIns="0" rIns="0" bIns="0" rtlCol="0">
            <a:noAutofit/>
          </a:bodyPr>
          <a:lstStyle/>
          <a:p>
            <a:endParaRPr/>
          </a:p>
        </p:txBody>
      </p:sp>
      <p:sp>
        <p:nvSpPr>
          <p:cNvPr id="40" name="object 40"/>
          <p:cNvSpPr/>
          <p:nvPr/>
        </p:nvSpPr>
        <p:spPr>
          <a:xfrm>
            <a:off x="2485819" y="2250088"/>
            <a:ext cx="441672" cy="317739"/>
          </a:xfrm>
          <a:custGeom>
            <a:avLst/>
            <a:gdLst/>
            <a:ahLst/>
            <a:cxnLst/>
            <a:rect l="l" t="t" r="r" b="b"/>
            <a:pathLst>
              <a:path w="441672" h="317739">
                <a:moveTo>
                  <a:pt x="373604" y="199588"/>
                </a:moveTo>
                <a:lnTo>
                  <a:pt x="350918" y="317739"/>
                </a:lnTo>
                <a:lnTo>
                  <a:pt x="355450" y="317739"/>
                </a:lnTo>
                <a:lnTo>
                  <a:pt x="390246" y="186091"/>
                </a:lnTo>
                <a:lnTo>
                  <a:pt x="78656" y="73315"/>
                </a:lnTo>
                <a:lnTo>
                  <a:pt x="68068" y="12238"/>
                </a:lnTo>
                <a:lnTo>
                  <a:pt x="412932" y="133020"/>
                </a:lnTo>
                <a:lnTo>
                  <a:pt x="441672" y="59704"/>
                </a:lnTo>
                <a:lnTo>
                  <a:pt x="428051" y="58332"/>
                </a:lnTo>
                <a:lnTo>
                  <a:pt x="403855" y="119524"/>
                </a:lnTo>
                <a:lnTo>
                  <a:pt x="55970" y="0"/>
                </a:lnTo>
                <a:lnTo>
                  <a:pt x="63524" y="65195"/>
                </a:lnTo>
                <a:lnTo>
                  <a:pt x="0" y="42090"/>
                </a:lnTo>
                <a:lnTo>
                  <a:pt x="0" y="54329"/>
                </a:lnTo>
                <a:lnTo>
                  <a:pt x="373604" y="199588"/>
                </a:lnTo>
                <a:close/>
              </a:path>
            </a:pathLst>
          </a:custGeom>
          <a:solidFill>
            <a:srgbClr val="000000"/>
          </a:solidFill>
        </p:spPr>
        <p:txBody>
          <a:bodyPr wrap="square" lIns="0" tIns="0" rIns="0" bIns="0" rtlCol="0">
            <a:noAutofit/>
          </a:bodyPr>
          <a:lstStyle/>
          <a:p>
            <a:endParaRPr/>
          </a:p>
        </p:txBody>
      </p:sp>
      <p:sp>
        <p:nvSpPr>
          <p:cNvPr id="41" name="object 41"/>
          <p:cNvSpPr/>
          <p:nvPr/>
        </p:nvSpPr>
        <p:spPr>
          <a:xfrm>
            <a:off x="2372380" y="2335642"/>
            <a:ext cx="860609" cy="861031"/>
          </a:xfrm>
          <a:custGeom>
            <a:avLst/>
            <a:gdLst/>
            <a:ahLst/>
            <a:cxnLst/>
            <a:rect l="l" t="t" r="r" b="b"/>
            <a:pathLst>
              <a:path w="860609" h="861031">
                <a:moveTo>
                  <a:pt x="366038" y="526935"/>
                </a:moveTo>
                <a:lnTo>
                  <a:pt x="269241" y="460368"/>
                </a:lnTo>
                <a:lnTo>
                  <a:pt x="269241" y="400663"/>
                </a:lnTo>
                <a:lnTo>
                  <a:pt x="325199" y="429143"/>
                </a:lnTo>
                <a:lnTo>
                  <a:pt x="399310" y="429143"/>
                </a:lnTo>
                <a:lnTo>
                  <a:pt x="435617" y="294750"/>
                </a:lnTo>
                <a:lnTo>
                  <a:pt x="446204" y="194212"/>
                </a:lnTo>
                <a:lnTo>
                  <a:pt x="163354" y="99165"/>
                </a:lnTo>
                <a:lnTo>
                  <a:pt x="0" y="0"/>
                </a:lnTo>
                <a:lnTo>
                  <a:pt x="7566" y="12238"/>
                </a:lnTo>
                <a:lnTo>
                  <a:pt x="155788" y="104540"/>
                </a:lnTo>
                <a:lnTo>
                  <a:pt x="438638" y="199588"/>
                </a:lnTo>
                <a:lnTo>
                  <a:pt x="425030" y="293377"/>
                </a:lnTo>
                <a:lnTo>
                  <a:pt x="393268" y="418277"/>
                </a:lnTo>
                <a:lnTo>
                  <a:pt x="325199" y="419649"/>
                </a:lnTo>
                <a:lnTo>
                  <a:pt x="261675" y="383049"/>
                </a:lnTo>
                <a:lnTo>
                  <a:pt x="261675" y="465858"/>
                </a:lnTo>
                <a:lnTo>
                  <a:pt x="367548" y="540546"/>
                </a:lnTo>
                <a:lnTo>
                  <a:pt x="444694" y="535170"/>
                </a:lnTo>
                <a:lnTo>
                  <a:pt x="573253" y="232185"/>
                </a:lnTo>
                <a:lnTo>
                  <a:pt x="843979" y="313736"/>
                </a:lnTo>
                <a:lnTo>
                  <a:pt x="853119" y="402035"/>
                </a:lnTo>
                <a:lnTo>
                  <a:pt x="564189" y="850165"/>
                </a:lnTo>
                <a:lnTo>
                  <a:pt x="573253" y="861031"/>
                </a:lnTo>
                <a:lnTo>
                  <a:pt x="860609" y="404780"/>
                </a:lnTo>
                <a:lnTo>
                  <a:pt x="853119" y="306988"/>
                </a:lnTo>
                <a:lnTo>
                  <a:pt x="564189" y="220061"/>
                </a:lnTo>
                <a:lnTo>
                  <a:pt x="438638" y="521560"/>
                </a:lnTo>
                <a:lnTo>
                  <a:pt x="366038" y="526935"/>
                </a:lnTo>
                <a:close/>
              </a:path>
            </a:pathLst>
          </a:custGeom>
          <a:solidFill>
            <a:srgbClr val="000000"/>
          </a:solidFill>
        </p:spPr>
        <p:txBody>
          <a:bodyPr wrap="square" lIns="0" tIns="0" rIns="0" bIns="0" rtlCol="0">
            <a:noAutofit/>
          </a:bodyPr>
          <a:lstStyle/>
          <a:p>
            <a:endParaRPr/>
          </a:p>
        </p:txBody>
      </p:sp>
      <p:sp>
        <p:nvSpPr>
          <p:cNvPr id="42" name="object 42"/>
          <p:cNvSpPr/>
          <p:nvPr/>
        </p:nvSpPr>
        <p:spPr>
          <a:xfrm>
            <a:off x="2393554" y="2471408"/>
            <a:ext cx="220836" cy="474093"/>
          </a:xfrm>
          <a:custGeom>
            <a:avLst/>
            <a:gdLst/>
            <a:ahLst/>
            <a:cxnLst/>
            <a:rect l="l" t="t" r="r" b="b"/>
            <a:pathLst>
              <a:path w="220836" h="474093">
                <a:moveTo>
                  <a:pt x="196627" y="52956"/>
                </a:moveTo>
                <a:lnTo>
                  <a:pt x="0" y="0"/>
                </a:lnTo>
                <a:lnTo>
                  <a:pt x="3021" y="9493"/>
                </a:lnTo>
                <a:lnTo>
                  <a:pt x="190585" y="61191"/>
                </a:lnTo>
                <a:lnTo>
                  <a:pt x="210249" y="106027"/>
                </a:lnTo>
                <a:lnTo>
                  <a:pt x="133103" y="465858"/>
                </a:lnTo>
                <a:lnTo>
                  <a:pt x="143690" y="474093"/>
                </a:lnTo>
                <a:lnTo>
                  <a:pt x="220836" y="103282"/>
                </a:lnTo>
                <a:lnTo>
                  <a:pt x="196627" y="52956"/>
                </a:lnTo>
                <a:close/>
              </a:path>
            </a:pathLst>
          </a:custGeom>
          <a:solidFill>
            <a:srgbClr val="000000"/>
          </a:solidFill>
        </p:spPr>
        <p:txBody>
          <a:bodyPr wrap="square" lIns="0" tIns="0" rIns="0" bIns="0" rtlCol="0">
            <a:noAutofit/>
          </a:bodyPr>
          <a:lstStyle/>
          <a:p>
            <a:endParaRPr/>
          </a:p>
        </p:txBody>
      </p:sp>
      <p:sp>
        <p:nvSpPr>
          <p:cNvPr id="43" name="object 43"/>
          <p:cNvSpPr/>
          <p:nvPr/>
        </p:nvSpPr>
        <p:spPr>
          <a:xfrm>
            <a:off x="2975884" y="2866695"/>
            <a:ext cx="249615" cy="389797"/>
          </a:xfrm>
          <a:custGeom>
            <a:avLst/>
            <a:gdLst/>
            <a:ahLst/>
            <a:cxnLst/>
            <a:rect l="l" t="t" r="r" b="b"/>
            <a:pathLst>
              <a:path w="249615" h="389797">
                <a:moveTo>
                  <a:pt x="0" y="357200"/>
                </a:moveTo>
                <a:lnTo>
                  <a:pt x="21187" y="369438"/>
                </a:lnTo>
                <a:lnTo>
                  <a:pt x="72613" y="248541"/>
                </a:lnTo>
                <a:lnTo>
                  <a:pt x="217751" y="65195"/>
                </a:lnTo>
                <a:lnTo>
                  <a:pt x="80166" y="383049"/>
                </a:lnTo>
                <a:lnTo>
                  <a:pt x="95298" y="389797"/>
                </a:lnTo>
                <a:lnTo>
                  <a:pt x="249615" y="0"/>
                </a:lnTo>
                <a:lnTo>
                  <a:pt x="62026" y="248541"/>
                </a:lnTo>
                <a:lnTo>
                  <a:pt x="0" y="357200"/>
                </a:lnTo>
                <a:close/>
              </a:path>
            </a:pathLst>
          </a:custGeom>
          <a:solidFill>
            <a:srgbClr val="000000"/>
          </a:solidFill>
        </p:spPr>
        <p:txBody>
          <a:bodyPr wrap="square" lIns="0" tIns="0" rIns="0" bIns="0" rtlCol="0">
            <a:noAutofit/>
          </a:bodyPr>
          <a:lstStyle/>
          <a:p>
            <a:endParaRPr/>
          </a:p>
        </p:txBody>
      </p:sp>
      <p:sp>
        <p:nvSpPr>
          <p:cNvPr id="44" name="object 44"/>
          <p:cNvSpPr/>
          <p:nvPr/>
        </p:nvSpPr>
        <p:spPr>
          <a:xfrm>
            <a:off x="3267773" y="2558333"/>
            <a:ext cx="384267" cy="521560"/>
          </a:xfrm>
          <a:custGeom>
            <a:avLst/>
            <a:gdLst/>
            <a:ahLst/>
            <a:cxnLst/>
            <a:rect l="l" t="t" r="r" b="b"/>
            <a:pathLst>
              <a:path w="384267" h="521560">
                <a:moveTo>
                  <a:pt x="0" y="510694"/>
                </a:moveTo>
                <a:lnTo>
                  <a:pt x="9140" y="521560"/>
                </a:lnTo>
                <a:lnTo>
                  <a:pt x="102953" y="378931"/>
                </a:lnTo>
                <a:lnTo>
                  <a:pt x="384267" y="93789"/>
                </a:lnTo>
                <a:lnTo>
                  <a:pt x="187627" y="0"/>
                </a:lnTo>
                <a:lnTo>
                  <a:pt x="176963" y="5490"/>
                </a:lnTo>
                <a:lnTo>
                  <a:pt x="369160" y="95161"/>
                </a:lnTo>
                <a:lnTo>
                  <a:pt x="96860" y="372183"/>
                </a:lnTo>
                <a:lnTo>
                  <a:pt x="0" y="510694"/>
                </a:lnTo>
                <a:close/>
              </a:path>
            </a:pathLst>
          </a:custGeom>
          <a:solidFill>
            <a:srgbClr val="000000"/>
          </a:solidFill>
        </p:spPr>
        <p:txBody>
          <a:bodyPr wrap="square" lIns="0" tIns="0" rIns="0" bIns="0" rtlCol="0">
            <a:noAutofit/>
          </a:bodyPr>
          <a:lstStyle/>
          <a:p>
            <a:endParaRPr/>
          </a:p>
        </p:txBody>
      </p:sp>
      <p:sp>
        <p:nvSpPr>
          <p:cNvPr id="45" name="object 45"/>
          <p:cNvSpPr/>
          <p:nvPr/>
        </p:nvSpPr>
        <p:spPr>
          <a:xfrm>
            <a:off x="2919926" y="2307162"/>
            <a:ext cx="360033" cy="238933"/>
          </a:xfrm>
          <a:custGeom>
            <a:avLst/>
            <a:gdLst/>
            <a:ahLst/>
            <a:cxnLst/>
            <a:rect l="l" t="t" r="r" b="b"/>
            <a:pathLst>
              <a:path w="360033" h="238933">
                <a:moveTo>
                  <a:pt x="352416" y="114034"/>
                </a:moveTo>
                <a:lnTo>
                  <a:pt x="338833" y="238933"/>
                </a:lnTo>
                <a:lnTo>
                  <a:pt x="360033" y="111289"/>
                </a:lnTo>
                <a:lnTo>
                  <a:pt x="6055" y="0"/>
                </a:lnTo>
                <a:lnTo>
                  <a:pt x="0" y="6748"/>
                </a:lnTo>
                <a:lnTo>
                  <a:pt x="352416" y="114034"/>
                </a:lnTo>
                <a:close/>
              </a:path>
            </a:pathLst>
          </a:custGeom>
          <a:solidFill>
            <a:srgbClr val="000000"/>
          </a:solidFill>
        </p:spPr>
        <p:txBody>
          <a:bodyPr wrap="square" lIns="0" tIns="0" rIns="0" bIns="0" rtlCol="0">
            <a:noAutofit/>
          </a:bodyPr>
          <a:lstStyle/>
          <a:p>
            <a:endParaRPr/>
          </a:p>
        </p:txBody>
      </p:sp>
      <p:sp>
        <p:nvSpPr>
          <p:cNvPr id="46" name="object 46"/>
          <p:cNvSpPr/>
          <p:nvPr/>
        </p:nvSpPr>
        <p:spPr>
          <a:xfrm>
            <a:off x="2995549" y="2422569"/>
            <a:ext cx="278317" cy="169735"/>
          </a:xfrm>
          <a:custGeom>
            <a:avLst/>
            <a:gdLst/>
            <a:ahLst/>
            <a:cxnLst/>
            <a:rect l="l" t="t" r="r" b="b"/>
            <a:pathLst>
              <a:path w="278317" h="169735">
                <a:moveTo>
                  <a:pt x="278317" y="0"/>
                </a:moveTo>
                <a:lnTo>
                  <a:pt x="248104" y="149376"/>
                </a:lnTo>
                <a:lnTo>
                  <a:pt x="175465" y="122269"/>
                </a:lnTo>
                <a:lnTo>
                  <a:pt x="15132" y="85554"/>
                </a:lnTo>
                <a:lnTo>
                  <a:pt x="0" y="86926"/>
                </a:lnTo>
                <a:lnTo>
                  <a:pt x="173955" y="127644"/>
                </a:lnTo>
                <a:lnTo>
                  <a:pt x="261687" y="169735"/>
                </a:lnTo>
                <a:lnTo>
                  <a:pt x="278317" y="0"/>
                </a:lnTo>
                <a:close/>
              </a:path>
            </a:pathLst>
          </a:custGeom>
          <a:solidFill>
            <a:srgbClr val="000000"/>
          </a:solidFill>
        </p:spPr>
        <p:txBody>
          <a:bodyPr wrap="square" lIns="0" tIns="0" rIns="0" bIns="0" rtlCol="0">
            <a:noAutofit/>
          </a:bodyPr>
          <a:lstStyle/>
          <a:p>
            <a:endParaRPr/>
          </a:p>
        </p:txBody>
      </p:sp>
      <p:sp>
        <p:nvSpPr>
          <p:cNvPr id="47" name="object 47"/>
          <p:cNvSpPr/>
          <p:nvPr/>
        </p:nvSpPr>
        <p:spPr>
          <a:xfrm>
            <a:off x="2836737" y="2430688"/>
            <a:ext cx="173942" cy="138510"/>
          </a:xfrm>
          <a:custGeom>
            <a:avLst/>
            <a:gdLst/>
            <a:ahLst/>
            <a:cxnLst/>
            <a:rect l="l" t="t" r="r" b="b"/>
            <a:pathLst>
              <a:path w="173942" h="138510">
                <a:moveTo>
                  <a:pt x="0" y="137138"/>
                </a:moveTo>
                <a:lnTo>
                  <a:pt x="7553" y="138510"/>
                </a:lnTo>
                <a:lnTo>
                  <a:pt x="68056" y="16355"/>
                </a:lnTo>
                <a:lnTo>
                  <a:pt x="158810" y="78805"/>
                </a:lnTo>
                <a:lnTo>
                  <a:pt x="173942" y="78805"/>
                </a:lnTo>
                <a:lnTo>
                  <a:pt x="65034" y="0"/>
                </a:lnTo>
                <a:lnTo>
                  <a:pt x="0" y="137138"/>
                </a:lnTo>
                <a:close/>
              </a:path>
            </a:pathLst>
          </a:custGeom>
          <a:solidFill>
            <a:srgbClr val="000000"/>
          </a:solidFill>
        </p:spPr>
        <p:txBody>
          <a:bodyPr wrap="square" lIns="0" tIns="0" rIns="0" bIns="0" rtlCol="0">
            <a:noAutofit/>
          </a:bodyPr>
          <a:lstStyle/>
          <a:p>
            <a:endParaRPr/>
          </a:p>
        </p:txBody>
      </p:sp>
      <p:sp>
        <p:nvSpPr>
          <p:cNvPr id="48" name="object 48"/>
          <p:cNvSpPr/>
          <p:nvPr/>
        </p:nvSpPr>
        <p:spPr>
          <a:xfrm>
            <a:off x="2210536" y="2562451"/>
            <a:ext cx="219325" cy="376186"/>
          </a:xfrm>
          <a:custGeom>
            <a:avLst/>
            <a:gdLst/>
            <a:ahLst/>
            <a:cxnLst/>
            <a:rect l="l" t="t" r="r" b="b"/>
            <a:pathLst>
              <a:path w="219325" h="376186">
                <a:moveTo>
                  <a:pt x="187563" y="6748"/>
                </a:moveTo>
                <a:lnTo>
                  <a:pt x="186040" y="0"/>
                </a:lnTo>
                <a:lnTo>
                  <a:pt x="48404" y="2745"/>
                </a:lnTo>
                <a:lnTo>
                  <a:pt x="0" y="32597"/>
                </a:lnTo>
                <a:lnTo>
                  <a:pt x="98320" y="149376"/>
                </a:lnTo>
                <a:lnTo>
                  <a:pt x="207215" y="376186"/>
                </a:lnTo>
                <a:lnTo>
                  <a:pt x="219325" y="374814"/>
                </a:lnTo>
                <a:lnTo>
                  <a:pt x="105886" y="141255"/>
                </a:lnTo>
                <a:lnTo>
                  <a:pt x="13608" y="35342"/>
                </a:lnTo>
                <a:lnTo>
                  <a:pt x="52936" y="9493"/>
                </a:lnTo>
                <a:lnTo>
                  <a:pt x="187563" y="6748"/>
                </a:lnTo>
                <a:close/>
              </a:path>
            </a:pathLst>
          </a:custGeom>
          <a:solidFill>
            <a:srgbClr val="000000"/>
          </a:solidFill>
        </p:spPr>
        <p:txBody>
          <a:bodyPr wrap="square" lIns="0" tIns="0" rIns="0" bIns="0" rtlCol="0">
            <a:noAutofit/>
          </a:bodyPr>
          <a:lstStyle/>
          <a:p>
            <a:endParaRPr/>
          </a:p>
        </p:txBody>
      </p:sp>
      <p:sp>
        <p:nvSpPr>
          <p:cNvPr id="49" name="object 49"/>
          <p:cNvSpPr/>
          <p:nvPr/>
        </p:nvSpPr>
        <p:spPr>
          <a:xfrm>
            <a:off x="3021268" y="2100710"/>
            <a:ext cx="304011" cy="252544"/>
          </a:xfrm>
          <a:custGeom>
            <a:avLst/>
            <a:gdLst/>
            <a:ahLst/>
            <a:cxnLst/>
            <a:rect l="l" t="t" r="r" b="b"/>
            <a:pathLst>
              <a:path w="304011" h="252544">
                <a:moveTo>
                  <a:pt x="284335" y="252544"/>
                </a:moveTo>
                <a:lnTo>
                  <a:pt x="304011" y="187349"/>
                </a:lnTo>
                <a:lnTo>
                  <a:pt x="184555" y="74688"/>
                </a:lnTo>
                <a:lnTo>
                  <a:pt x="1510" y="0"/>
                </a:lnTo>
                <a:lnTo>
                  <a:pt x="0" y="8120"/>
                </a:lnTo>
                <a:lnTo>
                  <a:pt x="178461" y="80064"/>
                </a:lnTo>
                <a:lnTo>
                  <a:pt x="293475" y="187349"/>
                </a:lnTo>
                <a:lnTo>
                  <a:pt x="275321" y="248541"/>
                </a:lnTo>
                <a:lnTo>
                  <a:pt x="284335" y="252544"/>
                </a:lnTo>
                <a:close/>
              </a:path>
            </a:pathLst>
          </a:custGeom>
          <a:solidFill>
            <a:srgbClr val="000000"/>
          </a:solidFill>
        </p:spPr>
        <p:txBody>
          <a:bodyPr wrap="square" lIns="0" tIns="0" rIns="0" bIns="0" rtlCol="0">
            <a:noAutofit/>
          </a:bodyPr>
          <a:lstStyle/>
          <a:p>
            <a:endParaRPr/>
          </a:p>
        </p:txBody>
      </p:sp>
      <p:sp>
        <p:nvSpPr>
          <p:cNvPr id="50" name="object 50"/>
          <p:cNvSpPr/>
          <p:nvPr/>
        </p:nvSpPr>
        <p:spPr>
          <a:xfrm>
            <a:off x="3305603" y="2169909"/>
            <a:ext cx="176963" cy="480841"/>
          </a:xfrm>
          <a:custGeom>
            <a:avLst/>
            <a:gdLst/>
            <a:ahLst/>
            <a:cxnLst/>
            <a:rect l="l" t="t" r="r" b="b"/>
            <a:pathLst>
              <a:path w="176963" h="480841">
                <a:moveTo>
                  <a:pt x="154367" y="99165"/>
                </a:moveTo>
                <a:lnTo>
                  <a:pt x="0" y="0"/>
                </a:lnTo>
                <a:lnTo>
                  <a:pt x="12186" y="16355"/>
                </a:lnTo>
                <a:lnTo>
                  <a:pt x="145226" y="103282"/>
                </a:lnTo>
                <a:lnTo>
                  <a:pt x="166427" y="148118"/>
                </a:lnTo>
                <a:lnTo>
                  <a:pt x="10663" y="471348"/>
                </a:lnTo>
                <a:lnTo>
                  <a:pt x="16630" y="480841"/>
                </a:lnTo>
                <a:lnTo>
                  <a:pt x="176963" y="146745"/>
                </a:lnTo>
                <a:lnTo>
                  <a:pt x="154367" y="99165"/>
                </a:lnTo>
                <a:close/>
              </a:path>
            </a:pathLst>
          </a:custGeom>
          <a:solidFill>
            <a:srgbClr val="000000"/>
          </a:solidFill>
        </p:spPr>
        <p:txBody>
          <a:bodyPr wrap="square" lIns="0" tIns="0" rIns="0" bIns="0" rtlCol="0">
            <a:noAutofit/>
          </a:bodyPr>
          <a:lstStyle/>
          <a:p>
            <a:endParaRPr/>
          </a:p>
        </p:txBody>
      </p:sp>
      <p:sp>
        <p:nvSpPr>
          <p:cNvPr id="51" name="object 51"/>
          <p:cNvSpPr/>
          <p:nvPr/>
        </p:nvSpPr>
        <p:spPr>
          <a:xfrm>
            <a:off x="3272342" y="2599166"/>
            <a:ext cx="48366" cy="46094"/>
          </a:xfrm>
          <a:custGeom>
            <a:avLst/>
            <a:gdLst/>
            <a:ahLst/>
            <a:cxnLst/>
            <a:rect l="l" t="t" r="r" b="b"/>
            <a:pathLst>
              <a:path w="48366" h="46094">
                <a:moveTo>
                  <a:pt x="4570" y="0"/>
                </a:moveTo>
                <a:lnTo>
                  <a:pt x="0" y="2630"/>
                </a:lnTo>
                <a:lnTo>
                  <a:pt x="46843" y="46094"/>
                </a:lnTo>
                <a:lnTo>
                  <a:pt x="48366" y="42090"/>
                </a:lnTo>
                <a:lnTo>
                  <a:pt x="4570" y="0"/>
                </a:lnTo>
                <a:close/>
              </a:path>
            </a:pathLst>
          </a:custGeom>
          <a:solidFill>
            <a:srgbClr val="000000"/>
          </a:solidFill>
        </p:spPr>
        <p:txBody>
          <a:bodyPr wrap="square" lIns="0" tIns="0" rIns="0" bIns="0" rtlCol="0">
            <a:noAutofit/>
          </a:bodyPr>
          <a:lstStyle/>
          <a:p>
            <a:endParaRPr/>
          </a:p>
        </p:txBody>
      </p:sp>
      <p:sp>
        <p:nvSpPr>
          <p:cNvPr id="52" name="object 52"/>
          <p:cNvSpPr/>
          <p:nvPr/>
        </p:nvSpPr>
        <p:spPr>
          <a:xfrm>
            <a:off x="3292019" y="2161788"/>
            <a:ext cx="102826" cy="217316"/>
          </a:xfrm>
          <a:custGeom>
            <a:avLst/>
            <a:gdLst/>
            <a:ahLst/>
            <a:cxnLst/>
            <a:rect l="l" t="t" r="r" b="b"/>
            <a:pathLst>
              <a:path w="102826" h="217316">
                <a:moveTo>
                  <a:pt x="96860" y="115406"/>
                </a:moveTo>
                <a:lnTo>
                  <a:pt x="89243" y="217316"/>
                </a:lnTo>
                <a:lnTo>
                  <a:pt x="96860" y="215944"/>
                </a:lnTo>
                <a:lnTo>
                  <a:pt x="102826" y="114034"/>
                </a:lnTo>
                <a:lnTo>
                  <a:pt x="19676" y="12238"/>
                </a:lnTo>
                <a:lnTo>
                  <a:pt x="0" y="0"/>
                </a:lnTo>
                <a:lnTo>
                  <a:pt x="96860" y="115406"/>
                </a:lnTo>
                <a:close/>
              </a:path>
            </a:pathLst>
          </a:custGeom>
          <a:solidFill>
            <a:srgbClr val="000000"/>
          </a:solidFill>
        </p:spPr>
        <p:txBody>
          <a:bodyPr wrap="square" lIns="0" tIns="0" rIns="0" bIns="0" rtlCol="0">
            <a:noAutofit/>
          </a:bodyPr>
          <a:lstStyle/>
          <a:p>
            <a:endParaRPr/>
          </a:p>
        </p:txBody>
      </p:sp>
      <p:sp>
        <p:nvSpPr>
          <p:cNvPr id="53" name="object 53"/>
          <p:cNvSpPr/>
          <p:nvPr/>
        </p:nvSpPr>
        <p:spPr>
          <a:xfrm>
            <a:off x="3110510" y="2320659"/>
            <a:ext cx="449238" cy="829921"/>
          </a:xfrm>
          <a:custGeom>
            <a:avLst/>
            <a:gdLst/>
            <a:ahLst/>
            <a:cxnLst/>
            <a:rect l="l" t="t" r="r" b="b"/>
            <a:pathLst>
              <a:path w="449238" h="829921">
                <a:moveTo>
                  <a:pt x="37804" y="766098"/>
                </a:moveTo>
                <a:lnTo>
                  <a:pt x="449238" y="1372"/>
                </a:lnTo>
                <a:lnTo>
                  <a:pt x="438575" y="0"/>
                </a:lnTo>
                <a:lnTo>
                  <a:pt x="18140" y="775591"/>
                </a:lnTo>
                <a:lnTo>
                  <a:pt x="0" y="829921"/>
                </a:lnTo>
                <a:lnTo>
                  <a:pt x="393255" y="376301"/>
                </a:lnTo>
                <a:lnTo>
                  <a:pt x="369008" y="365435"/>
                </a:lnTo>
                <a:lnTo>
                  <a:pt x="37804" y="766098"/>
                </a:lnTo>
                <a:close/>
              </a:path>
            </a:pathLst>
          </a:custGeom>
          <a:solidFill>
            <a:srgbClr val="000000"/>
          </a:solidFill>
        </p:spPr>
        <p:txBody>
          <a:bodyPr wrap="square" lIns="0" tIns="0" rIns="0" bIns="0" rtlCol="0">
            <a:noAutofit/>
          </a:bodyPr>
          <a:lstStyle/>
          <a:p>
            <a:endParaRPr/>
          </a:p>
        </p:txBody>
      </p:sp>
      <p:sp>
        <p:nvSpPr>
          <p:cNvPr id="54" name="object 54"/>
          <p:cNvSpPr/>
          <p:nvPr/>
        </p:nvSpPr>
        <p:spPr>
          <a:xfrm>
            <a:off x="3403986" y="2326148"/>
            <a:ext cx="152716" cy="376186"/>
          </a:xfrm>
          <a:custGeom>
            <a:avLst/>
            <a:gdLst/>
            <a:ahLst/>
            <a:cxnLst/>
            <a:rect l="l" t="t" r="r" b="b"/>
            <a:pathLst>
              <a:path w="152716" h="376186">
                <a:moveTo>
                  <a:pt x="18153" y="321857"/>
                </a:moveTo>
                <a:lnTo>
                  <a:pt x="152716" y="0"/>
                </a:lnTo>
                <a:lnTo>
                  <a:pt x="116410" y="65195"/>
                </a:lnTo>
                <a:lnTo>
                  <a:pt x="0" y="328605"/>
                </a:lnTo>
                <a:lnTo>
                  <a:pt x="89243" y="376186"/>
                </a:lnTo>
                <a:lnTo>
                  <a:pt x="102826" y="370810"/>
                </a:lnTo>
                <a:lnTo>
                  <a:pt x="18153" y="321857"/>
                </a:lnTo>
                <a:close/>
              </a:path>
            </a:pathLst>
          </a:custGeom>
          <a:solidFill>
            <a:srgbClr val="000000"/>
          </a:solidFill>
        </p:spPr>
        <p:txBody>
          <a:bodyPr wrap="square" lIns="0" tIns="0" rIns="0" bIns="0" rtlCol="0">
            <a:noAutofit/>
          </a:bodyPr>
          <a:lstStyle/>
          <a:p>
            <a:endParaRPr/>
          </a:p>
        </p:txBody>
      </p:sp>
      <p:sp>
        <p:nvSpPr>
          <p:cNvPr id="55" name="object 55"/>
          <p:cNvSpPr/>
          <p:nvPr/>
        </p:nvSpPr>
        <p:spPr>
          <a:xfrm>
            <a:off x="2239276" y="4708396"/>
            <a:ext cx="219325" cy="101864"/>
          </a:xfrm>
          <a:custGeom>
            <a:avLst/>
            <a:gdLst/>
            <a:ahLst/>
            <a:cxnLst/>
            <a:rect l="l" t="t" r="r" b="b"/>
            <a:pathLst>
              <a:path w="219325" h="101864">
                <a:moveTo>
                  <a:pt x="13608" y="95081"/>
                </a:moveTo>
                <a:lnTo>
                  <a:pt x="34783" y="1361"/>
                </a:lnTo>
                <a:lnTo>
                  <a:pt x="25706" y="0"/>
                </a:lnTo>
                <a:lnTo>
                  <a:pt x="0" y="101864"/>
                </a:lnTo>
                <a:lnTo>
                  <a:pt x="219325" y="96431"/>
                </a:lnTo>
                <a:lnTo>
                  <a:pt x="208725" y="88287"/>
                </a:lnTo>
                <a:lnTo>
                  <a:pt x="13608" y="95081"/>
                </a:lnTo>
                <a:close/>
              </a:path>
            </a:pathLst>
          </a:custGeom>
          <a:solidFill>
            <a:srgbClr val="000000"/>
          </a:solidFill>
        </p:spPr>
        <p:txBody>
          <a:bodyPr wrap="square" lIns="0" tIns="0" rIns="0" bIns="0" rtlCol="0">
            <a:noAutofit/>
          </a:bodyPr>
          <a:lstStyle/>
          <a:p>
            <a:endParaRPr/>
          </a:p>
        </p:txBody>
      </p:sp>
      <p:sp>
        <p:nvSpPr>
          <p:cNvPr id="11" name="object 11"/>
          <p:cNvSpPr txBox="1"/>
          <p:nvPr/>
        </p:nvSpPr>
        <p:spPr>
          <a:xfrm>
            <a:off x="1832375" y="216970"/>
            <a:ext cx="3093204" cy="584707"/>
          </a:xfrm>
          <a:prstGeom prst="rect">
            <a:avLst/>
          </a:prstGeom>
        </p:spPr>
        <p:txBody>
          <a:bodyPr wrap="square" lIns="0" tIns="0" rIns="0" bIns="0" rtlCol="0">
            <a:noAutofit/>
          </a:bodyPr>
          <a:lstStyle/>
          <a:p>
            <a:pPr marL="12700">
              <a:lnSpc>
                <a:spcPts val="4600"/>
              </a:lnSpc>
              <a:spcBef>
                <a:spcPts val="230"/>
              </a:spcBef>
            </a:pPr>
            <a:endParaRPr sz="3200" dirty="0">
              <a:latin typeface="Arial"/>
              <a:cs typeface="Arial"/>
            </a:endParaRPr>
          </a:p>
        </p:txBody>
      </p:sp>
      <p:sp>
        <p:nvSpPr>
          <p:cNvPr id="10" name="object 10"/>
          <p:cNvSpPr txBox="1"/>
          <p:nvPr/>
        </p:nvSpPr>
        <p:spPr>
          <a:xfrm>
            <a:off x="4102355" y="2482231"/>
            <a:ext cx="4956695" cy="384463"/>
          </a:xfrm>
          <a:prstGeom prst="rect">
            <a:avLst/>
          </a:prstGeom>
        </p:spPr>
        <p:txBody>
          <a:bodyPr wrap="square" lIns="0" tIns="0" rIns="0" bIns="0" rtlCol="0">
            <a:noAutofit/>
          </a:bodyPr>
          <a:lstStyle/>
          <a:p>
            <a:pPr marL="355600" indent="-342900">
              <a:lnSpc>
                <a:spcPts val="2150"/>
              </a:lnSpc>
              <a:spcBef>
                <a:spcPts val="107"/>
              </a:spcBef>
              <a:buClr>
                <a:srgbClr val="00B0F0"/>
              </a:buClr>
              <a:buFont typeface="Wingdings" panose="05000000000000000000" pitchFamily="2" charset="2"/>
              <a:buChar char="§"/>
            </a:pPr>
            <a:r>
              <a:rPr sz="2200" b="1" dirty="0">
                <a:cs typeface="Arial"/>
              </a:rPr>
              <a:t>To</a:t>
            </a:r>
            <a:r>
              <a:rPr sz="2200" b="1" spc="-14" dirty="0">
                <a:cs typeface="Arial"/>
              </a:rPr>
              <a:t> </a:t>
            </a:r>
            <a:r>
              <a:rPr sz="2200" b="1" dirty="0">
                <a:cs typeface="Arial"/>
              </a:rPr>
              <a:t>maintain</a:t>
            </a:r>
            <a:r>
              <a:rPr lang="en-US" sz="2200" b="1" dirty="0">
                <a:cs typeface="Arial"/>
              </a:rPr>
              <a:t> the correctness in terms of:</a:t>
            </a:r>
            <a:endParaRPr sz="2200" b="1" dirty="0">
              <a:cs typeface="Arial"/>
            </a:endParaRPr>
          </a:p>
        </p:txBody>
      </p:sp>
      <p:sp>
        <p:nvSpPr>
          <p:cNvPr id="5" name="object 5"/>
          <p:cNvSpPr txBox="1"/>
          <p:nvPr/>
        </p:nvSpPr>
        <p:spPr>
          <a:xfrm>
            <a:off x="4254754" y="3091831"/>
            <a:ext cx="3822446" cy="1984640"/>
          </a:xfrm>
          <a:prstGeom prst="rect">
            <a:avLst/>
          </a:prstGeom>
        </p:spPr>
        <p:txBody>
          <a:bodyPr wrap="square" lIns="0" tIns="0" rIns="0" bIns="0" rtlCol="0">
            <a:noAutofit/>
          </a:bodyPr>
          <a:lstStyle/>
          <a:p>
            <a:pPr marL="355600" marR="43811" indent="-342900">
              <a:lnSpc>
                <a:spcPts val="2150"/>
              </a:lnSpc>
              <a:spcBef>
                <a:spcPts val="107"/>
              </a:spcBef>
              <a:buClr>
                <a:srgbClr val="C00000"/>
              </a:buClr>
              <a:buFont typeface="Wingdings" panose="05000000000000000000" pitchFamily="2" charset="2"/>
              <a:buChar char="§"/>
            </a:pPr>
            <a:r>
              <a:rPr dirty="0">
                <a:cs typeface="Arial"/>
              </a:rPr>
              <a:t>Pric</a:t>
            </a:r>
            <a:r>
              <a:rPr spc="4" dirty="0">
                <a:cs typeface="Arial"/>
              </a:rPr>
              <a:t>e</a:t>
            </a:r>
            <a:r>
              <a:rPr dirty="0">
                <a:cs typeface="Arial"/>
              </a:rPr>
              <a:t>s</a:t>
            </a:r>
          </a:p>
          <a:p>
            <a:pPr marL="355600" marR="43811" indent="-342900">
              <a:lnSpc>
                <a:spcPct val="95825"/>
              </a:lnSpc>
              <a:buClr>
                <a:srgbClr val="C00000"/>
              </a:buClr>
              <a:buFont typeface="Wingdings" panose="05000000000000000000" pitchFamily="2" charset="2"/>
              <a:buChar char="§"/>
            </a:pPr>
            <a:r>
              <a:rPr dirty="0">
                <a:cs typeface="Arial"/>
              </a:rPr>
              <a:t>Taxes</a:t>
            </a:r>
          </a:p>
          <a:p>
            <a:pPr marL="355600" indent="-342900">
              <a:lnSpc>
                <a:spcPct val="95825"/>
              </a:lnSpc>
              <a:spcBef>
                <a:spcPts val="100"/>
              </a:spcBef>
              <a:buClr>
                <a:srgbClr val="C00000"/>
              </a:buClr>
              <a:buFont typeface="Wingdings" panose="05000000000000000000" pitchFamily="2" charset="2"/>
              <a:buChar char="§"/>
            </a:pPr>
            <a:r>
              <a:rPr dirty="0">
                <a:cs typeface="Arial"/>
              </a:rPr>
              <a:t>Terms</a:t>
            </a:r>
            <a:r>
              <a:rPr spc="-19" dirty="0">
                <a:cs typeface="Arial"/>
              </a:rPr>
              <a:t> </a:t>
            </a:r>
            <a:r>
              <a:rPr dirty="0">
                <a:cs typeface="Arial"/>
              </a:rPr>
              <a:t>of</a:t>
            </a:r>
            <a:r>
              <a:rPr spc="-19" dirty="0">
                <a:cs typeface="Arial"/>
              </a:rPr>
              <a:t> </a:t>
            </a:r>
            <a:r>
              <a:rPr spc="-4" dirty="0">
                <a:cs typeface="Arial"/>
              </a:rPr>
              <a:t>P</a:t>
            </a:r>
            <a:r>
              <a:rPr dirty="0">
                <a:cs typeface="Arial"/>
              </a:rPr>
              <a:t>a</a:t>
            </a:r>
            <a:r>
              <a:rPr spc="-4" dirty="0">
                <a:cs typeface="Arial"/>
              </a:rPr>
              <a:t>y</a:t>
            </a:r>
            <a:r>
              <a:rPr dirty="0">
                <a:cs typeface="Arial"/>
              </a:rPr>
              <a:t>ment</a:t>
            </a:r>
          </a:p>
          <a:p>
            <a:pPr marL="355600" marR="43811" indent="-342900">
              <a:lnSpc>
                <a:spcPct val="95825"/>
              </a:lnSpc>
              <a:spcBef>
                <a:spcPts val="100"/>
              </a:spcBef>
              <a:buClr>
                <a:srgbClr val="C00000"/>
              </a:buClr>
              <a:buFont typeface="Wingdings" panose="05000000000000000000" pitchFamily="2" charset="2"/>
              <a:buChar char="§"/>
            </a:pPr>
            <a:r>
              <a:rPr dirty="0">
                <a:cs typeface="Arial"/>
              </a:rPr>
              <a:t>Bi</a:t>
            </a:r>
            <a:r>
              <a:rPr spc="-4" dirty="0">
                <a:cs typeface="Arial"/>
              </a:rPr>
              <a:t>l</a:t>
            </a:r>
            <a:r>
              <a:rPr dirty="0">
                <a:cs typeface="Arial"/>
              </a:rPr>
              <a:t>ling</a:t>
            </a:r>
            <a:r>
              <a:rPr spc="19" dirty="0">
                <a:cs typeface="Arial"/>
              </a:rPr>
              <a:t> </a:t>
            </a:r>
            <a:r>
              <a:rPr dirty="0">
                <a:cs typeface="Arial"/>
              </a:rPr>
              <a:t>intervals</a:t>
            </a:r>
            <a:endParaRPr lang="en-US" dirty="0">
              <a:cs typeface="Arial"/>
            </a:endParaRPr>
          </a:p>
          <a:p>
            <a:pPr marL="355600" indent="-342900">
              <a:lnSpc>
                <a:spcPts val="2150"/>
              </a:lnSpc>
              <a:spcBef>
                <a:spcPts val="107"/>
              </a:spcBef>
              <a:buClr>
                <a:srgbClr val="C00000"/>
              </a:buClr>
              <a:buFont typeface="Wingdings" panose="05000000000000000000" pitchFamily="2" charset="2"/>
              <a:buChar char="§"/>
            </a:pPr>
            <a:r>
              <a:rPr lang="en-US" dirty="0">
                <a:cs typeface="Arial"/>
              </a:rPr>
              <a:t>Including Down Payments</a:t>
            </a:r>
          </a:p>
          <a:p>
            <a:pPr marL="355600" marR="38176" indent="-342900">
              <a:lnSpc>
                <a:spcPct val="95825"/>
              </a:lnSpc>
              <a:buClr>
                <a:srgbClr val="C00000"/>
              </a:buClr>
              <a:buFont typeface="Wingdings" panose="05000000000000000000" pitchFamily="2" charset="2"/>
              <a:buChar char="§"/>
            </a:pPr>
            <a:r>
              <a:rPr lang="en-US" dirty="0">
                <a:cs typeface="Arial"/>
              </a:rPr>
              <a:t>Reporting</a:t>
            </a:r>
          </a:p>
          <a:p>
            <a:pPr marL="355600" marR="38176" indent="-342900">
              <a:lnSpc>
                <a:spcPct val="95825"/>
              </a:lnSpc>
              <a:spcBef>
                <a:spcPts val="100"/>
              </a:spcBef>
              <a:buClr>
                <a:srgbClr val="C00000"/>
              </a:buClr>
              <a:buFont typeface="Wingdings" panose="05000000000000000000" pitchFamily="2" charset="2"/>
              <a:buChar char="§"/>
            </a:pPr>
            <a:r>
              <a:rPr lang="en-US" dirty="0">
                <a:cs typeface="Arial"/>
              </a:rPr>
              <a:t>Cancellation</a:t>
            </a:r>
          </a:p>
          <a:p>
            <a:pPr marL="355600" marR="43811" indent="-342900">
              <a:lnSpc>
                <a:spcPct val="95825"/>
              </a:lnSpc>
              <a:spcBef>
                <a:spcPts val="100"/>
              </a:spcBef>
              <a:buClr>
                <a:srgbClr val="C00000"/>
              </a:buClr>
              <a:buFont typeface="Wingdings" panose="05000000000000000000" pitchFamily="2" charset="2"/>
              <a:buChar char="§"/>
            </a:pPr>
            <a:endParaRPr dirty="0">
              <a:latin typeface="Arial"/>
              <a:cs typeface="Arial"/>
            </a:endParaRPr>
          </a:p>
        </p:txBody>
      </p:sp>
      <p:sp>
        <p:nvSpPr>
          <p:cNvPr id="4" name="object 4"/>
          <p:cNvSpPr txBox="1"/>
          <p:nvPr/>
        </p:nvSpPr>
        <p:spPr>
          <a:xfrm>
            <a:off x="4254700" y="4536425"/>
            <a:ext cx="3974900" cy="889507"/>
          </a:xfrm>
          <a:prstGeom prst="rect">
            <a:avLst/>
          </a:prstGeom>
        </p:spPr>
        <p:txBody>
          <a:bodyPr wrap="square" lIns="0" tIns="0" rIns="0" bIns="0" rtlCol="0">
            <a:noAutofit/>
          </a:bodyPr>
          <a:lstStyle/>
          <a:p>
            <a:pPr marL="355600" indent="-342900">
              <a:lnSpc>
                <a:spcPts val="2150"/>
              </a:lnSpc>
              <a:spcBef>
                <a:spcPts val="107"/>
              </a:spcBef>
              <a:buClr>
                <a:srgbClr val="C00000"/>
              </a:buClr>
              <a:buFont typeface="Wingdings" panose="05000000000000000000" pitchFamily="2" charset="2"/>
              <a:buChar char="§"/>
            </a:pPr>
            <a:endParaRPr dirty="0">
              <a:latin typeface="Arial"/>
              <a:cs typeface="Arial"/>
            </a:endParaRPr>
          </a:p>
        </p:txBody>
      </p:sp>
      <p:sp>
        <p:nvSpPr>
          <p:cNvPr id="2" name="Title 1"/>
          <p:cNvSpPr>
            <a:spLocks noGrp="1"/>
          </p:cNvSpPr>
          <p:nvPr>
            <p:ph type="title"/>
          </p:nvPr>
        </p:nvSpPr>
        <p:spPr>
          <a:xfrm>
            <a:off x="227350" y="-30480"/>
            <a:ext cx="11125236" cy="720000"/>
          </a:xfrm>
        </p:spPr>
        <p:txBody>
          <a:bodyPr/>
          <a:lstStyle/>
          <a:p>
            <a:r>
              <a:rPr lang="en-US" sz="2400" dirty="0">
                <a:latin typeface="Arial"/>
                <a:cs typeface="Arial"/>
              </a:rPr>
              <a:t>Challenges</a:t>
            </a:r>
            <a:br>
              <a:rPr lang="en-US" sz="2800" dirty="0">
                <a:latin typeface="Arial"/>
                <a:cs typeface="Arial"/>
              </a:rPr>
            </a:b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object 135"/>
          <p:cNvSpPr/>
          <p:nvPr/>
        </p:nvSpPr>
        <p:spPr>
          <a:xfrm>
            <a:off x="9770999" y="5073650"/>
            <a:ext cx="76200" cy="477774"/>
          </a:xfrm>
          <a:custGeom>
            <a:avLst/>
            <a:gdLst/>
            <a:ahLst/>
            <a:cxnLst/>
            <a:rect l="l" t="t" r="r" b="b"/>
            <a:pathLst>
              <a:path w="76200" h="477774">
                <a:moveTo>
                  <a:pt x="76200" y="350774"/>
                </a:moveTo>
                <a:lnTo>
                  <a:pt x="50800" y="384640"/>
                </a:lnTo>
                <a:lnTo>
                  <a:pt x="38100" y="401574"/>
                </a:lnTo>
                <a:lnTo>
                  <a:pt x="25400" y="401574"/>
                </a:lnTo>
                <a:lnTo>
                  <a:pt x="25400" y="384640"/>
                </a:lnTo>
                <a:lnTo>
                  <a:pt x="0" y="350774"/>
                </a:lnTo>
                <a:lnTo>
                  <a:pt x="38100" y="477774"/>
                </a:lnTo>
                <a:lnTo>
                  <a:pt x="50800" y="401574"/>
                </a:lnTo>
                <a:lnTo>
                  <a:pt x="76200" y="350774"/>
                </a:lnTo>
                <a:close/>
              </a:path>
              <a:path w="76200" h="477774">
                <a:moveTo>
                  <a:pt x="38100" y="401574"/>
                </a:moveTo>
                <a:lnTo>
                  <a:pt x="50800" y="384640"/>
                </a:lnTo>
                <a:lnTo>
                  <a:pt x="50800" y="0"/>
                </a:lnTo>
                <a:lnTo>
                  <a:pt x="25400" y="0"/>
                </a:lnTo>
                <a:lnTo>
                  <a:pt x="25400" y="401574"/>
                </a:lnTo>
                <a:lnTo>
                  <a:pt x="38100" y="401574"/>
                </a:lnTo>
                <a:close/>
              </a:path>
              <a:path w="76200" h="477774">
                <a:moveTo>
                  <a:pt x="50800" y="401574"/>
                </a:moveTo>
                <a:lnTo>
                  <a:pt x="38100" y="477774"/>
                </a:lnTo>
                <a:lnTo>
                  <a:pt x="76200" y="350774"/>
                </a:lnTo>
                <a:lnTo>
                  <a:pt x="50800" y="401574"/>
                </a:lnTo>
                <a:close/>
              </a:path>
            </a:pathLst>
          </a:custGeom>
          <a:solidFill>
            <a:srgbClr val="000000"/>
          </a:solidFill>
        </p:spPr>
        <p:txBody>
          <a:bodyPr wrap="square" lIns="0" tIns="0" rIns="0" bIns="0" rtlCol="0">
            <a:noAutofit/>
          </a:bodyPr>
          <a:lstStyle/>
          <a:p>
            <a:endParaRPr/>
          </a:p>
        </p:txBody>
      </p:sp>
      <p:sp>
        <p:nvSpPr>
          <p:cNvPr id="136" name="object 136"/>
          <p:cNvSpPr/>
          <p:nvPr/>
        </p:nvSpPr>
        <p:spPr>
          <a:xfrm>
            <a:off x="9494955" y="4486275"/>
            <a:ext cx="1028352" cy="657348"/>
          </a:xfrm>
          <a:custGeom>
            <a:avLst/>
            <a:gdLst/>
            <a:ahLst/>
            <a:cxnLst/>
            <a:rect l="l" t="t" r="r" b="b"/>
            <a:pathLst>
              <a:path w="1028352" h="657348">
                <a:moveTo>
                  <a:pt x="0" y="657348"/>
                </a:moveTo>
                <a:lnTo>
                  <a:pt x="1028352" y="657348"/>
                </a:lnTo>
                <a:lnTo>
                  <a:pt x="1028352" y="0"/>
                </a:lnTo>
                <a:lnTo>
                  <a:pt x="0" y="0"/>
                </a:lnTo>
                <a:lnTo>
                  <a:pt x="0" y="657348"/>
                </a:lnTo>
                <a:close/>
              </a:path>
            </a:pathLst>
          </a:custGeom>
          <a:solidFill>
            <a:srgbClr val="FFFFFF"/>
          </a:solidFill>
        </p:spPr>
        <p:txBody>
          <a:bodyPr wrap="square" lIns="0" tIns="0" rIns="0" bIns="0" rtlCol="0">
            <a:noAutofit/>
          </a:bodyPr>
          <a:lstStyle/>
          <a:p>
            <a:endParaRPr/>
          </a:p>
        </p:txBody>
      </p:sp>
      <p:sp>
        <p:nvSpPr>
          <p:cNvPr id="137" name="object 137"/>
          <p:cNvSpPr/>
          <p:nvPr/>
        </p:nvSpPr>
        <p:spPr>
          <a:xfrm>
            <a:off x="9494956" y="4486279"/>
            <a:ext cx="1028355" cy="657345"/>
          </a:xfrm>
          <a:custGeom>
            <a:avLst/>
            <a:gdLst/>
            <a:ahLst/>
            <a:cxnLst/>
            <a:rect l="l" t="t" r="r" b="b"/>
            <a:pathLst>
              <a:path w="1028355" h="657345">
                <a:moveTo>
                  <a:pt x="1028355" y="657345"/>
                </a:moveTo>
                <a:lnTo>
                  <a:pt x="0" y="657345"/>
                </a:lnTo>
                <a:lnTo>
                  <a:pt x="0" y="0"/>
                </a:lnTo>
                <a:lnTo>
                  <a:pt x="1028355" y="0"/>
                </a:lnTo>
                <a:lnTo>
                  <a:pt x="1028355" y="657345"/>
                </a:lnTo>
              </a:path>
            </a:pathLst>
          </a:custGeom>
          <a:ln w="771">
            <a:solidFill>
              <a:srgbClr val="000000"/>
            </a:solidFill>
          </a:ln>
        </p:spPr>
        <p:txBody>
          <a:bodyPr wrap="square" lIns="0" tIns="0" rIns="0" bIns="0" rtlCol="0">
            <a:noAutofit/>
          </a:bodyPr>
          <a:lstStyle/>
          <a:p>
            <a:endParaRPr/>
          </a:p>
        </p:txBody>
      </p:sp>
      <p:sp>
        <p:nvSpPr>
          <p:cNvPr id="138" name="object 138"/>
          <p:cNvSpPr/>
          <p:nvPr/>
        </p:nvSpPr>
        <p:spPr>
          <a:xfrm>
            <a:off x="10175662" y="4487015"/>
            <a:ext cx="347648" cy="298125"/>
          </a:xfrm>
          <a:custGeom>
            <a:avLst/>
            <a:gdLst/>
            <a:ahLst/>
            <a:cxnLst/>
            <a:rect l="l" t="t" r="r" b="b"/>
            <a:pathLst>
              <a:path w="347648" h="298125">
                <a:moveTo>
                  <a:pt x="347648" y="298125"/>
                </a:moveTo>
                <a:lnTo>
                  <a:pt x="347648" y="290028"/>
                </a:lnTo>
                <a:lnTo>
                  <a:pt x="346789" y="281931"/>
                </a:lnTo>
                <a:lnTo>
                  <a:pt x="345931" y="274570"/>
                </a:lnTo>
                <a:lnTo>
                  <a:pt x="344214" y="266472"/>
                </a:lnTo>
                <a:lnTo>
                  <a:pt x="341639" y="259111"/>
                </a:lnTo>
                <a:lnTo>
                  <a:pt x="339922" y="251014"/>
                </a:lnTo>
                <a:lnTo>
                  <a:pt x="336489" y="243653"/>
                </a:lnTo>
                <a:lnTo>
                  <a:pt x="333913" y="237028"/>
                </a:lnTo>
                <a:lnTo>
                  <a:pt x="329622" y="229667"/>
                </a:lnTo>
                <a:lnTo>
                  <a:pt x="325330" y="223042"/>
                </a:lnTo>
                <a:lnTo>
                  <a:pt x="321038" y="216417"/>
                </a:lnTo>
                <a:lnTo>
                  <a:pt x="316746" y="209792"/>
                </a:lnTo>
                <a:lnTo>
                  <a:pt x="311595" y="203903"/>
                </a:lnTo>
                <a:lnTo>
                  <a:pt x="305587" y="198014"/>
                </a:lnTo>
                <a:lnTo>
                  <a:pt x="299578" y="192861"/>
                </a:lnTo>
                <a:lnTo>
                  <a:pt x="293569" y="187708"/>
                </a:lnTo>
                <a:lnTo>
                  <a:pt x="284127" y="181083"/>
                </a:lnTo>
                <a:lnTo>
                  <a:pt x="273826" y="175194"/>
                </a:lnTo>
                <a:lnTo>
                  <a:pt x="268676" y="172250"/>
                </a:lnTo>
                <a:lnTo>
                  <a:pt x="263525" y="170042"/>
                </a:lnTo>
                <a:lnTo>
                  <a:pt x="252366" y="165625"/>
                </a:lnTo>
                <a:lnTo>
                  <a:pt x="241207" y="162680"/>
                </a:lnTo>
                <a:lnTo>
                  <a:pt x="228331" y="159736"/>
                </a:lnTo>
                <a:lnTo>
                  <a:pt x="222323" y="159000"/>
                </a:lnTo>
                <a:lnTo>
                  <a:pt x="216314" y="158264"/>
                </a:lnTo>
                <a:lnTo>
                  <a:pt x="209447" y="158264"/>
                </a:lnTo>
                <a:lnTo>
                  <a:pt x="202580" y="158264"/>
                </a:lnTo>
                <a:lnTo>
                  <a:pt x="163094" y="158264"/>
                </a:lnTo>
                <a:lnTo>
                  <a:pt x="163094" y="124403"/>
                </a:lnTo>
                <a:lnTo>
                  <a:pt x="163094" y="117778"/>
                </a:lnTo>
                <a:lnTo>
                  <a:pt x="162235" y="111889"/>
                </a:lnTo>
                <a:lnTo>
                  <a:pt x="161377" y="106000"/>
                </a:lnTo>
                <a:lnTo>
                  <a:pt x="160519" y="100111"/>
                </a:lnTo>
                <a:lnTo>
                  <a:pt x="158802" y="94222"/>
                </a:lnTo>
                <a:lnTo>
                  <a:pt x="157085" y="89069"/>
                </a:lnTo>
                <a:lnTo>
                  <a:pt x="154510" y="83180"/>
                </a:lnTo>
                <a:lnTo>
                  <a:pt x="152793" y="78027"/>
                </a:lnTo>
                <a:lnTo>
                  <a:pt x="149359" y="72875"/>
                </a:lnTo>
                <a:lnTo>
                  <a:pt x="146784" y="67722"/>
                </a:lnTo>
                <a:lnTo>
                  <a:pt x="143351" y="63305"/>
                </a:lnTo>
                <a:lnTo>
                  <a:pt x="139917" y="58152"/>
                </a:lnTo>
                <a:lnTo>
                  <a:pt x="136484" y="53736"/>
                </a:lnTo>
                <a:lnTo>
                  <a:pt x="132192" y="49319"/>
                </a:lnTo>
                <a:lnTo>
                  <a:pt x="123608" y="41222"/>
                </a:lnTo>
                <a:lnTo>
                  <a:pt x="117599" y="36805"/>
                </a:lnTo>
                <a:lnTo>
                  <a:pt x="110732" y="31652"/>
                </a:lnTo>
                <a:lnTo>
                  <a:pt x="104723" y="27972"/>
                </a:lnTo>
                <a:lnTo>
                  <a:pt x="97856" y="23555"/>
                </a:lnTo>
                <a:lnTo>
                  <a:pt x="90131" y="19875"/>
                </a:lnTo>
                <a:lnTo>
                  <a:pt x="83263" y="16194"/>
                </a:lnTo>
                <a:lnTo>
                  <a:pt x="75538" y="13250"/>
                </a:lnTo>
                <a:lnTo>
                  <a:pt x="67812" y="10305"/>
                </a:lnTo>
                <a:lnTo>
                  <a:pt x="59228" y="8097"/>
                </a:lnTo>
                <a:lnTo>
                  <a:pt x="51503" y="5888"/>
                </a:lnTo>
                <a:lnTo>
                  <a:pt x="42919" y="3680"/>
                </a:lnTo>
                <a:lnTo>
                  <a:pt x="34335" y="2208"/>
                </a:lnTo>
                <a:lnTo>
                  <a:pt x="25751" y="1472"/>
                </a:lnTo>
                <a:lnTo>
                  <a:pt x="17167" y="736"/>
                </a:lnTo>
                <a:lnTo>
                  <a:pt x="8583" y="0"/>
                </a:lnTo>
                <a:lnTo>
                  <a:pt x="0" y="0"/>
                </a:lnTo>
              </a:path>
            </a:pathLst>
          </a:custGeom>
          <a:ln w="787">
            <a:solidFill>
              <a:srgbClr val="000000"/>
            </a:solidFill>
          </a:ln>
        </p:spPr>
        <p:txBody>
          <a:bodyPr wrap="square" lIns="0" tIns="0" rIns="0" bIns="0" rtlCol="0">
            <a:noAutofit/>
          </a:bodyPr>
          <a:lstStyle/>
          <a:p>
            <a:endParaRPr/>
          </a:p>
        </p:txBody>
      </p:sp>
      <p:sp>
        <p:nvSpPr>
          <p:cNvPr id="139" name="object 139"/>
          <p:cNvSpPr/>
          <p:nvPr/>
        </p:nvSpPr>
        <p:spPr>
          <a:xfrm>
            <a:off x="10323305" y="4548848"/>
            <a:ext cx="145068" cy="125139"/>
          </a:xfrm>
          <a:custGeom>
            <a:avLst/>
            <a:gdLst/>
            <a:ahLst/>
            <a:cxnLst/>
            <a:rect l="l" t="t" r="r" b="b"/>
            <a:pathLst>
              <a:path w="145068" h="125139">
                <a:moveTo>
                  <a:pt x="0" y="0"/>
                </a:moveTo>
                <a:lnTo>
                  <a:pt x="145068" y="125139"/>
                </a:lnTo>
              </a:path>
            </a:pathLst>
          </a:custGeom>
          <a:ln w="788">
            <a:solidFill>
              <a:srgbClr val="000000"/>
            </a:solidFill>
          </a:ln>
        </p:spPr>
        <p:txBody>
          <a:bodyPr wrap="square" lIns="0" tIns="0" rIns="0" bIns="0" rtlCol="0">
            <a:noAutofit/>
          </a:bodyPr>
          <a:lstStyle/>
          <a:p>
            <a:endParaRPr/>
          </a:p>
        </p:txBody>
      </p:sp>
      <p:sp>
        <p:nvSpPr>
          <p:cNvPr id="140" name="object 140"/>
          <p:cNvSpPr/>
          <p:nvPr/>
        </p:nvSpPr>
        <p:spPr>
          <a:xfrm>
            <a:off x="9035797" y="5571744"/>
            <a:ext cx="1519427" cy="726948"/>
          </a:xfrm>
          <a:prstGeom prst="rect">
            <a:avLst/>
          </a:prstGeom>
          <a:blipFill>
            <a:blip r:embed="rId2" cstate="print"/>
            <a:stretch>
              <a:fillRect/>
            </a:stretch>
          </a:blipFill>
        </p:spPr>
        <p:txBody>
          <a:bodyPr wrap="square" lIns="0" tIns="0" rIns="0" bIns="0" rtlCol="0">
            <a:noAutofit/>
          </a:bodyPr>
          <a:lstStyle/>
          <a:p>
            <a:endParaRPr/>
          </a:p>
        </p:txBody>
      </p:sp>
      <p:sp>
        <p:nvSpPr>
          <p:cNvPr id="141" name="object 141"/>
          <p:cNvSpPr/>
          <p:nvPr/>
        </p:nvSpPr>
        <p:spPr>
          <a:xfrm>
            <a:off x="9025002" y="5561012"/>
            <a:ext cx="1490599" cy="698500"/>
          </a:xfrm>
          <a:custGeom>
            <a:avLst/>
            <a:gdLst/>
            <a:ahLst/>
            <a:cxnLst/>
            <a:rect l="l" t="t" r="r" b="b"/>
            <a:pathLst>
              <a:path w="1490599" h="698500">
                <a:moveTo>
                  <a:pt x="0" y="698500"/>
                </a:moveTo>
                <a:lnTo>
                  <a:pt x="1490599" y="698500"/>
                </a:lnTo>
                <a:lnTo>
                  <a:pt x="1490599" y="0"/>
                </a:lnTo>
                <a:lnTo>
                  <a:pt x="0" y="0"/>
                </a:lnTo>
                <a:lnTo>
                  <a:pt x="0" y="698500"/>
                </a:lnTo>
                <a:close/>
              </a:path>
            </a:pathLst>
          </a:custGeom>
          <a:solidFill>
            <a:srgbClr val="F8DAA2"/>
          </a:solidFill>
        </p:spPr>
        <p:txBody>
          <a:bodyPr wrap="square" lIns="0" tIns="0" rIns="0" bIns="0" rtlCol="0">
            <a:noAutofit/>
          </a:bodyPr>
          <a:lstStyle/>
          <a:p>
            <a:endParaRPr/>
          </a:p>
        </p:txBody>
      </p:sp>
      <p:sp>
        <p:nvSpPr>
          <p:cNvPr id="142" name="object 142"/>
          <p:cNvSpPr/>
          <p:nvPr/>
        </p:nvSpPr>
        <p:spPr>
          <a:xfrm>
            <a:off x="9025002" y="5561012"/>
            <a:ext cx="1490599" cy="698500"/>
          </a:xfrm>
          <a:custGeom>
            <a:avLst/>
            <a:gdLst/>
            <a:ahLst/>
            <a:cxnLst/>
            <a:rect l="l" t="t" r="r" b="b"/>
            <a:pathLst>
              <a:path w="1490599" h="698500">
                <a:moveTo>
                  <a:pt x="0" y="698500"/>
                </a:moveTo>
                <a:lnTo>
                  <a:pt x="1490599" y="698500"/>
                </a:lnTo>
                <a:lnTo>
                  <a:pt x="1490599" y="0"/>
                </a:lnTo>
                <a:lnTo>
                  <a:pt x="0" y="0"/>
                </a:lnTo>
                <a:lnTo>
                  <a:pt x="0" y="698500"/>
                </a:lnTo>
                <a:close/>
              </a:path>
            </a:pathLst>
          </a:custGeom>
          <a:ln w="25400">
            <a:solidFill>
              <a:srgbClr val="000000"/>
            </a:solidFill>
          </a:ln>
        </p:spPr>
        <p:txBody>
          <a:bodyPr wrap="square" lIns="0" tIns="0" rIns="0" bIns="0" rtlCol="0">
            <a:noAutofit/>
          </a:bodyPr>
          <a:lstStyle/>
          <a:p>
            <a:endParaRPr/>
          </a:p>
        </p:txBody>
      </p:sp>
      <p:sp>
        <p:nvSpPr>
          <p:cNvPr id="143" name="object 143"/>
          <p:cNvSpPr/>
          <p:nvPr/>
        </p:nvSpPr>
        <p:spPr>
          <a:xfrm>
            <a:off x="9372601" y="5670550"/>
            <a:ext cx="649351" cy="0"/>
          </a:xfrm>
          <a:custGeom>
            <a:avLst/>
            <a:gdLst/>
            <a:ahLst/>
            <a:cxnLst/>
            <a:rect l="l" t="t" r="r" b="b"/>
            <a:pathLst>
              <a:path w="649351">
                <a:moveTo>
                  <a:pt x="0" y="0"/>
                </a:moveTo>
                <a:lnTo>
                  <a:pt x="649351" y="0"/>
                </a:lnTo>
              </a:path>
            </a:pathLst>
          </a:custGeom>
          <a:ln w="25400">
            <a:solidFill>
              <a:srgbClr val="000000"/>
            </a:solidFill>
          </a:ln>
        </p:spPr>
        <p:txBody>
          <a:bodyPr wrap="square" lIns="0" tIns="0" rIns="0" bIns="0" rtlCol="0">
            <a:noAutofit/>
          </a:bodyPr>
          <a:lstStyle/>
          <a:p>
            <a:endParaRPr/>
          </a:p>
        </p:txBody>
      </p:sp>
      <p:sp>
        <p:nvSpPr>
          <p:cNvPr id="144" name="object 144"/>
          <p:cNvSpPr/>
          <p:nvPr/>
        </p:nvSpPr>
        <p:spPr>
          <a:xfrm>
            <a:off x="9677400" y="5670551"/>
            <a:ext cx="0" cy="300037"/>
          </a:xfrm>
          <a:custGeom>
            <a:avLst/>
            <a:gdLst/>
            <a:ahLst/>
            <a:cxnLst/>
            <a:rect l="l" t="t" r="r" b="b"/>
            <a:pathLst>
              <a:path h="300037">
                <a:moveTo>
                  <a:pt x="0" y="0"/>
                </a:moveTo>
                <a:lnTo>
                  <a:pt x="0" y="300037"/>
                </a:lnTo>
              </a:path>
            </a:pathLst>
          </a:custGeom>
          <a:ln w="25400">
            <a:solidFill>
              <a:srgbClr val="000000"/>
            </a:solidFill>
          </a:ln>
        </p:spPr>
        <p:txBody>
          <a:bodyPr wrap="square" lIns="0" tIns="0" rIns="0" bIns="0" rtlCol="0">
            <a:noAutofit/>
          </a:bodyPr>
          <a:lstStyle/>
          <a:p>
            <a:endParaRPr/>
          </a:p>
        </p:txBody>
      </p:sp>
      <p:sp>
        <p:nvSpPr>
          <p:cNvPr id="145" name="object 145"/>
          <p:cNvSpPr/>
          <p:nvPr/>
        </p:nvSpPr>
        <p:spPr>
          <a:xfrm>
            <a:off x="9559926" y="6029325"/>
            <a:ext cx="650875" cy="0"/>
          </a:xfrm>
          <a:custGeom>
            <a:avLst/>
            <a:gdLst/>
            <a:ahLst/>
            <a:cxnLst/>
            <a:rect l="l" t="t" r="r" b="b"/>
            <a:pathLst>
              <a:path w="650875">
                <a:moveTo>
                  <a:pt x="0" y="0"/>
                </a:moveTo>
                <a:lnTo>
                  <a:pt x="650875" y="0"/>
                </a:lnTo>
              </a:path>
            </a:pathLst>
          </a:custGeom>
          <a:ln w="25400">
            <a:solidFill>
              <a:srgbClr val="000000"/>
            </a:solidFill>
          </a:ln>
        </p:spPr>
        <p:txBody>
          <a:bodyPr wrap="square" lIns="0" tIns="0" rIns="0" bIns="0" rtlCol="0">
            <a:noAutofit/>
          </a:bodyPr>
          <a:lstStyle/>
          <a:p>
            <a:endParaRPr/>
          </a:p>
        </p:txBody>
      </p:sp>
      <p:sp>
        <p:nvSpPr>
          <p:cNvPr id="146" name="object 146"/>
          <p:cNvSpPr/>
          <p:nvPr/>
        </p:nvSpPr>
        <p:spPr>
          <a:xfrm>
            <a:off x="9906000" y="6029326"/>
            <a:ext cx="0" cy="179387"/>
          </a:xfrm>
          <a:custGeom>
            <a:avLst/>
            <a:gdLst/>
            <a:ahLst/>
            <a:cxnLst/>
            <a:rect l="l" t="t" r="r" b="b"/>
            <a:pathLst>
              <a:path h="179387">
                <a:moveTo>
                  <a:pt x="0" y="0"/>
                </a:moveTo>
                <a:lnTo>
                  <a:pt x="0" y="179387"/>
                </a:lnTo>
              </a:path>
            </a:pathLst>
          </a:custGeom>
          <a:ln w="25400">
            <a:solidFill>
              <a:srgbClr val="000000"/>
            </a:solidFill>
          </a:ln>
        </p:spPr>
        <p:txBody>
          <a:bodyPr wrap="square" lIns="0" tIns="0" rIns="0" bIns="0" rtlCol="0">
            <a:noAutofit/>
          </a:bodyPr>
          <a:lstStyle/>
          <a:p>
            <a:endParaRPr/>
          </a:p>
        </p:txBody>
      </p:sp>
      <p:sp>
        <p:nvSpPr>
          <p:cNvPr id="147" name="object 147"/>
          <p:cNvSpPr/>
          <p:nvPr/>
        </p:nvSpPr>
        <p:spPr>
          <a:xfrm>
            <a:off x="8375832" y="4509710"/>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751">
            <a:solidFill>
              <a:srgbClr val="000000"/>
            </a:solidFill>
          </a:ln>
        </p:spPr>
        <p:txBody>
          <a:bodyPr wrap="square" lIns="0" tIns="0" rIns="0" bIns="0" rtlCol="0">
            <a:noAutofit/>
          </a:bodyPr>
          <a:lstStyle/>
          <a:p>
            <a:endParaRPr/>
          </a:p>
        </p:txBody>
      </p:sp>
      <p:sp>
        <p:nvSpPr>
          <p:cNvPr id="148" name="object 148"/>
          <p:cNvSpPr/>
          <p:nvPr/>
        </p:nvSpPr>
        <p:spPr>
          <a:xfrm>
            <a:off x="9056538" y="4510420"/>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770">
            <a:solidFill>
              <a:srgbClr val="000000"/>
            </a:solidFill>
          </a:ln>
        </p:spPr>
        <p:txBody>
          <a:bodyPr wrap="square" lIns="0" tIns="0" rIns="0" bIns="0" rtlCol="0">
            <a:noAutofit/>
          </a:bodyPr>
          <a:lstStyle/>
          <a:p>
            <a:endParaRPr/>
          </a:p>
        </p:txBody>
      </p:sp>
      <p:sp>
        <p:nvSpPr>
          <p:cNvPr id="149" name="object 149"/>
          <p:cNvSpPr/>
          <p:nvPr/>
        </p:nvSpPr>
        <p:spPr>
          <a:xfrm>
            <a:off x="9204181" y="4570086"/>
            <a:ext cx="145068" cy="120752"/>
          </a:xfrm>
          <a:custGeom>
            <a:avLst/>
            <a:gdLst/>
            <a:ahLst/>
            <a:cxnLst/>
            <a:rect l="l" t="t" r="r" b="b"/>
            <a:pathLst>
              <a:path w="145068" h="120752">
                <a:moveTo>
                  <a:pt x="0" y="0"/>
                </a:moveTo>
                <a:lnTo>
                  <a:pt x="145068" y="120752"/>
                </a:lnTo>
              </a:path>
            </a:pathLst>
          </a:custGeom>
          <a:ln w="770">
            <a:solidFill>
              <a:srgbClr val="000000"/>
            </a:solidFill>
          </a:ln>
        </p:spPr>
        <p:txBody>
          <a:bodyPr wrap="square" lIns="0" tIns="0" rIns="0" bIns="0" rtlCol="0">
            <a:noAutofit/>
          </a:bodyPr>
          <a:lstStyle/>
          <a:p>
            <a:endParaRPr/>
          </a:p>
        </p:txBody>
      </p:sp>
      <p:sp>
        <p:nvSpPr>
          <p:cNvPr id="150" name="object 150"/>
          <p:cNvSpPr/>
          <p:nvPr/>
        </p:nvSpPr>
        <p:spPr>
          <a:xfrm>
            <a:off x="9375776" y="4714875"/>
            <a:ext cx="144525" cy="179324"/>
          </a:xfrm>
          <a:prstGeom prst="rect">
            <a:avLst/>
          </a:prstGeom>
          <a:blipFill>
            <a:blip r:embed="rId3" cstate="print"/>
            <a:stretch>
              <a:fillRect/>
            </a:stretch>
          </a:blipFill>
        </p:spPr>
        <p:txBody>
          <a:bodyPr wrap="square" lIns="0" tIns="0" rIns="0" bIns="0" rtlCol="0">
            <a:noAutofit/>
          </a:bodyPr>
          <a:lstStyle/>
          <a:p>
            <a:endParaRPr/>
          </a:p>
        </p:txBody>
      </p:sp>
      <p:sp>
        <p:nvSpPr>
          <p:cNvPr id="151" name="object 151"/>
          <p:cNvSpPr/>
          <p:nvPr/>
        </p:nvSpPr>
        <p:spPr>
          <a:xfrm>
            <a:off x="8498078" y="4495801"/>
            <a:ext cx="745998" cy="617601"/>
          </a:xfrm>
          <a:custGeom>
            <a:avLst/>
            <a:gdLst/>
            <a:ahLst/>
            <a:cxnLst/>
            <a:rect l="l" t="t" r="r" b="b"/>
            <a:pathLst>
              <a:path w="745998" h="617601">
                <a:moveTo>
                  <a:pt x="0" y="308737"/>
                </a:moveTo>
                <a:lnTo>
                  <a:pt x="1236" y="283426"/>
                </a:lnTo>
                <a:lnTo>
                  <a:pt x="4882" y="258676"/>
                </a:lnTo>
                <a:lnTo>
                  <a:pt x="10840" y="234568"/>
                </a:lnTo>
                <a:lnTo>
                  <a:pt x="19016" y="211181"/>
                </a:lnTo>
                <a:lnTo>
                  <a:pt x="29313" y="188594"/>
                </a:lnTo>
                <a:lnTo>
                  <a:pt x="41634" y="166888"/>
                </a:lnTo>
                <a:lnTo>
                  <a:pt x="55885" y="146141"/>
                </a:lnTo>
                <a:lnTo>
                  <a:pt x="71969" y="126434"/>
                </a:lnTo>
                <a:lnTo>
                  <a:pt x="89790" y="107845"/>
                </a:lnTo>
                <a:lnTo>
                  <a:pt x="109251" y="90455"/>
                </a:lnTo>
                <a:lnTo>
                  <a:pt x="130258" y="74344"/>
                </a:lnTo>
                <a:lnTo>
                  <a:pt x="152713" y="59590"/>
                </a:lnTo>
                <a:lnTo>
                  <a:pt x="176522" y="46274"/>
                </a:lnTo>
                <a:lnTo>
                  <a:pt x="201587" y="34475"/>
                </a:lnTo>
                <a:lnTo>
                  <a:pt x="227814" y="24272"/>
                </a:lnTo>
                <a:lnTo>
                  <a:pt x="255105" y="15746"/>
                </a:lnTo>
                <a:lnTo>
                  <a:pt x="283365" y="8977"/>
                </a:lnTo>
                <a:lnTo>
                  <a:pt x="312498" y="4042"/>
                </a:lnTo>
                <a:lnTo>
                  <a:pt x="342408" y="1024"/>
                </a:lnTo>
                <a:lnTo>
                  <a:pt x="372999" y="0"/>
                </a:lnTo>
                <a:lnTo>
                  <a:pt x="403589" y="1024"/>
                </a:lnTo>
                <a:lnTo>
                  <a:pt x="433499" y="4042"/>
                </a:lnTo>
                <a:lnTo>
                  <a:pt x="462632" y="8977"/>
                </a:lnTo>
                <a:lnTo>
                  <a:pt x="490892" y="15746"/>
                </a:lnTo>
                <a:lnTo>
                  <a:pt x="518183" y="24272"/>
                </a:lnTo>
                <a:lnTo>
                  <a:pt x="544410" y="34475"/>
                </a:lnTo>
                <a:lnTo>
                  <a:pt x="569475" y="46274"/>
                </a:lnTo>
                <a:lnTo>
                  <a:pt x="593284" y="59590"/>
                </a:lnTo>
                <a:lnTo>
                  <a:pt x="615739" y="74344"/>
                </a:lnTo>
                <a:lnTo>
                  <a:pt x="636746" y="90455"/>
                </a:lnTo>
                <a:lnTo>
                  <a:pt x="656207" y="107845"/>
                </a:lnTo>
                <a:lnTo>
                  <a:pt x="674028" y="126434"/>
                </a:lnTo>
                <a:lnTo>
                  <a:pt x="690112" y="146141"/>
                </a:lnTo>
                <a:lnTo>
                  <a:pt x="704363" y="166888"/>
                </a:lnTo>
                <a:lnTo>
                  <a:pt x="716684" y="188594"/>
                </a:lnTo>
                <a:lnTo>
                  <a:pt x="726981" y="211181"/>
                </a:lnTo>
                <a:lnTo>
                  <a:pt x="735157" y="234568"/>
                </a:lnTo>
                <a:lnTo>
                  <a:pt x="741115" y="258676"/>
                </a:lnTo>
                <a:lnTo>
                  <a:pt x="744761" y="283426"/>
                </a:lnTo>
                <a:lnTo>
                  <a:pt x="745998" y="308737"/>
                </a:lnTo>
                <a:lnTo>
                  <a:pt x="744761" y="334065"/>
                </a:lnTo>
                <a:lnTo>
                  <a:pt x="741115" y="358831"/>
                </a:lnTo>
                <a:lnTo>
                  <a:pt x="735157" y="382954"/>
                </a:lnTo>
                <a:lnTo>
                  <a:pt x="726981" y="406354"/>
                </a:lnTo>
                <a:lnTo>
                  <a:pt x="716684" y="428952"/>
                </a:lnTo>
                <a:lnTo>
                  <a:pt x="704363" y="450669"/>
                </a:lnTo>
                <a:lnTo>
                  <a:pt x="690112" y="471424"/>
                </a:lnTo>
                <a:lnTo>
                  <a:pt x="674028" y="491139"/>
                </a:lnTo>
                <a:lnTo>
                  <a:pt x="656207" y="509734"/>
                </a:lnTo>
                <a:lnTo>
                  <a:pt x="636746" y="527129"/>
                </a:lnTo>
                <a:lnTo>
                  <a:pt x="615739" y="543245"/>
                </a:lnTo>
                <a:lnTo>
                  <a:pt x="593284" y="558002"/>
                </a:lnTo>
                <a:lnTo>
                  <a:pt x="569475" y="571321"/>
                </a:lnTo>
                <a:lnTo>
                  <a:pt x="544410" y="583122"/>
                </a:lnTo>
                <a:lnTo>
                  <a:pt x="518183" y="593326"/>
                </a:lnTo>
                <a:lnTo>
                  <a:pt x="490892" y="601852"/>
                </a:lnTo>
                <a:lnTo>
                  <a:pt x="462632" y="608623"/>
                </a:lnTo>
                <a:lnTo>
                  <a:pt x="433499" y="613557"/>
                </a:lnTo>
                <a:lnTo>
                  <a:pt x="403589" y="616576"/>
                </a:lnTo>
                <a:lnTo>
                  <a:pt x="372999" y="617601"/>
                </a:lnTo>
                <a:lnTo>
                  <a:pt x="342408" y="616576"/>
                </a:lnTo>
                <a:lnTo>
                  <a:pt x="312498" y="613557"/>
                </a:lnTo>
                <a:lnTo>
                  <a:pt x="283365" y="608623"/>
                </a:lnTo>
                <a:lnTo>
                  <a:pt x="255105" y="601852"/>
                </a:lnTo>
                <a:lnTo>
                  <a:pt x="227814" y="593326"/>
                </a:lnTo>
                <a:lnTo>
                  <a:pt x="201587" y="583122"/>
                </a:lnTo>
                <a:lnTo>
                  <a:pt x="176522" y="571321"/>
                </a:lnTo>
                <a:lnTo>
                  <a:pt x="152713" y="558002"/>
                </a:lnTo>
                <a:lnTo>
                  <a:pt x="130258" y="543245"/>
                </a:lnTo>
                <a:lnTo>
                  <a:pt x="109251" y="527129"/>
                </a:lnTo>
                <a:lnTo>
                  <a:pt x="89790" y="509734"/>
                </a:lnTo>
                <a:lnTo>
                  <a:pt x="71969" y="491139"/>
                </a:lnTo>
                <a:lnTo>
                  <a:pt x="55885" y="471424"/>
                </a:lnTo>
                <a:lnTo>
                  <a:pt x="41634" y="450669"/>
                </a:lnTo>
                <a:lnTo>
                  <a:pt x="29313" y="428952"/>
                </a:lnTo>
                <a:lnTo>
                  <a:pt x="19016" y="406354"/>
                </a:lnTo>
                <a:lnTo>
                  <a:pt x="10840" y="382954"/>
                </a:lnTo>
                <a:lnTo>
                  <a:pt x="4882" y="358831"/>
                </a:lnTo>
                <a:lnTo>
                  <a:pt x="1236" y="334065"/>
                </a:lnTo>
                <a:lnTo>
                  <a:pt x="0" y="308737"/>
                </a:lnTo>
                <a:close/>
              </a:path>
            </a:pathLst>
          </a:custGeom>
          <a:ln w="50799">
            <a:solidFill>
              <a:srgbClr val="000000"/>
            </a:solidFill>
          </a:ln>
        </p:spPr>
        <p:txBody>
          <a:bodyPr wrap="square" lIns="0" tIns="0" rIns="0" bIns="0" rtlCol="0">
            <a:noAutofit/>
          </a:bodyPr>
          <a:lstStyle/>
          <a:p>
            <a:endParaRPr/>
          </a:p>
        </p:txBody>
      </p:sp>
      <p:sp>
        <p:nvSpPr>
          <p:cNvPr id="96" name="object 96"/>
          <p:cNvSpPr/>
          <p:nvPr/>
        </p:nvSpPr>
        <p:spPr>
          <a:xfrm>
            <a:off x="5970524" y="5132324"/>
            <a:ext cx="76200" cy="419100"/>
          </a:xfrm>
          <a:custGeom>
            <a:avLst/>
            <a:gdLst/>
            <a:ahLst/>
            <a:cxnLst/>
            <a:rect l="l" t="t" r="r" b="b"/>
            <a:pathLst>
              <a:path w="76200" h="419100">
                <a:moveTo>
                  <a:pt x="76200" y="292100"/>
                </a:moveTo>
                <a:lnTo>
                  <a:pt x="50800" y="325966"/>
                </a:lnTo>
                <a:lnTo>
                  <a:pt x="38100" y="342900"/>
                </a:lnTo>
                <a:lnTo>
                  <a:pt x="25400" y="342900"/>
                </a:lnTo>
                <a:lnTo>
                  <a:pt x="25400" y="325966"/>
                </a:lnTo>
                <a:lnTo>
                  <a:pt x="0" y="292100"/>
                </a:lnTo>
                <a:lnTo>
                  <a:pt x="38100" y="419100"/>
                </a:lnTo>
                <a:lnTo>
                  <a:pt x="50800" y="342900"/>
                </a:lnTo>
                <a:lnTo>
                  <a:pt x="76200" y="292100"/>
                </a:lnTo>
                <a:close/>
              </a:path>
              <a:path w="76200" h="419100">
                <a:moveTo>
                  <a:pt x="38100" y="342900"/>
                </a:moveTo>
                <a:lnTo>
                  <a:pt x="50800" y="325966"/>
                </a:lnTo>
                <a:lnTo>
                  <a:pt x="50800" y="0"/>
                </a:lnTo>
                <a:lnTo>
                  <a:pt x="25400" y="0"/>
                </a:lnTo>
                <a:lnTo>
                  <a:pt x="25400" y="342900"/>
                </a:lnTo>
                <a:lnTo>
                  <a:pt x="38100" y="342900"/>
                </a:lnTo>
                <a:close/>
              </a:path>
              <a:path w="76200" h="419100">
                <a:moveTo>
                  <a:pt x="50800" y="342900"/>
                </a:moveTo>
                <a:lnTo>
                  <a:pt x="38100" y="419100"/>
                </a:lnTo>
                <a:lnTo>
                  <a:pt x="76200" y="292100"/>
                </a:lnTo>
                <a:lnTo>
                  <a:pt x="50800" y="342900"/>
                </a:lnTo>
                <a:close/>
              </a:path>
            </a:pathLst>
          </a:custGeom>
          <a:solidFill>
            <a:srgbClr val="000000"/>
          </a:solidFill>
        </p:spPr>
        <p:txBody>
          <a:bodyPr wrap="square" lIns="0" tIns="0" rIns="0" bIns="0" rtlCol="0">
            <a:noAutofit/>
          </a:bodyPr>
          <a:lstStyle/>
          <a:p>
            <a:endParaRPr/>
          </a:p>
        </p:txBody>
      </p:sp>
      <p:sp>
        <p:nvSpPr>
          <p:cNvPr id="97" name="object 97"/>
          <p:cNvSpPr/>
          <p:nvPr/>
        </p:nvSpPr>
        <p:spPr>
          <a:xfrm>
            <a:off x="5485057" y="4509708"/>
            <a:ext cx="0" cy="634303"/>
          </a:xfrm>
          <a:custGeom>
            <a:avLst/>
            <a:gdLst/>
            <a:ahLst/>
            <a:cxnLst/>
            <a:rect l="l" t="t" r="r" b="b"/>
            <a:pathLst>
              <a:path h="634303">
                <a:moveTo>
                  <a:pt x="0" y="634303"/>
                </a:moveTo>
                <a:lnTo>
                  <a:pt x="0" y="0"/>
                </a:lnTo>
                <a:lnTo>
                  <a:pt x="0" y="634303"/>
                </a:lnTo>
                <a:close/>
              </a:path>
            </a:pathLst>
          </a:custGeom>
          <a:solidFill>
            <a:srgbClr val="FFFFFF"/>
          </a:solidFill>
        </p:spPr>
        <p:txBody>
          <a:bodyPr wrap="square" lIns="0" tIns="0" rIns="0" bIns="0" rtlCol="0">
            <a:noAutofit/>
          </a:bodyPr>
          <a:lstStyle/>
          <a:p>
            <a:endParaRPr/>
          </a:p>
        </p:txBody>
      </p:sp>
      <p:sp>
        <p:nvSpPr>
          <p:cNvPr id="98" name="object 98"/>
          <p:cNvSpPr/>
          <p:nvPr/>
        </p:nvSpPr>
        <p:spPr>
          <a:xfrm>
            <a:off x="5485057" y="4509708"/>
            <a:ext cx="1028352" cy="634303"/>
          </a:xfrm>
          <a:custGeom>
            <a:avLst/>
            <a:gdLst/>
            <a:ahLst/>
            <a:cxnLst/>
            <a:rect l="l" t="t" r="r" b="b"/>
            <a:pathLst>
              <a:path w="1028352" h="634303">
                <a:moveTo>
                  <a:pt x="0" y="634303"/>
                </a:moveTo>
                <a:lnTo>
                  <a:pt x="1028352" y="634303"/>
                </a:lnTo>
                <a:lnTo>
                  <a:pt x="1028352" y="0"/>
                </a:lnTo>
                <a:lnTo>
                  <a:pt x="0" y="0"/>
                </a:lnTo>
                <a:lnTo>
                  <a:pt x="0" y="634303"/>
                </a:lnTo>
                <a:close/>
              </a:path>
            </a:pathLst>
          </a:custGeom>
          <a:solidFill>
            <a:srgbClr val="FFFFFF"/>
          </a:solidFill>
        </p:spPr>
        <p:txBody>
          <a:bodyPr wrap="square" lIns="0" tIns="0" rIns="0" bIns="0" rtlCol="0">
            <a:noAutofit/>
          </a:bodyPr>
          <a:lstStyle/>
          <a:p>
            <a:endParaRPr/>
          </a:p>
        </p:txBody>
      </p:sp>
      <p:sp>
        <p:nvSpPr>
          <p:cNvPr id="99" name="object 99"/>
          <p:cNvSpPr/>
          <p:nvPr/>
        </p:nvSpPr>
        <p:spPr>
          <a:xfrm>
            <a:off x="5485058" y="4509710"/>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751">
            <a:solidFill>
              <a:srgbClr val="000000"/>
            </a:solidFill>
          </a:ln>
        </p:spPr>
        <p:txBody>
          <a:bodyPr wrap="square" lIns="0" tIns="0" rIns="0" bIns="0" rtlCol="0">
            <a:noAutofit/>
          </a:bodyPr>
          <a:lstStyle/>
          <a:p>
            <a:endParaRPr/>
          </a:p>
        </p:txBody>
      </p:sp>
      <p:sp>
        <p:nvSpPr>
          <p:cNvPr id="100" name="object 100"/>
          <p:cNvSpPr/>
          <p:nvPr/>
        </p:nvSpPr>
        <p:spPr>
          <a:xfrm>
            <a:off x="6165764" y="4510420"/>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770">
            <a:solidFill>
              <a:srgbClr val="000000"/>
            </a:solidFill>
          </a:ln>
        </p:spPr>
        <p:txBody>
          <a:bodyPr wrap="square" lIns="0" tIns="0" rIns="0" bIns="0" rtlCol="0">
            <a:noAutofit/>
          </a:bodyPr>
          <a:lstStyle/>
          <a:p>
            <a:endParaRPr/>
          </a:p>
        </p:txBody>
      </p:sp>
      <p:sp>
        <p:nvSpPr>
          <p:cNvPr id="101" name="object 101"/>
          <p:cNvSpPr/>
          <p:nvPr/>
        </p:nvSpPr>
        <p:spPr>
          <a:xfrm>
            <a:off x="6313407" y="4570086"/>
            <a:ext cx="145068" cy="120752"/>
          </a:xfrm>
          <a:custGeom>
            <a:avLst/>
            <a:gdLst/>
            <a:ahLst/>
            <a:cxnLst/>
            <a:rect l="l" t="t" r="r" b="b"/>
            <a:pathLst>
              <a:path w="145068" h="120752">
                <a:moveTo>
                  <a:pt x="0" y="0"/>
                </a:moveTo>
                <a:lnTo>
                  <a:pt x="145068" y="120752"/>
                </a:lnTo>
              </a:path>
            </a:pathLst>
          </a:custGeom>
          <a:ln w="770">
            <a:solidFill>
              <a:srgbClr val="000000"/>
            </a:solidFill>
          </a:ln>
        </p:spPr>
        <p:txBody>
          <a:bodyPr wrap="square" lIns="0" tIns="0" rIns="0" bIns="0" rtlCol="0">
            <a:noAutofit/>
          </a:bodyPr>
          <a:lstStyle/>
          <a:p>
            <a:endParaRPr/>
          </a:p>
        </p:txBody>
      </p:sp>
      <p:sp>
        <p:nvSpPr>
          <p:cNvPr id="102" name="object 102"/>
          <p:cNvSpPr/>
          <p:nvPr/>
        </p:nvSpPr>
        <p:spPr>
          <a:xfrm>
            <a:off x="5497067" y="5571744"/>
            <a:ext cx="1248156" cy="792480"/>
          </a:xfrm>
          <a:prstGeom prst="rect">
            <a:avLst/>
          </a:prstGeom>
          <a:blipFill>
            <a:blip r:embed="rId4" cstate="print"/>
            <a:stretch>
              <a:fillRect/>
            </a:stretch>
          </a:blipFill>
        </p:spPr>
        <p:txBody>
          <a:bodyPr wrap="square" lIns="0" tIns="0" rIns="0" bIns="0" rtlCol="0">
            <a:noAutofit/>
          </a:bodyPr>
          <a:lstStyle/>
          <a:p>
            <a:endParaRPr/>
          </a:p>
        </p:txBody>
      </p:sp>
      <p:sp>
        <p:nvSpPr>
          <p:cNvPr id="103" name="object 103"/>
          <p:cNvSpPr/>
          <p:nvPr/>
        </p:nvSpPr>
        <p:spPr>
          <a:xfrm>
            <a:off x="5486400"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solidFill>
            <a:srgbClr val="F8DAA2"/>
          </a:solidFill>
        </p:spPr>
        <p:txBody>
          <a:bodyPr wrap="square" lIns="0" tIns="0" rIns="0" bIns="0" rtlCol="0">
            <a:noAutofit/>
          </a:bodyPr>
          <a:lstStyle/>
          <a:p>
            <a:endParaRPr/>
          </a:p>
        </p:txBody>
      </p:sp>
      <p:sp>
        <p:nvSpPr>
          <p:cNvPr id="104" name="object 104"/>
          <p:cNvSpPr/>
          <p:nvPr/>
        </p:nvSpPr>
        <p:spPr>
          <a:xfrm>
            <a:off x="5486400"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ln w="25400">
            <a:solidFill>
              <a:srgbClr val="000000"/>
            </a:solidFill>
          </a:ln>
        </p:spPr>
        <p:txBody>
          <a:bodyPr wrap="square" lIns="0" tIns="0" rIns="0" bIns="0" rtlCol="0">
            <a:noAutofit/>
          </a:bodyPr>
          <a:lstStyle/>
          <a:p>
            <a:endParaRPr/>
          </a:p>
        </p:txBody>
      </p:sp>
      <p:sp>
        <p:nvSpPr>
          <p:cNvPr id="105" name="object 105"/>
          <p:cNvSpPr/>
          <p:nvPr/>
        </p:nvSpPr>
        <p:spPr>
          <a:xfrm>
            <a:off x="5646802" y="5670550"/>
            <a:ext cx="650875" cy="0"/>
          </a:xfrm>
          <a:custGeom>
            <a:avLst/>
            <a:gdLst/>
            <a:ahLst/>
            <a:cxnLst/>
            <a:rect l="l" t="t" r="r" b="b"/>
            <a:pathLst>
              <a:path w="650875">
                <a:moveTo>
                  <a:pt x="0" y="0"/>
                </a:moveTo>
                <a:lnTo>
                  <a:pt x="650875" y="0"/>
                </a:lnTo>
              </a:path>
            </a:pathLst>
          </a:custGeom>
          <a:ln w="25400">
            <a:solidFill>
              <a:srgbClr val="000000"/>
            </a:solidFill>
          </a:ln>
        </p:spPr>
        <p:txBody>
          <a:bodyPr wrap="square" lIns="0" tIns="0" rIns="0" bIns="0" rtlCol="0">
            <a:noAutofit/>
          </a:bodyPr>
          <a:lstStyle/>
          <a:p>
            <a:endParaRPr/>
          </a:p>
        </p:txBody>
      </p:sp>
      <p:sp>
        <p:nvSpPr>
          <p:cNvPr id="106" name="object 106"/>
          <p:cNvSpPr/>
          <p:nvPr/>
        </p:nvSpPr>
        <p:spPr>
          <a:xfrm>
            <a:off x="5972175" y="5670551"/>
            <a:ext cx="0" cy="300037"/>
          </a:xfrm>
          <a:custGeom>
            <a:avLst/>
            <a:gdLst/>
            <a:ahLst/>
            <a:cxnLst/>
            <a:rect l="l" t="t" r="r" b="b"/>
            <a:pathLst>
              <a:path h="300037">
                <a:moveTo>
                  <a:pt x="0" y="0"/>
                </a:moveTo>
                <a:lnTo>
                  <a:pt x="0" y="300037"/>
                </a:lnTo>
              </a:path>
            </a:pathLst>
          </a:custGeom>
          <a:ln w="25400">
            <a:solidFill>
              <a:srgbClr val="000000"/>
            </a:solidFill>
          </a:ln>
        </p:spPr>
        <p:txBody>
          <a:bodyPr wrap="square" lIns="0" tIns="0" rIns="0" bIns="0" rtlCol="0">
            <a:noAutofit/>
          </a:bodyPr>
          <a:lstStyle/>
          <a:p>
            <a:endParaRPr/>
          </a:p>
        </p:txBody>
      </p:sp>
      <p:sp>
        <p:nvSpPr>
          <p:cNvPr id="107" name="object 107"/>
          <p:cNvSpPr/>
          <p:nvPr/>
        </p:nvSpPr>
        <p:spPr>
          <a:xfrm>
            <a:off x="5864226" y="6029325"/>
            <a:ext cx="649351" cy="0"/>
          </a:xfrm>
          <a:custGeom>
            <a:avLst/>
            <a:gdLst/>
            <a:ahLst/>
            <a:cxnLst/>
            <a:rect l="l" t="t" r="r" b="b"/>
            <a:pathLst>
              <a:path w="649351">
                <a:moveTo>
                  <a:pt x="0" y="0"/>
                </a:moveTo>
                <a:lnTo>
                  <a:pt x="649351" y="0"/>
                </a:lnTo>
              </a:path>
            </a:pathLst>
          </a:custGeom>
          <a:ln w="25400">
            <a:solidFill>
              <a:srgbClr val="000000"/>
            </a:solidFill>
          </a:ln>
        </p:spPr>
        <p:txBody>
          <a:bodyPr wrap="square" lIns="0" tIns="0" rIns="0" bIns="0" rtlCol="0">
            <a:noAutofit/>
          </a:bodyPr>
          <a:lstStyle/>
          <a:p>
            <a:endParaRPr/>
          </a:p>
        </p:txBody>
      </p:sp>
      <p:sp>
        <p:nvSpPr>
          <p:cNvPr id="108" name="object 108"/>
          <p:cNvSpPr/>
          <p:nvPr/>
        </p:nvSpPr>
        <p:spPr>
          <a:xfrm>
            <a:off x="6188075" y="6029326"/>
            <a:ext cx="0" cy="179387"/>
          </a:xfrm>
          <a:custGeom>
            <a:avLst/>
            <a:gdLst/>
            <a:ahLst/>
            <a:cxnLst/>
            <a:rect l="l" t="t" r="r" b="b"/>
            <a:pathLst>
              <a:path h="179387">
                <a:moveTo>
                  <a:pt x="0" y="0"/>
                </a:moveTo>
                <a:lnTo>
                  <a:pt x="0" y="179387"/>
                </a:lnTo>
              </a:path>
            </a:pathLst>
          </a:custGeom>
          <a:ln w="25400">
            <a:solidFill>
              <a:srgbClr val="000000"/>
            </a:solidFill>
          </a:ln>
        </p:spPr>
        <p:txBody>
          <a:bodyPr wrap="square" lIns="0" tIns="0" rIns="0" bIns="0" rtlCol="0">
            <a:noAutofit/>
          </a:bodyPr>
          <a:lstStyle/>
          <a:p>
            <a:endParaRPr/>
          </a:p>
        </p:txBody>
      </p:sp>
      <p:sp>
        <p:nvSpPr>
          <p:cNvPr id="109" name="object 109"/>
          <p:cNvSpPr/>
          <p:nvPr/>
        </p:nvSpPr>
        <p:spPr>
          <a:xfrm>
            <a:off x="5486327" y="2596709"/>
            <a:ext cx="1139861" cy="634300"/>
          </a:xfrm>
          <a:custGeom>
            <a:avLst/>
            <a:gdLst/>
            <a:ahLst/>
            <a:cxnLst/>
            <a:rect l="l" t="t" r="r" b="b"/>
            <a:pathLst>
              <a:path w="1139861" h="634300">
                <a:moveTo>
                  <a:pt x="1139861" y="634300"/>
                </a:moveTo>
                <a:lnTo>
                  <a:pt x="0" y="634300"/>
                </a:lnTo>
                <a:lnTo>
                  <a:pt x="0" y="0"/>
                </a:lnTo>
                <a:lnTo>
                  <a:pt x="1139861" y="0"/>
                </a:lnTo>
                <a:lnTo>
                  <a:pt x="1139861" y="634300"/>
                </a:lnTo>
              </a:path>
            </a:pathLst>
          </a:custGeom>
          <a:ln w="767">
            <a:solidFill>
              <a:srgbClr val="000000"/>
            </a:solidFill>
          </a:ln>
        </p:spPr>
        <p:txBody>
          <a:bodyPr wrap="square" lIns="0" tIns="0" rIns="0" bIns="0" rtlCol="0">
            <a:noAutofit/>
          </a:bodyPr>
          <a:lstStyle/>
          <a:p>
            <a:endParaRPr/>
          </a:p>
        </p:txBody>
      </p:sp>
      <p:sp>
        <p:nvSpPr>
          <p:cNvPr id="110" name="object 110"/>
          <p:cNvSpPr/>
          <p:nvPr/>
        </p:nvSpPr>
        <p:spPr>
          <a:xfrm>
            <a:off x="6240844" y="2597419"/>
            <a:ext cx="385344" cy="287674"/>
          </a:xfrm>
          <a:custGeom>
            <a:avLst/>
            <a:gdLst/>
            <a:ahLst/>
            <a:cxnLst/>
            <a:rect l="l" t="t" r="r" b="b"/>
            <a:pathLst>
              <a:path w="385344" h="287674">
                <a:moveTo>
                  <a:pt x="385344" y="287674"/>
                </a:moveTo>
                <a:lnTo>
                  <a:pt x="385344" y="279860"/>
                </a:lnTo>
                <a:lnTo>
                  <a:pt x="384392" y="272047"/>
                </a:lnTo>
                <a:lnTo>
                  <a:pt x="383441" y="264944"/>
                </a:lnTo>
                <a:lnTo>
                  <a:pt x="381538" y="257130"/>
                </a:lnTo>
                <a:lnTo>
                  <a:pt x="378684" y="250027"/>
                </a:lnTo>
                <a:lnTo>
                  <a:pt x="376781" y="242214"/>
                </a:lnTo>
                <a:lnTo>
                  <a:pt x="372975" y="235111"/>
                </a:lnTo>
                <a:lnTo>
                  <a:pt x="370120" y="228718"/>
                </a:lnTo>
                <a:lnTo>
                  <a:pt x="365363" y="221615"/>
                </a:lnTo>
                <a:lnTo>
                  <a:pt x="360606" y="215222"/>
                </a:lnTo>
                <a:lnTo>
                  <a:pt x="355848" y="208830"/>
                </a:lnTo>
                <a:lnTo>
                  <a:pt x="351091" y="202437"/>
                </a:lnTo>
                <a:lnTo>
                  <a:pt x="345382" y="196754"/>
                </a:lnTo>
                <a:lnTo>
                  <a:pt x="338722" y="191072"/>
                </a:lnTo>
                <a:lnTo>
                  <a:pt x="332062" y="186100"/>
                </a:lnTo>
                <a:lnTo>
                  <a:pt x="325401" y="181128"/>
                </a:lnTo>
                <a:lnTo>
                  <a:pt x="314935" y="174735"/>
                </a:lnTo>
                <a:lnTo>
                  <a:pt x="303518" y="169052"/>
                </a:lnTo>
                <a:lnTo>
                  <a:pt x="297809" y="166211"/>
                </a:lnTo>
                <a:lnTo>
                  <a:pt x="292100" y="164080"/>
                </a:lnTo>
                <a:lnTo>
                  <a:pt x="279731" y="159818"/>
                </a:lnTo>
                <a:lnTo>
                  <a:pt x="267362" y="156977"/>
                </a:lnTo>
                <a:lnTo>
                  <a:pt x="253090" y="154136"/>
                </a:lnTo>
                <a:lnTo>
                  <a:pt x="246430" y="153426"/>
                </a:lnTo>
                <a:lnTo>
                  <a:pt x="239769" y="152715"/>
                </a:lnTo>
                <a:lnTo>
                  <a:pt x="232158" y="152715"/>
                </a:lnTo>
                <a:lnTo>
                  <a:pt x="224546" y="152715"/>
                </a:lnTo>
                <a:lnTo>
                  <a:pt x="180778" y="152715"/>
                </a:lnTo>
                <a:lnTo>
                  <a:pt x="180778" y="120041"/>
                </a:lnTo>
                <a:lnTo>
                  <a:pt x="180778" y="113649"/>
                </a:lnTo>
                <a:lnTo>
                  <a:pt x="179827" y="107966"/>
                </a:lnTo>
                <a:lnTo>
                  <a:pt x="178875" y="102284"/>
                </a:lnTo>
                <a:lnTo>
                  <a:pt x="177924" y="96601"/>
                </a:lnTo>
                <a:lnTo>
                  <a:pt x="176021" y="90919"/>
                </a:lnTo>
                <a:lnTo>
                  <a:pt x="174118" y="85947"/>
                </a:lnTo>
                <a:lnTo>
                  <a:pt x="171264" y="80264"/>
                </a:lnTo>
                <a:lnTo>
                  <a:pt x="169361" y="75292"/>
                </a:lnTo>
                <a:lnTo>
                  <a:pt x="165555" y="70320"/>
                </a:lnTo>
                <a:lnTo>
                  <a:pt x="162700" y="65348"/>
                </a:lnTo>
                <a:lnTo>
                  <a:pt x="158895" y="61086"/>
                </a:lnTo>
                <a:lnTo>
                  <a:pt x="155089" y="56114"/>
                </a:lnTo>
                <a:lnTo>
                  <a:pt x="151283" y="51852"/>
                </a:lnTo>
                <a:lnTo>
                  <a:pt x="146525" y="47590"/>
                </a:lnTo>
                <a:lnTo>
                  <a:pt x="137011" y="39777"/>
                </a:lnTo>
                <a:lnTo>
                  <a:pt x="130351" y="35515"/>
                </a:lnTo>
                <a:lnTo>
                  <a:pt x="122739" y="30543"/>
                </a:lnTo>
                <a:lnTo>
                  <a:pt x="116079" y="26991"/>
                </a:lnTo>
                <a:lnTo>
                  <a:pt x="108467" y="22729"/>
                </a:lnTo>
                <a:lnTo>
                  <a:pt x="99904" y="19178"/>
                </a:lnTo>
                <a:lnTo>
                  <a:pt x="92292" y="15626"/>
                </a:lnTo>
                <a:lnTo>
                  <a:pt x="83729" y="12785"/>
                </a:lnTo>
                <a:lnTo>
                  <a:pt x="75165" y="9944"/>
                </a:lnTo>
                <a:lnTo>
                  <a:pt x="65651" y="7813"/>
                </a:lnTo>
                <a:lnTo>
                  <a:pt x="57088" y="5682"/>
                </a:lnTo>
                <a:lnTo>
                  <a:pt x="47573" y="3551"/>
                </a:lnTo>
                <a:lnTo>
                  <a:pt x="38058" y="2130"/>
                </a:lnTo>
                <a:lnTo>
                  <a:pt x="28544" y="1420"/>
                </a:lnTo>
                <a:lnTo>
                  <a:pt x="19029" y="710"/>
                </a:lnTo>
                <a:lnTo>
                  <a:pt x="9514" y="0"/>
                </a:lnTo>
                <a:lnTo>
                  <a:pt x="0" y="0"/>
                </a:lnTo>
              </a:path>
            </a:pathLst>
          </a:custGeom>
          <a:ln w="796">
            <a:solidFill>
              <a:srgbClr val="000000"/>
            </a:solidFill>
          </a:ln>
        </p:spPr>
        <p:txBody>
          <a:bodyPr wrap="square" lIns="0" tIns="0" rIns="0" bIns="0" rtlCol="0">
            <a:noAutofit/>
          </a:bodyPr>
          <a:lstStyle/>
          <a:p>
            <a:endParaRPr/>
          </a:p>
        </p:txBody>
      </p:sp>
      <p:sp>
        <p:nvSpPr>
          <p:cNvPr id="111" name="object 111"/>
          <p:cNvSpPr/>
          <p:nvPr/>
        </p:nvSpPr>
        <p:spPr>
          <a:xfrm>
            <a:off x="6404497" y="2657085"/>
            <a:ext cx="160797" cy="120752"/>
          </a:xfrm>
          <a:custGeom>
            <a:avLst/>
            <a:gdLst/>
            <a:ahLst/>
            <a:cxnLst/>
            <a:rect l="l" t="t" r="r" b="b"/>
            <a:pathLst>
              <a:path w="160797" h="120752">
                <a:moveTo>
                  <a:pt x="0" y="0"/>
                </a:moveTo>
                <a:lnTo>
                  <a:pt x="160797" y="120752"/>
                </a:lnTo>
              </a:path>
            </a:pathLst>
          </a:custGeom>
          <a:ln w="797">
            <a:solidFill>
              <a:srgbClr val="000000"/>
            </a:solidFill>
          </a:ln>
        </p:spPr>
        <p:txBody>
          <a:bodyPr wrap="square" lIns="0" tIns="0" rIns="0" bIns="0" rtlCol="0">
            <a:noAutofit/>
          </a:bodyPr>
          <a:lstStyle/>
          <a:p>
            <a:endParaRPr/>
          </a:p>
        </p:txBody>
      </p:sp>
      <p:sp>
        <p:nvSpPr>
          <p:cNvPr id="112" name="object 112"/>
          <p:cNvSpPr/>
          <p:nvPr/>
        </p:nvSpPr>
        <p:spPr>
          <a:xfrm>
            <a:off x="5970524" y="3220974"/>
            <a:ext cx="76200" cy="1314450"/>
          </a:xfrm>
          <a:custGeom>
            <a:avLst/>
            <a:gdLst/>
            <a:ahLst/>
            <a:cxnLst/>
            <a:rect l="l" t="t" r="r" b="b"/>
            <a:pathLst>
              <a:path w="76200" h="1314450">
                <a:moveTo>
                  <a:pt x="76200" y="1187450"/>
                </a:moveTo>
                <a:lnTo>
                  <a:pt x="50800" y="1221316"/>
                </a:lnTo>
                <a:lnTo>
                  <a:pt x="38100" y="1238250"/>
                </a:lnTo>
                <a:lnTo>
                  <a:pt x="25400" y="1238250"/>
                </a:lnTo>
                <a:lnTo>
                  <a:pt x="25400" y="1221316"/>
                </a:lnTo>
                <a:lnTo>
                  <a:pt x="0" y="1187450"/>
                </a:lnTo>
                <a:lnTo>
                  <a:pt x="38100" y="1314450"/>
                </a:lnTo>
                <a:lnTo>
                  <a:pt x="50800" y="1238250"/>
                </a:lnTo>
                <a:lnTo>
                  <a:pt x="76200" y="1187450"/>
                </a:lnTo>
                <a:close/>
              </a:path>
              <a:path w="76200" h="1314450">
                <a:moveTo>
                  <a:pt x="38100" y="1238250"/>
                </a:moveTo>
                <a:lnTo>
                  <a:pt x="50800" y="1221316"/>
                </a:lnTo>
                <a:lnTo>
                  <a:pt x="50800" y="0"/>
                </a:lnTo>
                <a:lnTo>
                  <a:pt x="25400" y="0"/>
                </a:lnTo>
                <a:lnTo>
                  <a:pt x="25400" y="1238250"/>
                </a:lnTo>
                <a:lnTo>
                  <a:pt x="38100" y="1238250"/>
                </a:lnTo>
                <a:close/>
              </a:path>
              <a:path w="76200" h="1314450">
                <a:moveTo>
                  <a:pt x="50800" y="1238250"/>
                </a:moveTo>
                <a:lnTo>
                  <a:pt x="38100" y="1314450"/>
                </a:lnTo>
                <a:lnTo>
                  <a:pt x="76200" y="1187450"/>
                </a:lnTo>
                <a:lnTo>
                  <a:pt x="50800" y="1238250"/>
                </a:lnTo>
                <a:close/>
              </a:path>
            </a:pathLst>
          </a:custGeom>
          <a:solidFill>
            <a:srgbClr val="000000"/>
          </a:solidFill>
        </p:spPr>
        <p:txBody>
          <a:bodyPr wrap="square" lIns="0" tIns="0" rIns="0" bIns="0" rtlCol="0">
            <a:noAutofit/>
          </a:bodyPr>
          <a:lstStyle/>
          <a:p>
            <a:endParaRPr/>
          </a:p>
        </p:txBody>
      </p:sp>
      <p:sp>
        <p:nvSpPr>
          <p:cNvPr id="113" name="object 113"/>
          <p:cNvSpPr/>
          <p:nvPr/>
        </p:nvSpPr>
        <p:spPr>
          <a:xfrm>
            <a:off x="5280026" y="2438400"/>
            <a:ext cx="301625" cy="249300"/>
          </a:xfrm>
          <a:custGeom>
            <a:avLst/>
            <a:gdLst/>
            <a:ahLst/>
            <a:cxnLst/>
            <a:rect l="l" t="t" r="r" b="b"/>
            <a:pathLst>
              <a:path w="301625" h="249300">
                <a:moveTo>
                  <a:pt x="0" y="124587"/>
                </a:moveTo>
                <a:lnTo>
                  <a:pt x="144" y="130094"/>
                </a:lnTo>
                <a:lnTo>
                  <a:pt x="1664" y="143160"/>
                </a:lnTo>
                <a:lnTo>
                  <a:pt x="4769" y="155801"/>
                </a:lnTo>
                <a:lnTo>
                  <a:pt x="9377" y="167944"/>
                </a:lnTo>
                <a:lnTo>
                  <a:pt x="15400" y="179520"/>
                </a:lnTo>
                <a:lnTo>
                  <a:pt x="22756" y="190458"/>
                </a:lnTo>
                <a:lnTo>
                  <a:pt x="31358" y="200689"/>
                </a:lnTo>
                <a:lnTo>
                  <a:pt x="41123" y="210141"/>
                </a:lnTo>
                <a:lnTo>
                  <a:pt x="51964" y="218744"/>
                </a:lnTo>
                <a:lnTo>
                  <a:pt x="63797" y="226429"/>
                </a:lnTo>
                <a:lnTo>
                  <a:pt x="76537" y="233125"/>
                </a:lnTo>
                <a:lnTo>
                  <a:pt x="90100" y="238760"/>
                </a:lnTo>
                <a:lnTo>
                  <a:pt x="104400" y="243266"/>
                </a:lnTo>
                <a:lnTo>
                  <a:pt x="119353" y="246572"/>
                </a:lnTo>
                <a:lnTo>
                  <a:pt x="134873" y="248607"/>
                </a:lnTo>
                <a:lnTo>
                  <a:pt x="150875" y="249300"/>
                </a:lnTo>
                <a:lnTo>
                  <a:pt x="157411" y="249185"/>
                </a:lnTo>
                <a:lnTo>
                  <a:pt x="173214" y="247938"/>
                </a:lnTo>
                <a:lnTo>
                  <a:pt x="188502" y="245377"/>
                </a:lnTo>
                <a:lnTo>
                  <a:pt x="203190" y="241572"/>
                </a:lnTo>
                <a:lnTo>
                  <a:pt x="217193" y="236595"/>
                </a:lnTo>
                <a:lnTo>
                  <a:pt x="230426" y="230515"/>
                </a:lnTo>
                <a:lnTo>
                  <a:pt x="242803" y="223404"/>
                </a:lnTo>
                <a:lnTo>
                  <a:pt x="254239" y="215331"/>
                </a:lnTo>
                <a:lnTo>
                  <a:pt x="264649" y="206367"/>
                </a:lnTo>
                <a:lnTo>
                  <a:pt x="273947" y="196582"/>
                </a:lnTo>
                <a:lnTo>
                  <a:pt x="282049" y="186047"/>
                </a:lnTo>
                <a:lnTo>
                  <a:pt x="288869" y="174833"/>
                </a:lnTo>
                <a:lnTo>
                  <a:pt x="294322" y="163009"/>
                </a:lnTo>
                <a:lnTo>
                  <a:pt x="298322" y="150646"/>
                </a:lnTo>
                <a:lnTo>
                  <a:pt x="300785" y="137815"/>
                </a:lnTo>
                <a:lnTo>
                  <a:pt x="301625" y="124587"/>
                </a:lnTo>
                <a:lnTo>
                  <a:pt x="299990" y="106180"/>
                </a:lnTo>
                <a:lnTo>
                  <a:pt x="296901" y="93528"/>
                </a:lnTo>
                <a:lnTo>
                  <a:pt x="292307" y="81375"/>
                </a:lnTo>
                <a:lnTo>
                  <a:pt x="286294" y="69792"/>
                </a:lnTo>
                <a:lnTo>
                  <a:pt x="278947" y="58848"/>
                </a:lnTo>
                <a:lnTo>
                  <a:pt x="270350" y="48613"/>
                </a:lnTo>
                <a:lnTo>
                  <a:pt x="260591" y="39158"/>
                </a:lnTo>
                <a:lnTo>
                  <a:pt x="249753" y="30553"/>
                </a:lnTo>
                <a:lnTo>
                  <a:pt x="237923" y="22868"/>
                </a:lnTo>
                <a:lnTo>
                  <a:pt x="225186" y="16172"/>
                </a:lnTo>
                <a:lnTo>
                  <a:pt x="211626" y="10537"/>
                </a:lnTo>
                <a:lnTo>
                  <a:pt x="197330" y="6032"/>
                </a:lnTo>
                <a:lnTo>
                  <a:pt x="182383" y="2727"/>
                </a:lnTo>
                <a:lnTo>
                  <a:pt x="166869" y="693"/>
                </a:lnTo>
                <a:lnTo>
                  <a:pt x="150875" y="0"/>
                </a:lnTo>
                <a:lnTo>
                  <a:pt x="144310" y="115"/>
                </a:lnTo>
                <a:lnTo>
                  <a:pt x="128487" y="1362"/>
                </a:lnTo>
                <a:lnTo>
                  <a:pt x="113181" y="3919"/>
                </a:lnTo>
                <a:lnTo>
                  <a:pt x="98479" y="7716"/>
                </a:lnTo>
                <a:lnTo>
                  <a:pt x="84464" y="12685"/>
                </a:lnTo>
                <a:lnTo>
                  <a:pt x="71222" y="18754"/>
                </a:lnTo>
                <a:lnTo>
                  <a:pt x="58837" y="25854"/>
                </a:lnTo>
                <a:lnTo>
                  <a:pt x="47395" y="33915"/>
                </a:lnTo>
                <a:lnTo>
                  <a:pt x="36981" y="42867"/>
                </a:lnTo>
                <a:lnTo>
                  <a:pt x="27680" y="52639"/>
                </a:lnTo>
                <a:lnTo>
                  <a:pt x="19576" y="63162"/>
                </a:lnTo>
                <a:lnTo>
                  <a:pt x="12755" y="74365"/>
                </a:lnTo>
                <a:lnTo>
                  <a:pt x="7302" y="86180"/>
                </a:lnTo>
                <a:lnTo>
                  <a:pt x="3302" y="98535"/>
                </a:lnTo>
                <a:lnTo>
                  <a:pt x="839" y="111360"/>
                </a:lnTo>
                <a:lnTo>
                  <a:pt x="0" y="124587"/>
                </a:lnTo>
                <a:close/>
              </a:path>
            </a:pathLst>
          </a:custGeom>
          <a:solidFill>
            <a:srgbClr val="00CC99"/>
          </a:solidFill>
        </p:spPr>
        <p:txBody>
          <a:bodyPr wrap="square" lIns="0" tIns="0" rIns="0" bIns="0" rtlCol="0">
            <a:noAutofit/>
          </a:bodyPr>
          <a:lstStyle/>
          <a:p>
            <a:endParaRPr/>
          </a:p>
        </p:txBody>
      </p:sp>
      <p:sp>
        <p:nvSpPr>
          <p:cNvPr id="114" name="object 114"/>
          <p:cNvSpPr/>
          <p:nvPr/>
        </p:nvSpPr>
        <p:spPr>
          <a:xfrm>
            <a:off x="5280026" y="2438400"/>
            <a:ext cx="301625" cy="249300"/>
          </a:xfrm>
          <a:custGeom>
            <a:avLst/>
            <a:gdLst/>
            <a:ahLst/>
            <a:cxnLst/>
            <a:rect l="l" t="t" r="r" b="b"/>
            <a:pathLst>
              <a:path w="301625" h="249300">
                <a:moveTo>
                  <a:pt x="0" y="124587"/>
                </a:moveTo>
                <a:lnTo>
                  <a:pt x="839" y="111360"/>
                </a:lnTo>
                <a:lnTo>
                  <a:pt x="3302" y="98535"/>
                </a:lnTo>
                <a:lnTo>
                  <a:pt x="7302" y="86180"/>
                </a:lnTo>
                <a:lnTo>
                  <a:pt x="12755" y="74365"/>
                </a:lnTo>
                <a:lnTo>
                  <a:pt x="19576" y="63162"/>
                </a:lnTo>
                <a:lnTo>
                  <a:pt x="27680" y="52639"/>
                </a:lnTo>
                <a:lnTo>
                  <a:pt x="36981" y="42867"/>
                </a:lnTo>
                <a:lnTo>
                  <a:pt x="47395" y="33915"/>
                </a:lnTo>
                <a:lnTo>
                  <a:pt x="58837" y="25854"/>
                </a:lnTo>
                <a:lnTo>
                  <a:pt x="71222" y="18754"/>
                </a:lnTo>
                <a:lnTo>
                  <a:pt x="84464" y="12685"/>
                </a:lnTo>
                <a:lnTo>
                  <a:pt x="98479" y="7716"/>
                </a:lnTo>
                <a:lnTo>
                  <a:pt x="113181" y="3919"/>
                </a:lnTo>
                <a:lnTo>
                  <a:pt x="128487" y="1362"/>
                </a:lnTo>
                <a:lnTo>
                  <a:pt x="144310" y="115"/>
                </a:lnTo>
                <a:lnTo>
                  <a:pt x="150875" y="0"/>
                </a:lnTo>
                <a:lnTo>
                  <a:pt x="166869" y="693"/>
                </a:lnTo>
                <a:lnTo>
                  <a:pt x="182383" y="2727"/>
                </a:lnTo>
                <a:lnTo>
                  <a:pt x="197330" y="6032"/>
                </a:lnTo>
                <a:lnTo>
                  <a:pt x="211626" y="10537"/>
                </a:lnTo>
                <a:lnTo>
                  <a:pt x="225186" y="16172"/>
                </a:lnTo>
                <a:lnTo>
                  <a:pt x="237923" y="22868"/>
                </a:lnTo>
                <a:lnTo>
                  <a:pt x="249753" y="30553"/>
                </a:lnTo>
                <a:lnTo>
                  <a:pt x="260591" y="39158"/>
                </a:lnTo>
                <a:lnTo>
                  <a:pt x="270350" y="48613"/>
                </a:lnTo>
                <a:lnTo>
                  <a:pt x="278947" y="58848"/>
                </a:lnTo>
                <a:lnTo>
                  <a:pt x="286294" y="69792"/>
                </a:lnTo>
                <a:lnTo>
                  <a:pt x="292307" y="81375"/>
                </a:lnTo>
                <a:lnTo>
                  <a:pt x="296901" y="93528"/>
                </a:lnTo>
                <a:lnTo>
                  <a:pt x="299990" y="106180"/>
                </a:lnTo>
                <a:lnTo>
                  <a:pt x="301489" y="119261"/>
                </a:lnTo>
                <a:lnTo>
                  <a:pt x="301625" y="124587"/>
                </a:lnTo>
                <a:lnTo>
                  <a:pt x="300785" y="137815"/>
                </a:lnTo>
                <a:lnTo>
                  <a:pt x="298322" y="150646"/>
                </a:lnTo>
                <a:lnTo>
                  <a:pt x="294322" y="163009"/>
                </a:lnTo>
                <a:lnTo>
                  <a:pt x="288869" y="174833"/>
                </a:lnTo>
                <a:lnTo>
                  <a:pt x="282049" y="186047"/>
                </a:lnTo>
                <a:lnTo>
                  <a:pt x="273947" y="196582"/>
                </a:lnTo>
                <a:lnTo>
                  <a:pt x="264649" y="206367"/>
                </a:lnTo>
                <a:lnTo>
                  <a:pt x="254239" y="215331"/>
                </a:lnTo>
                <a:lnTo>
                  <a:pt x="242803" y="223404"/>
                </a:lnTo>
                <a:lnTo>
                  <a:pt x="230426" y="230515"/>
                </a:lnTo>
                <a:lnTo>
                  <a:pt x="217193" y="236595"/>
                </a:lnTo>
                <a:lnTo>
                  <a:pt x="203190" y="241572"/>
                </a:lnTo>
                <a:lnTo>
                  <a:pt x="188502" y="245377"/>
                </a:lnTo>
                <a:lnTo>
                  <a:pt x="173214" y="247938"/>
                </a:lnTo>
                <a:lnTo>
                  <a:pt x="157411" y="249185"/>
                </a:lnTo>
                <a:lnTo>
                  <a:pt x="150875" y="249300"/>
                </a:lnTo>
                <a:lnTo>
                  <a:pt x="134873" y="248607"/>
                </a:lnTo>
                <a:lnTo>
                  <a:pt x="119353" y="246572"/>
                </a:lnTo>
                <a:lnTo>
                  <a:pt x="104400" y="243266"/>
                </a:lnTo>
                <a:lnTo>
                  <a:pt x="90100" y="238760"/>
                </a:lnTo>
                <a:lnTo>
                  <a:pt x="76537" y="233125"/>
                </a:lnTo>
                <a:lnTo>
                  <a:pt x="63797" y="226429"/>
                </a:lnTo>
                <a:lnTo>
                  <a:pt x="51964" y="218744"/>
                </a:lnTo>
                <a:lnTo>
                  <a:pt x="41123" y="210141"/>
                </a:lnTo>
                <a:lnTo>
                  <a:pt x="31358" y="200689"/>
                </a:lnTo>
                <a:lnTo>
                  <a:pt x="22756" y="190458"/>
                </a:lnTo>
                <a:lnTo>
                  <a:pt x="15400" y="179520"/>
                </a:lnTo>
                <a:lnTo>
                  <a:pt x="9377" y="167944"/>
                </a:lnTo>
                <a:lnTo>
                  <a:pt x="4769" y="155801"/>
                </a:lnTo>
                <a:lnTo>
                  <a:pt x="1664" y="143160"/>
                </a:lnTo>
                <a:lnTo>
                  <a:pt x="144" y="130094"/>
                </a:lnTo>
                <a:lnTo>
                  <a:pt x="0" y="124587"/>
                </a:lnTo>
                <a:close/>
              </a:path>
            </a:pathLst>
          </a:custGeom>
          <a:ln w="25400">
            <a:solidFill>
              <a:srgbClr val="000000"/>
            </a:solidFill>
          </a:ln>
        </p:spPr>
        <p:txBody>
          <a:bodyPr wrap="square" lIns="0" tIns="0" rIns="0" bIns="0" rtlCol="0">
            <a:noAutofit/>
          </a:bodyPr>
          <a:lstStyle/>
          <a:p>
            <a:endParaRPr/>
          </a:p>
        </p:txBody>
      </p:sp>
      <p:sp>
        <p:nvSpPr>
          <p:cNvPr id="115" name="object 115"/>
          <p:cNvSpPr/>
          <p:nvPr/>
        </p:nvSpPr>
        <p:spPr>
          <a:xfrm>
            <a:off x="4500499" y="5132324"/>
            <a:ext cx="76200" cy="419100"/>
          </a:xfrm>
          <a:custGeom>
            <a:avLst/>
            <a:gdLst/>
            <a:ahLst/>
            <a:cxnLst/>
            <a:rect l="l" t="t" r="r" b="b"/>
            <a:pathLst>
              <a:path w="76200" h="419100">
                <a:moveTo>
                  <a:pt x="76200" y="292100"/>
                </a:moveTo>
                <a:lnTo>
                  <a:pt x="50800" y="325966"/>
                </a:lnTo>
                <a:lnTo>
                  <a:pt x="38100" y="342900"/>
                </a:lnTo>
                <a:lnTo>
                  <a:pt x="25400" y="342900"/>
                </a:lnTo>
                <a:lnTo>
                  <a:pt x="25400" y="325966"/>
                </a:lnTo>
                <a:lnTo>
                  <a:pt x="0" y="292100"/>
                </a:lnTo>
                <a:lnTo>
                  <a:pt x="38100" y="419100"/>
                </a:lnTo>
                <a:lnTo>
                  <a:pt x="50800" y="342900"/>
                </a:lnTo>
                <a:lnTo>
                  <a:pt x="76200" y="292100"/>
                </a:lnTo>
                <a:close/>
              </a:path>
              <a:path w="76200" h="419100">
                <a:moveTo>
                  <a:pt x="38100" y="342900"/>
                </a:moveTo>
                <a:lnTo>
                  <a:pt x="50800" y="325966"/>
                </a:lnTo>
                <a:lnTo>
                  <a:pt x="50800" y="0"/>
                </a:lnTo>
                <a:lnTo>
                  <a:pt x="25400" y="0"/>
                </a:lnTo>
                <a:lnTo>
                  <a:pt x="25400" y="342900"/>
                </a:lnTo>
                <a:lnTo>
                  <a:pt x="38100" y="342900"/>
                </a:lnTo>
                <a:close/>
              </a:path>
              <a:path w="76200" h="419100">
                <a:moveTo>
                  <a:pt x="50800" y="342900"/>
                </a:moveTo>
                <a:lnTo>
                  <a:pt x="38100" y="419100"/>
                </a:lnTo>
                <a:lnTo>
                  <a:pt x="76200" y="292100"/>
                </a:lnTo>
                <a:lnTo>
                  <a:pt x="50800" y="342900"/>
                </a:lnTo>
                <a:close/>
              </a:path>
            </a:pathLst>
          </a:custGeom>
          <a:solidFill>
            <a:srgbClr val="000000"/>
          </a:solidFill>
        </p:spPr>
        <p:txBody>
          <a:bodyPr wrap="square" lIns="0" tIns="0" rIns="0" bIns="0" rtlCol="0">
            <a:noAutofit/>
          </a:bodyPr>
          <a:lstStyle/>
          <a:p>
            <a:endParaRPr/>
          </a:p>
        </p:txBody>
      </p:sp>
      <p:sp>
        <p:nvSpPr>
          <p:cNvPr id="116" name="object 116"/>
          <p:cNvSpPr/>
          <p:nvPr/>
        </p:nvSpPr>
        <p:spPr>
          <a:xfrm>
            <a:off x="4015032" y="4509708"/>
            <a:ext cx="0" cy="634303"/>
          </a:xfrm>
          <a:custGeom>
            <a:avLst/>
            <a:gdLst/>
            <a:ahLst/>
            <a:cxnLst/>
            <a:rect l="l" t="t" r="r" b="b"/>
            <a:pathLst>
              <a:path h="634303">
                <a:moveTo>
                  <a:pt x="0" y="634303"/>
                </a:moveTo>
                <a:lnTo>
                  <a:pt x="0" y="0"/>
                </a:lnTo>
                <a:lnTo>
                  <a:pt x="0" y="634303"/>
                </a:lnTo>
                <a:close/>
              </a:path>
            </a:pathLst>
          </a:custGeom>
          <a:solidFill>
            <a:srgbClr val="FFFFFF"/>
          </a:solidFill>
        </p:spPr>
        <p:txBody>
          <a:bodyPr wrap="square" lIns="0" tIns="0" rIns="0" bIns="0" rtlCol="0">
            <a:noAutofit/>
          </a:bodyPr>
          <a:lstStyle/>
          <a:p>
            <a:endParaRPr/>
          </a:p>
        </p:txBody>
      </p:sp>
      <p:sp>
        <p:nvSpPr>
          <p:cNvPr id="117" name="object 117"/>
          <p:cNvSpPr/>
          <p:nvPr/>
        </p:nvSpPr>
        <p:spPr>
          <a:xfrm>
            <a:off x="4015032" y="4509708"/>
            <a:ext cx="1028352" cy="634303"/>
          </a:xfrm>
          <a:custGeom>
            <a:avLst/>
            <a:gdLst/>
            <a:ahLst/>
            <a:cxnLst/>
            <a:rect l="l" t="t" r="r" b="b"/>
            <a:pathLst>
              <a:path w="1028352" h="634303">
                <a:moveTo>
                  <a:pt x="0" y="634303"/>
                </a:moveTo>
                <a:lnTo>
                  <a:pt x="1028352" y="634303"/>
                </a:lnTo>
                <a:lnTo>
                  <a:pt x="1028352" y="0"/>
                </a:lnTo>
                <a:lnTo>
                  <a:pt x="0" y="0"/>
                </a:lnTo>
                <a:lnTo>
                  <a:pt x="0" y="634303"/>
                </a:lnTo>
                <a:close/>
              </a:path>
            </a:pathLst>
          </a:custGeom>
          <a:solidFill>
            <a:srgbClr val="FFFFFF"/>
          </a:solidFill>
        </p:spPr>
        <p:txBody>
          <a:bodyPr wrap="square" lIns="0" tIns="0" rIns="0" bIns="0" rtlCol="0">
            <a:noAutofit/>
          </a:bodyPr>
          <a:lstStyle/>
          <a:p>
            <a:endParaRPr/>
          </a:p>
        </p:txBody>
      </p:sp>
      <p:sp>
        <p:nvSpPr>
          <p:cNvPr id="118" name="object 118"/>
          <p:cNvSpPr/>
          <p:nvPr/>
        </p:nvSpPr>
        <p:spPr>
          <a:xfrm>
            <a:off x="4015033" y="4509710"/>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1502">
            <a:solidFill>
              <a:srgbClr val="000000"/>
            </a:solidFill>
          </a:ln>
        </p:spPr>
        <p:txBody>
          <a:bodyPr wrap="square" lIns="0" tIns="0" rIns="0" bIns="0" rtlCol="0">
            <a:noAutofit/>
          </a:bodyPr>
          <a:lstStyle/>
          <a:p>
            <a:endParaRPr/>
          </a:p>
        </p:txBody>
      </p:sp>
      <p:sp>
        <p:nvSpPr>
          <p:cNvPr id="119" name="object 119"/>
          <p:cNvSpPr/>
          <p:nvPr/>
        </p:nvSpPr>
        <p:spPr>
          <a:xfrm>
            <a:off x="4695739" y="4510420"/>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1540">
            <a:solidFill>
              <a:srgbClr val="000000"/>
            </a:solidFill>
          </a:ln>
        </p:spPr>
        <p:txBody>
          <a:bodyPr wrap="square" lIns="0" tIns="0" rIns="0" bIns="0" rtlCol="0">
            <a:noAutofit/>
          </a:bodyPr>
          <a:lstStyle/>
          <a:p>
            <a:endParaRPr/>
          </a:p>
        </p:txBody>
      </p:sp>
      <p:sp>
        <p:nvSpPr>
          <p:cNvPr id="120" name="object 120"/>
          <p:cNvSpPr/>
          <p:nvPr/>
        </p:nvSpPr>
        <p:spPr>
          <a:xfrm>
            <a:off x="4843382" y="4570086"/>
            <a:ext cx="145068" cy="120752"/>
          </a:xfrm>
          <a:custGeom>
            <a:avLst/>
            <a:gdLst/>
            <a:ahLst/>
            <a:cxnLst/>
            <a:rect l="l" t="t" r="r" b="b"/>
            <a:pathLst>
              <a:path w="145068" h="120752">
                <a:moveTo>
                  <a:pt x="0" y="0"/>
                </a:moveTo>
                <a:lnTo>
                  <a:pt x="145068" y="120752"/>
                </a:lnTo>
              </a:path>
            </a:pathLst>
          </a:custGeom>
          <a:ln w="1541">
            <a:solidFill>
              <a:srgbClr val="000000"/>
            </a:solidFill>
          </a:ln>
        </p:spPr>
        <p:txBody>
          <a:bodyPr wrap="square" lIns="0" tIns="0" rIns="0" bIns="0" rtlCol="0">
            <a:noAutofit/>
          </a:bodyPr>
          <a:lstStyle/>
          <a:p>
            <a:endParaRPr/>
          </a:p>
        </p:txBody>
      </p:sp>
      <p:sp>
        <p:nvSpPr>
          <p:cNvPr id="121" name="object 121"/>
          <p:cNvSpPr/>
          <p:nvPr/>
        </p:nvSpPr>
        <p:spPr>
          <a:xfrm>
            <a:off x="4027932" y="5571744"/>
            <a:ext cx="1246632" cy="792480"/>
          </a:xfrm>
          <a:prstGeom prst="rect">
            <a:avLst/>
          </a:prstGeom>
          <a:blipFill>
            <a:blip r:embed="rId5" cstate="print"/>
            <a:stretch>
              <a:fillRect/>
            </a:stretch>
          </a:blipFill>
        </p:spPr>
        <p:txBody>
          <a:bodyPr wrap="square" lIns="0" tIns="0" rIns="0" bIns="0" rtlCol="0">
            <a:noAutofit/>
          </a:bodyPr>
          <a:lstStyle/>
          <a:p>
            <a:endParaRPr/>
          </a:p>
        </p:txBody>
      </p:sp>
      <p:sp>
        <p:nvSpPr>
          <p:cNvPr id="122" name="object 122"/>
          <p:cNvSpPr/>
          <p:nvPr/>
        </p:nvSpPr>
        <p:spPr>
          <a:xfrm>
            <a:off x="4016375"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solidFill>
            <a:srgbClr val="F8DAA2"/>
          </a:solidFill>
        </p:spPr>
        <p:txBody>
          <a:bodyPr wrap="square" lIns="0" tIns="0" rIns="0" bIns="0" rtlCol="0">
            <a:noAutofit/>
          </a:bodyPr>
          <a:lstStyle/>
          <a:p>
            <a:endParaRPr/>
          </a:p>
        </p:txBody>
      </p:sp>
      <p:sp>
        <p:nvSpPr>
          <p:cNvPr id="123" name="object 123"/>
          <p:cNvSpPr/>
          <p:nvPr/>
        </p:nvSpPr>
        <p:spPr>
          <a:xfrm>
            <a:off x="4016375"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ln w="25400">
            <a:solidFill>
              <a:srgbClr val="000000"/>
            </a:solidFill>
          </a:ln>
        </p:spPr>
        <p:txBody>
          <a:bodyPr wrap="square" lIns="0" tIns="0" rIns="0" bIns="0" rtlCol="0">
            <a:noAutofit/>
          </a:bodyPr>
          <a:lstStyle/>
          <a:p>
            <a:endParaRPr/>
          </a:p>
        </p:txBody>
      </p:sp>
      <p:sp>
        <p:nvSpPr>
          <p:cNvPr id="124" name="object 124"/>
          <p:cNvSpPr/>
          <p:nvPr/>
        </p:nvSpPr>
        <p:spPr>
          <a:xfrm>
            <a:off x="4176777" y="5670550"/>
            <a:ext cx="650875" cy="0"/>
          </a:xfrm>
          <a:custGeom>
            <a:avLst/>
            <a:gdLst/>
            <a:ahLst/>
            <a:cxnLst/>
            <a:rect l="l" t="t" r="r" b="b"/>
            <a:pathLst>
              <a:path w="650875">
                <a:moveTo>
                  <a:pt x="0" y="0"/>
                </a:moveTo>
                <a:lnTo>
                  <a:pt x="650875" y="0"/>
                </a:lnTo>
              </a:path>
            </a:pathLst>
          </a:custGeom>
          <a:ln w="25400">
            <a:solidFill>
              <a:srgbClr val="000000"/>
            </a:solidFill>
          </a:ln>
        </p:spPr>
        <p:txBody>
          <a:bodyPr wrap="square" lIns="0" tIns="0" rIns="0" bIns="0" rtlCol="0">
            <a:noAutofit/>
          </a:bodyPr>
          <a:lstStyle/>
          <a:p>
            <a:endParaRPr/>
          </a:p>
        </p:txBody>
      </p:sp>
      <p:sp>
        <p:nvSpPr>
          <p:cNvPr id="125" name="object 125"/>
          <p:cNvSpPr/>
          <p:nvPr/>
        </p:nvSpPr>
        <p:spPr>
          <a:xfrm>
            <a:off x="4648200" y="5670551"/>
            <a:ext cx="0" cy="300037"/>
          </a:xfrm>
          <a:custGeom>
            <a:avLst/>
            <a:gdLst/>
            <a:ahLst/>
            <a:cxnLst/>
            <a:rect l="l" t="t" r="r" b="b"/>
            <a:pathLst>
              <a:path h="300037">
                <a:moveTo>
                  <a:pt x="0" y="0"/>
                </a:moveTo>
                <a:lnTo>
                  <a:pt x="0" y="300037"/>
                </a:lnTo>
              </a:path>
            </a:pathLst>
          </a:custGeom>
          <a:ln w="25400">
            <a:solidFill>
              <a:srgbClr val="000000"/>
            </a:solidFill>
          </a:ln>
        </p:spPr>
        <p:txBody>
          <a:bodyPr wrap="square" lIns="0" tIns="0" rIns="0" bIns="0" rtlCol="0">
            <a:noAutofit/>
          </a:bodyPr>
          <a:lstStyle/>
          <a:p>
            <a:endParaRPr/>
          </a:p>
        </p:txBody>
      </p:sp>
      <p:sp>
        <p:nvSpPr>
          <p:cNvPr id="126" name="object 126"/>
          <p:cNvSpPr/>
          <p:nvPr/>
        </p:nvSpPr>
        <p:spPr>
          <a:xfrm>
            <a:off x="4267201" y="6029325"/>
            <a:ext cx="649351" cy="0"/>
          </a:xfrm>
          <a:custGeom>
            <a:avLst/>
            <a:gdLst/>
            <a:ahLst/>
            <a:cxnLst/>
            <a:rect l="l" t="t" r="r" b="b"/>
            <a:pathLst>
              <a:path w="649351">
                <a:moveTo>
                  <a:pt x="0" y="0"/>
                </a:moveTo>
                <a:lnTo>
                  <a:pt x="649351" y="0"/>
                </a:lnTo>
              </a:path>
            </a:pathLst>
          </a:custGeom>
          <a:ln w="25400">
            <a:solidFill>
              <a:srgbClr val="000000"/>
            </a:solidFill>
          </a:ln>
        </p:spPr>
        <p:txBody>
          <a:bodyPr wrap="square" lIns="0" tIns="0" rIns="0" bIns="0" rtlCol="0">
            <a:noAutofit/>
          </a:bodyPr>
          <a:lstStyle/>
          <a:p>
            <a:endParaRPr/>
          </a:p>
        </p:txBody>
      </p:sp>
      <p:sp>
        <p:nvSpPr>
          <p:cNvPr id="127" name="object 127"/>
          <p:cNvSpPr/>
          <p:nvPr/>
        </p:nvSpPr>
        <p:spPr>
          <a:xfrm>
            <a:off x="4648200" y="6029326"/>
            <a:ext cx="0" cy="179387"/>
          </a:xfrm>
          <a:custGeom>
            <a:avLst/>
            <a:gdLst/>
            <a:ahLst/>
            <a:cxnLst/>
            <a:rect l="l" t="t" r="r" b="b"/>
            <a:pathLst>
              <a:path h="179387">
                <a:moveTo>
                  <a:pt x="0" y="0"/>
                </a:moveTo>
                <a:lnTo>
                  <a:pt x="0" y="179387"/>
                </a:lnTo>
              </a:path>
            </a:pathLst>
          </a:custGeom>
          <a:ln w="25400">
            <a:solidFill>
              <a:srgbClr val="000000"/>
            </a:solidFill>
          </a:ln>
        </p:spPr>
        <p:txBody>
          <a:bodyPr wrap="square" lIns="0" tIns="0" rIns="0" bIns="0" rtlCol="0">
            <a:noAutofit/>
          </a:bodyPr>
          <a:lstStyle/>
          <a:p>
            <a:endParaRPr/>
          </a:p>
        </p:txBody>
      </p:sp>
      <p:sp>
        <p:nvSpPr>
          <p:cNvPr id="128" name="object 128"/>
          <p:cNvSpPr/>
          <p:nvPr/>
        </p:nvSpPr>
        <p:spPr>
          <a:xfrm>
            <a:off x="4016429" y="2596709"/>
            <a:ext cx="1139861" cy="634300"/>
          </a:xfrm>
          <a:custGeom>
            <a:avLst/>
            <a:gdLst/>
            <a:ahLst/>
            <a:cxnLst/>
            <a:rect l="l" t="t" r="r" b="b"/>
            <a:pathLst>
              <a:path w="1139861" h="634300">
                <a:moveTo>
                  <a:pt x="1139861" y="634300"/>
                </a:moveTo>
                <a:lnTo>
                  <a:pt x="0" y="634300"/>
                </a:lnTo>
                <a:lnTo>
                  <a:pt x="0" y="0"/>
                </a:lnTo>
                <a:lnTo>
                  <a:pt x="1139861" y="0"/>
                </a:lnTo>
                <a:lnTo>
                  <a:pt x="1139861" y="634300"/>
                </a:lnTo>
              </a:path>
            </a:pathLst>
          </a:custGeom>
          <a:ln w="1534">
            <a:solidFill>
              <a:srgbClr val="000000"/>
            </a:solidFill>
          </a:ln>
        </p:spPr>
        <p:txBody>
          <a:bodyPr wrap="square" lIns="0" tIns="0" rIns="0" bIns="0" rtlCol="0">
            <a:noAutofit/>
          </a:bodyPr>
          <a:lstStyle/>
          <a:p>
            <a:endParaRPr/>
          </a:p>
        </p:txBody>
      </p:sp>
      <p:sp>
        <p:nvSpPr>
          <p:cNvPr id="129" name="object 129"/>
          <p:cNvSpPr/>
          <p:nvPr/>
        </p:nvSpPr>
        <p:spPr>
          <a:xfrm>
            <a:off x="4770946" y="2597419"/>
            <a:ext cx="385344" cy="287674"/>
          </a:xfrm>
          <a:custGeom>
            <a:avLst/>
            <a:gdLst/>
            <a:ahLst/>
            <a:cxnLst/>
            <a:rect l="l" t="t" r="r" b="b"/>
            <a:pathLst>
              <a:path w="385344" h="287674">
                <a:moveTo>
                  <a:pt x="385344" y="287674"/>
                </a:moveTo>
                <a:lnTo>
                  <a:pt x="385344" y="279860"/>
                </a:lnTo>
                <a:lnTo>
                  <a:pt x="384392" y="272047"/>
                </a:lnTo>
                <a:lnTo>
                  <a:pt x="383441" y="264944"/>
                </a:lnTo>
                <a:lnTo>
                  <a:pt x="381538" y="257130"/>
                </a:lnTo>
                <a:lnTo>
                  <a:pt x="378684" y="250027"/>
                </a:lnTo>
                <a:lnTo>
                  <a:pt x="376781" y="242214"/>
                </a:lnTo>
                <a:lnTo>
                  <a:pt x="372975" y="235111"/>
                </a:lnTo>
                <a:lnTo>
                  <a:pt x="370120" y="228718"/>
                </a:lnTo>
                <a:lnTo>
                  <a:pt x="365363" y="221615"/>
                </a:lnTo>
                <a:lnTo>
                  <a:pt x="360606" y="215222"/>
                </a:lnTo>
                <a:lnTo>
                  <a:pt x="355848" y="208830"/>
                </a:lnTo>
                <a:lnTo>
                  <a:pt x="351091" y="202437"/>
                </a:lnTo>
                <a:lnTo>
                  <a:pt x="345382" y="196754"/>
                </a:lnTo>
                <a:lnTo>
                  <a:pt x="338722" y="191072"/>
                </a:lnTo>
                <a:lnTo>
                  <a:pt x="332062" y="186100"/>
                </a:lnTo>
                <a:lnTo>
                  <a:pt x="325401" y="181128"/>
                </a:lnTo>
                <a:lnTo>
                  <a:pt x="314935" y="174735"/>
                </a:lnTo>
                <a:lnTo>
                  <a:pt x="303518" y="169052"/>
                </a:lnTo>
                <a:lnTo>
                  <a:pt x="297809" y="166211"/>
                </a:lnTo>
                <a:lnTo>
                  <a:pt x="292100" y="164080"/>
                </a:lnTo>
                <a:lnTo>
                  <a:pt x="279731" y="159818"/>
                </a:lnTo>
                <a:lnTo>
                  <a:pt x="267362" y="156977"/>
                </a:lnTo>
                <a:lnTo>
                  <a:pt x="253090" y="154136"/>
                </a:lnTo>
                <a:lnTo>
                  <a:pt x="246430" y="153426"/>
                </a:lnTo>
                <a:lnTo>
                  <a:pt x="239769" y="152715"/>
                </a:lnTo>
                <a:lnTo>
                  <a:pt x="232158" y="152715"/>
                </a:lnTo>
                <a:lnTo>
                  <a:pt x="224546" y="152715"/>
                </a:lnTo>
                <a:lnTo>
                  <a:pt x="180778" y="152715"/>
                </a:lnTo>
                <a:lnTo>
                  <a:pt x="180778" y="120041"/>
                </a:lnTo>
                <a:lnTo>
                  <a:pt x="180778" y="113649"/>
                </a:lnTo>
                <a:lnTo>
                  <a:pt x="179827" y="107966"/>
                </a:lnTo>
                <a:lnTo>
                  <a:pt x="178875" y="102284"/>
                </a:lnTo>
                <a:lnTo>
                  <a:pt x="177924" y="96601"/>
                </a:lnTo>
                <a:lnTo>
                  <a:pt x="176021" y="90919"/>
                </a:lnTo>
                <a:lnTo>
                  <a:pt x="174118" y="85947"/>
                </a:lnTo>
                <a:lnTo>
                  <a:pt x="171264" y="80264"/>
                </a:lnTo>
                <a:lnTo>
                  <a:pt x="169361" y="75292"/>
                </a:lnTo>
                <a:lnTo>
                  <a:pt x="165555" y="70320"/>
                </a:lnTo>
                <a:lnTo>
                  <a:pt x="162700" y="65348"/>
                </a:lnTo>
                <a:lnTo>
                  <a:pt x="158895" y="61086"/>
                </a:lnTo>
                <a:lnTo>
                  <a:pt x="155089" y="56114"/>
                </a:lnTo>
                <a:lnTo>
                  <a:pt x="151283" y="51852"/>
                </a:lnTo>
                <a:lnTo>
                  <a:pt x="146525" y="47590"/>
                </a:lnTo>
                <a:lnTo>
                  <a:pt x="137011" y="39777"/>
                </a:lnTo>
                <a:lnTo>
                  <a:pt x="130351" y="35515"/>
                </a:lnTo>
                <a:lnTo>
                  <a:pt x="122739" y="30543"/>
                </a:lnTo>
                <a:lnTo>
                  <a:pt x="116079" y="26991"/>
                </a:lnTo>
                <a:lnTo>
                  <a:pt x="108467" y="22729"/>
                </a:lnTo>
                <a:lnTo>
                  <a:pt x="99904" y="19178"/>
                </a:lnTo>
                <a:lnTo>
                  <a:pt x="92292" y="15626"/>
                </a:lnTo>
                <a:lnTo>
                  <a:pt x="83729" y="12785"/>
                </a:lnTo>
                <a:lnTo>
                  <a:pt x="75165" y="9944"/>
                </a:lnTo>
                <a:lnTo>
                  <a:pt x="65651" y="7813"/>
                </a:lnTo>
                <a:lnTo>
                  <a:pt x="57088" y="5682"/>
                </a:lnTo>
                <a:lnTo>
                  <a:pt x="47573" y="3551"/>
                </a:lnTo>
                <a:lnTo>
                  <a:pt x="38058" y="2130"/>
                </a:lnTo>
                <a:lnTo>
                  <a:pt x="28544" y="1420"/>
                </a:lnTo>
                <a:lnTo>
                  <a:pt x="19029" y="710"/>
                </a:lnTo>
                <a:lnTo>
                  <a:pt x="9514" y="0"/>
                </a:lnTo>
                <a:lnTo>
                  <a:pt x="0" y="0"/>
                </a:lnTo>
              </a:path>
            </a:pathLst>
          </a:custGeom>
          <a:ln w="1593">
            <a:solidFill>
              <a:srgbClr val="000000"/>
            </a:solidFill>
          </a:ln>
        </p:spPr>
        <p:txBody>
          <a:bodyPr wrap="square" lIns="0" tIns="0" rIns="0" bIns="0" rtlCol="0">
            <a:noAutofit/>
          </a:bodyPr>
          <a:lstStyle/>
          <a:p>
            <a:endParaRPr/>
          </a:p>
        </p:txBody>
      </p:sp>
      <p:sp>
        <p:nvSpPr>
          <p:cNvPr id="130" name="object 130"/>
          <p:cNvSpPr/>
          <p:nvPr/>
        </p:nvSpPr>
        <p:spPr>
          <a:xfrm>
            <a:off x="4934599" y="2657085"/>
            <a:ext cx="160797" cy="120752"/>
          </a:xfrm>
          <a:custGeom>
            <a:avLst/>
            <a:gdLst/>
            <a:ahLst/>
            <a:cxnLst/>
            <a:rect l="l" t="t" r="r" b="b"/>
            <a:pathLst>
              <a:path w="160797" h="120752">
                <a:moveTo>
                  <a:pt x="0" y="0"/>
                </a:moveTo>
                <a:lnTo>
                  <a:pt x="160797" y="120752"/>
                </a:lnTo>
              </a:path>
            </a:pathLst>
          </a:custGeom>
          <a:ln w="1594">
            <a:solidFill>
              <a:srgbClr val="000000"/>
            </a:solidFill>
          </a:ln>
        </p:spPr>
        <p:txBody>
          <a:bodyPr wrap="square" lIns="0" tIns="0" rIns="0" bIns="0" rtlCol="0">
            <a:noAutofit/>
          </a:bodyPr>
          <a:lstStyle/>
          <a:p>
            <a:endParaRPr/>
          </a:p>
        </p:txBody>
      </p:sp>
      <p:sp>
        <p:nvSpPr>
          <p:cNvPr id="131" name="object 131"/>
          <p:cNvSpPr/>
          <p:nvPr/>
        </p:nvSpPr>
        <p:spPr>
          <a:xfrm>
            <a:off x="4500499" y="3220974"/>
            <a:ext cx="76200" cy="1314450"/>
          </a:xfrm>
          <a:custGeom>
            <a:avLst/>
            <a:gdLst/>
            <a:ahLst/>
            <a:cxnLst/>
            <a:rect l="l" t="t" r="r" b="b"/>
            <a:pathLst>
              <a:path w="76200" h="1314450">
                <a:moveTo>
                  <a:pt x="76200" y="1187450"/>
                </a:moveTo>
                <a:lnTo>
                  <a:pt x="50800" y="1221316"/>
                </a:lnTo>
                <a:lnTo>
                  <a:pt x="38100" y="1238250"/>
                </a:lnTo>
                <a:lnTo>
                  <a:pt x="25400" y="1238250"/>
                </a:lnTo>
                <a:lnTo>
                  <a:pt x="25400" y="1221316"/>
                </a:lnTo>
                <a:lnTo>
                  <a:pt x="0" y="1187450"/>
                </a:lnTo>
                <a:lnTo>
                  <a:pt x="38100" y="1314450"/>
                </a:lnTo>
                <a:lnTo>
                  <a:pt x="50800" y="1238250"/>
                </a:lnTo>
                <a:lnTo>
                  <a:pt x="76200" y="1187450"/>
                </a:lnTo>
                <a:close/>
              </a:path>
              <a:path w="76200" h="1314450">
                <a:moveTo>
                  <a:pt x="38100" y="1238250"/>
                </a:moveTo>
                <a:lnTo>
                  <a:pt x="50800" y="1221316"/>
                </a:lnTo>
                <a:lnTo>
                  <a:pt x="50800" y="0"/>
                </a:lnTo>
                <a:lnTo>
                  <a:pt x="25400" y="0"/>
                </a:lnTo>
                <a:lnTo>
                  <a:pt x="25400" y="1238250"/>
                </a:lnTo>
                <a:lnTo>
                  <a:pt x="38100" y="1238250"/>
                </a:lnTo>
                <a:close/>
              </a:path>
              <a:path w="76200" h="1314450">
                <a:moveTo>
                  <a:pt x="50800" y="1238250"/>
                </a:moveTo>
                <a:lnTo>
                  <a:pt x="38100" y="1314450"/>
                </a:lnTo>
                <a:lnTo>
                  <a:pt x="76200" y="1187450"/>
                </a:lnTo>
                <a:lnTo>
                  <a:pt x="50800" y="1238250"/>
                </a:lnTo>
                <a:close/>
              </a:path>
            </a:pathLst>
          </a:custGeom>
          <a:solidFill>
            <a:srgbClr val="000000"/>
          </a:solidFill>
        </p:spPr>
        <p:txBody>
          <a:bodyPr wrap="square" lIns="0" tIns="0" rIns="0" bIns="0" rtlCol="0">
            <a:noAutofit/>
          </a:bodyPr>
          <a:lstStyle/>
          <a:p>
            <a:endParaRPr/>
          </a:p>
        </p:txBody>
      </p:sp>
      <p:sp>
        <p:nvSpPr>
          <p:cNvPr id="132" name="object 132"/>
          <p:cNvSpPr/>
          <p:nvPr/>
        </p:nvSpPr>
        <p:spPr>
          <a:xfrm>
            <a:off x="3810001" y="2438400"/>
            <a:ext cx="301625" cy="249300"/>
          </a:xfrm>
          <a:custGeom>
            <a:avLst/>
            <a:gdLst/>
            <a:ahLst/>
            <a:cxnLst/>
            <a:rect l="l" t="t" r="r" b="b"/>
            <a:pathLst>
              <a:path w="301625" h="249300">
                <a:moveTo>
                  <a:pt x="0" y="124587"/>
                </a:moveTo>
                <a:lnTo>
                  <a:pt x="144" y="130094"/>
                </a:lnTo>
                <a:lnTo>
                  <a:pt x="1664" y="143160"/>
                </a:lnTo>
                <a:lnTo>
                  <a:pt x="4769" y="155801"/>
                </a:lnTo>
                <a:lnTo>
                  <a:pt x="9377" y="167944"/>
                </a:lnTo>
                <a:lnTo>
                  <a:pt x="15400" y="179520"/>
                </a:lnTo>
                <a:lnTo>
                  <a:pt x="22756" y="190458"/>
                </a:lnTo>
                <a:lnTo>
                  <a:pt x="31358" y="200689"/>
                </a:lnTo>
                <a:lnTo>
                  <a:pt x="41123" y="210141"/>
                </a:lnTo>
                <a:lnTo>
                  <a:pt x="51964" y="218744"/>
                </a:lnTo>
                <a:lnTo>
                  <a:pt x="63797" y="226429"/>
                </a:lnTo>
                <a:lnTo>
                  <a:pt x="76537" y="233125"/>
                </a:lnTo>
                <a:lnTo>
                  <a:pt x="90100" y="238760"/>
                </a:lnTo>
                <a:lnTo>
                  <a:pt x="104400" y="243266"/>
                </a:lnTo>
                <a:lnTo>
                  <a:pt x="119353" y="246572"/>
                </a:lnTo>
                <a:lnTo>
                  <a:pt x="134873" y="248607"/>
                </a:lnTo>
                <a:lnTo>
                  <a:pt x="150875" y="249300"/>
                </a:lnTo>
                <a:lnTo>
                  <a:pt x="157411" y="249185"/>
                </a:lnTo>
                <a:lnTo>
                  <a:pt x="173214" y="247938"/>
                </a:lnTo>
                <a:lnTo>
                  <a:pt x="188502" y="245377"/>
                </a:lnTo>
                <a:lnTo>
                  <a:pt x="203190" y="241572"/>
                </a:lnTo>
                <a:lnTo>
                  <a:pt x="217193" y="236595"/>
                </a:lnTo>
                <a:lnTo>
                  <a:pt x="230426" y="230515"/>
                </a:lnTo>
                <a:lnTo>
                  <a:pt x="242803" y="223404"/>
                </a:lnTo>
                <a:lnTo>
                  <a:pt x="254239" y="215331"/>
                </a:lnTo>
                <a:lnTo>
                  <a:pt x="264649" y="206367"/>
                </a:lnTo>
                <a:lnTo>
                  <a:pt x="273947" y="196582"/>
                </a:lnTo>
                <a:lnTo>
                  <a:pt x="282049" y="186047"/>
                </a:lnTo>
                <a:lnTo>
                  <a:pt x="288869" y="174833"/>
                </a:lnTo>
                <a:lnTo>
                  <a:pt x="294322" y="163009"/>
                </a:lnTo>
                <a:lnTo>
                  <a:pt x="298322" y="150646"/>
                </a:lnTo>
                <a:lnTo>
                  <a:pt x="300785" y="137815"/>
                </a:lnTo>
                <a:lnTo>
                  <a:pt x="301625" y="124587"/>
                </a:lnTo>
                <a:lnTo>
                  <a:pt x="299990" y="106180"/>
                </a:lnTo>
                <a:lnTo>
                  <a:pt x="296901" y="93528"/>
                </a:lnTo>
                <a:lnTo>
                  <a:pt x="292307" y="81375"/>
                </a:lnTo>
                <a:lnTo>
                  <a:pt x="286294" y="69792"/>
                </a:lnTo>
                <a:lnTo>
                  <a:pt x="278947" y="58848"/>
                </a:lnTo>
                <a:lnTo>
                  <a:pt x="270350" y="48613"/>
                </a:lnTo>
                <a:lnTo>
                  <a:pt x="260591" y="39158"/>
                </a:lnTo>
                <a:lnTo>
                  <a:pt x="249753" y="30553"/>
                </a:lnTo>
                <a:lnTo>
                  <a:pt x="237923" y="22868"/>
                </a:lnTo>
                <a:lnTo>
                  <a:pt x="225186" y="16172"/>
                </a:lnTo>
                <a:lnTo>
                  <a:pt x="211626" y="10537"/>
                </a:lnTo>
                <a:lnTo>
                  <a:pt x="197330" y="6032"/>
                </a:lnTo>
                <a:lnTo>
                  <a:pt x="182383" y="2727"/>
                </a:lnTo>
                <a:lnTo>
                  <a:pt x="166869" y="693"/>
                </a:lnTo>
                <a:lnTo>
                  <a:pt x="150875" y="0"/>
                </a:lnTo>
                <a:lnTo>
                  <a:pt x="144310" y="115"/>
                </a:lnTo>
                <a:lnTo>
                  <a:pt x="128487" y="1362"/>
                </a:lnTo>
                <a:lnTo>
                  <a:pt x="113181" y="3919"/>
                </a:lnTo>
                <a:lnTo>
                  <a:pt x="98479" y="7716"/>
                </a:lnTo>
                <a:lnTo>
                  <a:pt x="84464" y="12685"/>
                </a:lnTo>
                <a:lnTo>
                  <a:pt x="71222" y="18754"/>
                </a:lnTo>
                <a:lnTo>
                  <a:pt x="58837" y="25854"/>
                </a:lnTo>
                <a:lnTo>
                  <a:pt x="47395" y="33915"/>
                </a:lnTo>
                <a:lnTo>
                  <a:pt x="36981" y="42867"/>
                </a:lnTo>
                <a:lnTo>
                  <a:pt x="27680" y="52639"/>
                </a:lnTo>
                <a:lnTo>
                  <a:pt x="19576" y="63162"/>
                </a:lnTo>
                <a:lnTo>
                  <a:pt x="12755" y="74365"/>
                </a:lnTo>
                <a:lnTo>
                  <a:pt x="7302" y="86180"/>
                </a:lnTo>
                <a:lnTo>
                  <a:pt x="3302" y="98535"/>
                </a:lnTo>
                <a:lnTo>
                  <a:pt x="839" y="111360"/>
                </a:lnTo>
                <a:lnTo>
                  <a:pt x="0" y="124587"/>
                </a:lnTo>
                <a:close/>
              </a:path>
            </a:pathLst>
          </a:custGeom>
          <a:solidFill>
            <a:srgbClr val="00CC99"/>
          </a:solidFill>
        </p:spPr>
        <p:txBody>
          <a:bodyPr wrap="square" lIns="0" tIns="0" rIns="0" bIns="0" rtlCol="0">
            <a:noAutofit/>
          </a:bodyPr>
          <a:lstStyle/>
          <a:p>
            <a:endParaRPr/>
          </a:p>
        </p:txBody>
      </p:sp>
      <p:sp>
        <p:nvSpPr>
          <p:cNvPr id="133" name="object 133"/>
          <p:cNvSpPr/>
          <p:nvPr/>
        </p:nvSpPr>
        <p:spPr>
          <a:xfrm>
            <a:off x="3810001" y="2438400"/>
            <a:ext cx="301625" cy="249300"/>
          </a:xfrm>
          <a:custGeom>
            <a:avLst/>
            <a:gdLst/>
            <a:ahLst/>
            <a:cxnLst/>
            <a:rect l="l" t="t" r="r" b="b"/>
            <a:pathLst>
              <a:path w="301625" h="249300">
                <a:moveTo>
                  <a:pt x="0" y="124587"/>
                </a:moveTo>
                <a:lnTo>
                  <a:pt x="839" y="111360"/>
                </a:lnTo>
                <a:lnTo>
                  <a:pt x="3302" y="98535"/>
                </a:lnTo>
                <a:lnTo>
                  <a:pt x="7302" y="86180"/>
                </a:lnTo>
                <a:lnTo>
                  <a:pt x="12755" y="74365"/>
                </a:lnTo>
                <a:lnTo>
                  <a:pt x="19576" y="63162"/>
                </a:lnTo>
                <a:lnTo>
                  <a:pt x="27680" y="52639"/>
                </a:lnTo>
                <a:lnTo>
                  <a:pt x="36981" y="42867"/>
                </a:lnTo>
                <a:lnTo>
                  <a:pt x="47395" y="33915"/>
                </a:lnTo>
                <a:lnTo>
                  <a:pt x="58837" y="25854"/>
                </a:lnTo>
                <a:lnTo>
                  <a:pt x="71222" y="18754"/>
                </a:lnTo>
                <a:lnTo>
                  <a:pt x="84464" y="12685"/>
                </a:lnTo>
                <a:lnTo>
                  <a:pt x="98479" y="7716"/>
                </a:lnTo>
                <a:lnTo>
                  <a:pt x="113181" y="3919"/>
                </a:lnTo>
                <a:lnTo>
                  <a:pt x="128487" y="1362"/>
                </a:lnTo>
                <a:lnTo>
                  <a:pt x="144310" y="115"/>
                </a:lnTo>
                <a:lnTo>
                  <a:pt x="150875" y="0"/>
                </a:lnTo>
                <a:lnTo>
                  <a:pt x="166869" y="693"/>
                </a:lnTo>
                <a:lnTo>
                  <a:pt x="182383" y="2727"/>
                </a:lnTo>
                <a:lnTo>
                  <a:pt x="197330" y="6032"/>
                </a:lnTo>
                <a:lnTo>
                  <a:pt x="211626" y="10537"/>
                </a:lnTo>
                <a:lnTo>
                  <a:pt x="225186" y="16172"/>
                </a:lnTo>
                <a:lnTo>
                  <a:pt x="237923" y="22868"/>
                </a:lnTo>
                <a:lnTo>
                  <a:pt x="249753" y="30553"/>
                </a:lnTo>
                <a:lnTo>
                  <a:pt x="260591" y="39158"/>
                </a:lnTo>
                <a:lnTo>
                  <a:pt x="270350" y="48613"/>
                </a:lnTo>
                <a:lnTo>
                  <a:pt x="278947" y="58848"/>
                </a:lnTo>
                <a:lnTo>
                  <a:pt x="286294" y="69792"/>
                </a:lnTo>
                <a:lnTo>
                  <a:pt x="292307" y="81375"/>
                </a:lnTo>
                <a:lnTo>
                  <a:pt x="296901" y="93528"/>
                </a:lnTo>
                <a:lnTo>
                  <a:pt x="299990" y="106180"/>
                </a:lnTo>
                <a:lnTo>
                  <a:pt x="301489" y="119261"/>
                </a:lnTo>
                <a:lnTo>
                  <a:pt x="301625" y="124587"/>
                </a:lnTo>
                <a:lnTo>
                  <a:pt x="300785" y="137815"/>
                </a:lnTo>
                <a:lnTo>
                  <a:pt x="298322" y="150646"/>
                </a:lnTo>
                <a:lnTo>
                  <a:pt x="294322" y="163009"/>
                </a:lnTo>
                <a:lnTo>
                  <a:pt x="288869" y="174833"/>
                </a:lnTo>
                <a:lnTo>
                  <a:pt x="282049" y="186047"/>
                </a:lnTo>
                <a:lnTo>
                  <a:pt x="273947" y="196582"/>
                </a:lnTo>
                <a:lnTo>
                  <a:pt x="264649" y="206367"/>
                </a:lnTo>
                <a:lnTo>
                  <a:pt x="254239" y="215331"/>
                </a:lnTo>
                <a:lnTo>
                  <a:pt x="242803" y="223404"/>
                </a:lnTo>
                <a:lnTo>
                  <a:pt x="230426" y="230515"/>
                </a:lnTo>
                <a:lnTo>
                  <a:pt x="217193" y="236595"/>
                </a:lnTo>
                <a:lnTo>
                  <a:pt x="203190" y="241572"/>
                </a:lnTo>
                <a:lnTo>
                  <a:pt x="188502" y="245377"/>
                </a:lnTo>
                <a:lnTo>
                  <a:pt x="173214" y="247938"/>
                </a:lnTo>
                <a:lnTo>
                  <a:pt x="157411" y="249185"/>
                </a:lnTo>
                <a:lnTo>
                  <a:pt x="150875" y="249300"/>
                </a:lnTo>
                <a:lnTo>
                  <a:pt x="134873" y="248607"/>
                </a:lnTo>
                <a:lnTo>
                  <a:pt x="119353" y="246572"/>
                </a:lnTo>
                <a:lnTo>
                  <a:pt x="104400" y="243266"/>
                </a:lnTo>
                <a:lnTo>
                  <a:pt x="90100" y="238760"/>
                </a:lnTo>
                <a:lnTo>
                  <a:pt x="76537" y="233125"/>
                </a:lnTo>
                <a:lnTo>
                  <a:pt x="63797" y="226429"/>
                </a:lnTo>
                <a:lnTo>
                  <a:pt x="51964" y="218744"/>
                </a:lnTo>
                <a:lnTo>
                  <a:pt x="41123" y="210141"/>
                </a:lnTo>
                <a:lnTo>
                  <a:pt x="31358" y="200689"/>
                </a:lnTo>
                <a:lnTo>
                  <a:pt x="22756" y="190458"/>
                </a:lnTo>
                <a:lnTo>
                  <a:pt x="15400" y="179520"/>
                </a:lnTo>
                <a:lnTo>
                  <a:pt x="9377" y="167944"/>
                </a:lnTo>
                <a:lnTo>
                  <a:pt x="4769" y="155801"/>
                </a:lnTo>
                <a:lnTo>
                  <a:pt x="1664" y="143160"/>
                </a:lnTo>
                <a:lnTo>
                  <a:pt x="144" y="130094"/>
                </a:lnTo>
                <a:lnTo>
                  <a:pt x="0" y="124587"/>
                </a:lnTo>
                <a:close/>
              </a:path>
            </a:pathLst>
          </a:custGeom>
          <a:ln w="25400">
            <a:solidFill>
              <a:srgbClr val="000000"/>
            </a:solidFill>
          </a:ln>
        </p:spPr>
        <p:txBody>
          <a:bodyPr wrap="square" lIns="0" tIns="0" rIns="0" bIns="0" rtlCol="0">
            <a:noAutofit/>
          </a:bodyPr>
          <a:lstStyle/>
          <a:p>
            <a:endParaRPr/>
          </a:p>
        </p:txBody>
      </p:sp>
      <p:sp>
        <p:nvSpPr>
          <p:cNvPr id="77" name="object 77"/>
          <p:cNvSpPr/>
          <p:nvPr/>
        </p:nvSpPr>
        <p:spPr>
          <a:xfrm>
            <a:off x="7502525" y="5132324"/>
            <a:ext cx="76200" cy="419100"/>
          </a:xfrm>
          <a:custGeom>
            <a:avLst/>
            <a:gdLst/>
            <a:ahLst/>
            <a:cxnLst/>
            <a:rect l="l" t="t" r="r" b="b"/>
            <a:pathLst>
              <a:path w="76200" h="419100">
                <a:moveTo>
                  <a:pt x="76200" y="292100"/>
                </a:moveTo>
                <a:lnTo>
                  <a:pt x="50800" y="325966"/>
                </a:lnTo>
                <a:lnTo>
                  <a:pt x="38100" y="342900"/>
                </a:lnTo>
                <a:lnTo>
                  <a:pt x="25400" y="342900"/>
                </a:lnTo>
                <a:lnTo>
                  <a:pt x="25400" y="325966"/>
                </a:lnTo>
                <a:lnTo>
                  <a:pt x="0" y="292100"/>
                </a:lnTo>
                <a:lnTo>
                  <a:pt x="38100" y="419100"/>
                </a:lnTo>
                <a:lnTo>
                  <a:pt x="50800" y="342900"/>
                </a:lnTo>
                <a:lnTo>
                  <a:pt x="76200" y="292100"/>
                </a:lnTo>
                <a:close/>
              </a:path>
              <a:path w="76200" h="419100">
                <a:moveTo>
                  <a:pt x="38100" y="342900"/>
                </a:moveTo>
                <a:lnTo>
                  <a:pt x="50800" y="325966"/>
                </a:lnTo>
                <a:lnTo>
                  <a:pt x="50800" y="0"/>
                </a:lnTo>
                <a:lnTo>
                  <a:pt x="25400" y="0"/>
                </a:lnTo>
                <a:lnTo>
                  <a:pt x="25400" y="342900"/>
                </a:lnTo>
                <a:lnTo>
                  <a:pt x="38100" y="342900"/>
                </a:lnTo>
                <a:close/>
              </a:path>
              <a:path w="76200" h="419100">
                <a:moveTo>
                  <a:pt x="50800" y="342900"/>
                </a:moveTo>
                <a:lnTo>
                  <a:pt x="38100" y="419100"/>
                </a:lnTo>
                <a:lnTo>
                  <a:pt x="76200" y="292100"/>
                </a:lnTo>
                <a:lnTo>
                  <a:pt x="50800" y="342900"/>
                </a:lnTo>
                <a:close/>
              </a:path>
            </a:pathLst>
          </a:custGeom>
          <a:solidFill>
            <a:srgbClr val="000000"/>
          </a:solidFill>
        </p:spPr>
        <p:txBody>
          <a:bodyPr wrap="square" lIns="0" tIns="0" rIns="0" bIns="0" rtlCol="0">
            <a:noAutofit/>
          </a:bodyPr>
          <a:lstStyle/>
          <a:p>
            <a:endParaRPr/>
          </a:p>
        </p:txBody>
      </p:sp>
      <p:sp>
        <p:nvSpPr>
          <p:cNvPr id="78" name="object 78"/>
          <p:cNvSpPr/>
          <p:nvPr/>
        </p:nvSpPr>
        <p:spPr>
          <a:xfrm>
            <a:off x="7021068" y="5571744"/>
            <a:ext cx="1248156" cy="792480"/>
          </a:xfrm>
          <a:prstGeom prst="rect">
            <a:avLst/>
          </a:prstGeom>
          <a:blipFill>
            <a:blip r:embed="rId4" cstate="print"/>
            <a:stretch>
              <a:fillRect/>
            </a:stretch>
          </a:blipFill>
        </p:spPr>
        <p:txBody>
          <a:bodyPr wrap="square" lIns="0" tIns="0" rIns="0" bIns="0" rtlCol="0">
            <a:noAutofit/>
          </a:bodyPr>
          <a:lstStyle/>
          <a:p>
            <a:endParaRPr/>
          </a:p>
        </p:txBody>
      </p:sp>
      <p:sp>
        <p:nvSpPr>
          <p:cNvPr id="79" name="object 79"/>
          <p:cNvSpPr/>
          <p:nvPr/>
        </p:nvSpPr>
        <p:spPr>
          <a:xfrm>
            <a:off x="7010400"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solidFill>
            <a:srgbClr val="F8DAA2"/>
          </a:solidFill>
        </p:spPr>
        <p:txBody>
          <a:bodyPr wrap="square" lIns="0" tIns="0" rIns="0" bIns="0" rtlCol="0">
            <a:noAutofit/>
          </a:bodyPr>
          <a:lstStyle/>
          <a:p>
            <a:endParaRPr/>
          </a:p>
        </p:txBody>
      </p:sp>
      <p:sp>
        <p:nvSpPr>
          <p:cNvPr id="80" name="object 80"/>
          <p:cNvSpPr/>
          <p:nvPr/>
        </p:nvSpPr>
        <p:spPr>
          <a:xfrm>
            <a:off x="7010400" y="5561013"/>
            <a:ext cx="1219200" cy="763587"/>
          </a:xfrm>
          <a:custGeom>
            <a:avLst/>
            <a:gdLst/>
            <a:ahLst/>
            <a:cxnLst/>
            <a:rect l="l" t="t" r="r" b="b"/>
            <a:pathLst>
              <a:path w="1219200" h="763587">
                <a:moveTo>
                  <a:pt x="0" y="763587"/>
                </a:moveTo>
                <a:lnTo>
                  <a:pt x="1219200" y="763587"/>
                </a:lnTo>
                <a:lnTo>
                  <a:pt x="1219200" y="0"/>
                </a:lnTo>
                <a:lnTo>
                  <a:pt x="0" y="0"/>
                </a:lnTo>
                <a:lnTo>
                  <a:pt x="0" y="763587"/>
                </a:lnTo>
                <a:close/>
              </a:path>
            </a:pathLst>
          </a:custGeom>
          <a:ln w="25400">
            <a:solidFill>
              <a:srgbClr val="000000"/>
            </a:solidFill>
          </a:ln>
        </p:spPr>
        <p:txBody>
          <a:bodyPr wrap="square" lIns="0" tIns="0" rIns="0" bIns="0" rtlCol="0">
            <a:noAutofit/>
          </a:bodyPr>
          <a:lstStyle/>
          <a:p>
            <a:endParaRPr/>
          </a:p>
        </p:txBody>
      </p:sp>
      <p:sp>
        <p:nvSpPr>
          <p:cNvPr id="81" name="object 81"/>
          <p:cNvSpPr/>
          <p:nvPr/>
        </p:nvSpPr>
        <p:spPr>
          <a:xfrm>
            <a:off x="7199376" y="5670550"/>
            <a:ext cx="649224" cy="0"/>
          </a:xfrm>
          <a:custGeom>
            <a:avLst/>
            <a:gdLst/>
            <a:ahLst/>
            <a:cxnLst/>
            <a:rect l="l" t="t" r="r" b="b"/>
            <a:pathLst>
              <a:path w="649224">
                <a:moveTo>
                  <a:pt x="0" y="0"/>
                </a:moveTo>
                <a:lnTo>
                  <a:pt x="649224" y="0"/>
                </a:lnTo>
              </a:path>
            </a:pathLst>
          </a:custGeom>
          <a:ln w="25400">
            <a:solidFill>
              <a:srgbClr val="000000"/>
            </a:solidFill>
          </a:ln>
        </p:spPr>
        <p:txBody>
          <a:bodyPr wrap="square" lIns="0" tIns="0" rIns="0" bIns="0" rtlCol="0">
            <a:noAutofit/>
          </a:bodyPr>
          <a:lstStyle/>
          <a:p>
            <a:endParaRPr/>
          </a:p>
        </p:txBody>
      </p:sp>
      <p:sp>
        <p:nvSpPr>
          <p:cNvPr id="82" name="object 82"/>
          <p:cNvSpPr/>
          <p:nvPr/>
        </p:nvSpPr>
        <p:spPr>
          <a:xfrm>
            <a:off x="7543800" y="5670551"/>
            <a:ext cx="0" cy="300037"/>
          </a:xfrm>
          <a:custGeom>
            <a:avLst/>
            <a:gdLst/>
            <a:ahLst/>
            <a:cxnLst/>
            <a:rect l="l" t="t" r="r" b="b"/>
            <a:pathLst>
              <a:path h="300037">
                <a:moveTo>
                  <a:pt x="0" y="0"/>
                </a:moveTo>
                <a:lnTo>
                  <a:pt x="0" y="300037"/>
                </a:lnTo>
              </a:path>
            </a:pathLst>
          </a:custGeom>
          <a:ln w="25400">
            <a:solidFill>
              <a:srgbClr val="000000"/>
            </a:solidFill>
          </a:ln>
        </p:spPr>
        <p:txBody>
          <a:bodyPr wrap="square" lIns="0" tIns="0" rIns="0" bIns="0" rtlCol="0">
            <a:noAutofit/>
          </a:bodyPr>
          <a:lstStyle/>
          <a:p>
            <a:endParaRPr/>
          </a:p>
        </p:txBody>
      </p:sp>
      <p:sp>
        <p:nvSpPr>
          <p:cNvPr id="83" name="object 83"/>
          <p:cNvSpPr/>
          <p:nvPr/>
        </p:nvSpPr>
        <p:spPr>
          <a:xfrm>
            <a:off x="7323201" y="6029325"/>
            <a:ext cx="649224" cy="0"/>
          </a:xfrm>
          <a:custGeom>
            <a:avLst/>
            <a:gdLst/>
            <a:ahLst/>
            <a:cxnLst/>
            <a:rect l="l" t="t" r="r" b="b"/>
            <a:pathLst>
              <a:path w="649224">
                <a:moveTo>
                  <a:pt x="0" y="0"/>
                </a:moveTo>
                <a:lnTo>
                  <a:pt x="649224" y="0"/>
                </a:lnTo>
              </a:path>
            </a:pathLst>
          </a:custGeom>
          <a:ln w="25400">
            <a:solidFill>
              <a:srgbClr val="000000"/>
            </a:solidFill>
          </a:ln>
        </p:spPr>
        <p:txBody>
          <a:bodyPr wrap="square" lIns="0" tIns="0" rIns="0" bIns="0" rtlCol="0">
            <a:noAutofit/>
          </a:bodyPr>
          <a:lstStyle/>
          <a:p>
            <a:endParaRPr/>
          </a:p>
        </p:txBody>
      </p:sp>
      <p:sp>
        <p:nvSpPr>
          <p:cNvPr id="84" name="object 84"/>
          <p:cNvSpPr/>
          <p:nvPr/>
        </p:nvSpPr>
        <p:spPr>
          <a:xfrm>
            <a:off x="7648575" y="6029326"/>
            <a:ext cx="0" cy="179387"/>
          </a:xfrm>
          <a:custGeom>
            <a:avLst/>
            <a:gdLst/>
            <a:ahLst/>
            <a:cxnLst/>
            <a:rect l="l" t="t" r="r" b="b"/>
            <a:pathLst>
              <a:path h="179387">
                <a:moveTo>
                  <a:pt x="0" y="0"/>
                </a:moveTo>
                <a:lnTo>
                  <a:pt x="0" y="179387"/>
                </a:lnTo>
              </a:path>
            </a:pathLst>
          </a:custGeom>
          <a:ln w="25400">
            <a:solidFill>
              <a:srgbClr val="000000"/>
            </a:solidFill>
          </a:ln>
        </p:spPr>
        <p:txBody>
          <a:bodyPr wrap="square" lIns="0" tIns="0" rIns="0" bIns="0" rtlCol="0">
            <a:noAutofit/>
          </a:bodyPr>
          <a:lstStyle/>
          <a:p>
            <a:endParaRPr/>
          </a:p>
        </p:txBody>
      </p:sp>
      <p:sp>
        <p:nvSpPr>
          <p:cNvPr id="85" name="object 85"/>
          <p:cNvSpPr/>
          <p:nvPr/>
        </p:nvSpPr>
        <p:spPr>
          <a:xfrm>
            <a:off x="7043982" y="4509708"/>
            <a:ext cx="0" cy="634303"/>
          </a:xfrm>
          <a:custGeom>
            <a:avLst/>
            <a:gdLst/>
            <a:ahLst/>
            <a:cxnLst/>
            <a:rect l="l" t="t" r="r" b="b"/>
            <a:pathLst>
              <a:path h="634303">
                <a:moveTo>
                  <a:pt x="0" y="634303"/>
                </a:moveTo>
                <a:lnTo>
                  <a:pt x="0" y="0"/>
                </a:lnTo>
                <a:lnTo>
                  <a:pt x="0" y="634303"/>
                </a:lnTo>
                <a:close/>
              </a:path>
            </a:pathLst>
          </a:custGeom>
          <a:solidFill>
            <a:srgbClr val="FFFFFF"/>
          </a:solidFill>
        </p:spPr>
        <p:txBody>
          <a:bodyPr wrap="square" lIns="0" tIns="0" rIns="0" bIns="0" rtlCol="0">
            <a:noAutofit/>
          </a:bodyPr>
          <a:lstStyle/>
          <a:p>
            <a:endParaRPr/>
          </a:p>
        </p:txBody>
      </p:sp>
      <p:sp>
        <p:nvSpPr>
          <p:cNvPr id="86" name="object 86"/>
          <p:cNvSpPr/>
          <p:nvPr/>
        </p:nvSpPr>
        <p:spPr>
          <a:xfrm>
            <a:off x="7043982" y="4509708"/>
            <a:ext cx="1028352" cy="634303"/>
          </a:xfrm>
          <a:custGeom>
            <a:avLst/>
            <a:gdLst/>
            <a:ahLst/>
            <a:cxnLst/>
            <a:rect l="l" t="t" r="r" b="b"/>
            <a:pathLst>
              <a:path w="1028352" h="634303">
                <a:moveTo>
                  <a:pt x="0" y="634303"/>
                </a:moveTo>
                <a:lnTo>
                  <a:pt x="1028352" y="634303"/>
                </a:lnTo>
                <a:lnTo>
                  <a:pt x="1028352" y="0"/>
                </a:lnTo>
                <a:lnTo>
                  <a:pt x="0" y="0"/>
                </a:lnTo>
                <a:lnTo>
                  <a:pt x="0" y="634303"/>
                </a:lnTo>
                <a:close/>
              </a:path>
            </a:pathLst>
          </a:custGeom>
          <a:solidFill>
            <a:srgbClr val="FFFFFF"/>
          </a:solidFill>
        </p:spPr>
        <p:txBody>
          <a:bodyPr wrap="square" lIns="0" tIns="0" rIns="0" bIns="0" rtlCol="0">
            <a:noAutofit/>
          </a:bodyPr>
          <a:lstStyle/>
          <a:p>
            <a:endParaRPr/>
          </a:p>
        </p:txBody>
      </p:sp>
      <p:sp>
        <p:nvSpPr>
          <p:cNvPr id="87" name="object 87"/>
          <p:cNvSpPr/>
          <p:nvPr/>
        </p:nvSpPr>
        <p:spPr>
          <a:xfrm>
            <a:off x="7043983" y="4509710"/>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1502">
            <a:solidFill>
              <a:srgbClr val="000000"/>
            </a:solidFill>
          </a:ln>
        </p:spPr>
        <p:txBody>
          <a:bodyPr wrap="square" lIns="0" tIns="0" rIns="0" bIns="0" rtlCol="0">
            <a:noAutofit/>
          </a:bodyPr>
          <a:lstStyle/>
          <a:p>
            <a:endParaRPr/>
          </a:p>
        </p:txBody>
      </p:sp>
      <p:sp>
        <p:nvSpPr>
          <p:cNvPr id="88" name="object 88"/>
          <p:cNvSpPr/>
          <p:nvPr/>
        </p:nvSpPr>
        <p:spPr>
          <a:xfrm>
            <a:off x="7724689" y="4510420"/>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1540">
            <a:solidFill>
              <a:srgbClr val="000000"/>
            </a:solidFill>
          </a:ln>
        </p:spPr>
        <p:txBody>
          <a:bodyPr wrap="square" lIns="0" tIns="0" rIns="0" bIns="0" rtlCol="0">
            <a:noAutofit/>
          </a:bodyPr>
          <a:lstStyle/>
          <a:p>
            <a:endParaRPr/>
          </a:p>
        </p:txBody>
      </p:sp>
      <p:sp>
        <p:nvSpPr>
          <p:cNvPr id="89" name="object 89"/>
          <p:cNvSpPr/>
          <p:nvPr/>
        </p:nvSpPr>
        <p:spPr>
          <a:xfrm>
            <a:off x="7872332" y="4570086"/>
            <a:ext cx="145068" cy="120752"/>
          </a:xfrm>
          <a:custGeom>
            <a:avLst/>
            <a:gdLst/>
            <a:ahLst/>
            <a:cxnLst/>
            <a:rect l="l" t="t" r="r" b="b"/>
            <a:pathLst>
              <a:path w="145068" h="120752">
                <a:moveTo>
                  <a:pt x="0" y="0"/>
                </a:moveTo>
                <a:lnTo>
                  <a:pt x="145068" y="120752"/>
                </a:lnTo>
              </a:path>
            </a:pathLst>
          </a:custGeom>
          <a:ln w="1541">
            <a:solidFill>
              <a:srgbClr val="000000"/>
            </a:solidFill>
          </a:ln>
        </p:spPr>
        <p:txBody>
          <a:bodyPr wrap="square" lIns="0" tIns="0" rIns="0" bIns="0" rtlCol="0">
            <a:noAutofit/>
          </a:bodyPr>
          <a:lstStyle/>
          <a:p>
            <a:endParaRPr/>
          </a:p>
        </p:txBody>
      </p:sp>
      <p:sp>
        <p:nvSpPr>
          <p:cNvPr id="90" name="object 90"/>
          <p:cNvSpPr/>
          <p:nvPr/>
        </p:nvSpPr>
        <p:spPr>
          <a:xfrm>
            <a:off x="7044747" y="2596709"/>
            <a:ext cx="1099541" cy="634300"/>
          </a:xfrm>
          <a:custGeom>
            <a:avLst/>
            <a:gdLst/>
            <a:ahLst/>
            <a:cxnLst/>
            <a:rect l="l" t="t" r="r" b="b"/>
            <a:pathLst>
              <a:path w="1099541" h="634300">
                <a:moveTo>
                  <a:pt x="1099541" y="634300"/>
                </a:moveTo>
                <a:lnTo>
                  <a:pt x="0" y="634300"/>
                </a:lnTo>
                <a:lnTo>
                  <a:pt x="0" y="0"/>
                </a:lnTo>
                <a:lnTo>
                  <a:pt x="1099541" y="0"/>
                </a:lnTo>
                <a:lnTo>
                  <a:pt x="1099541" y="634300"/>
                </a:lnTo>
              </a:path>
            </a:pathLst>
          </a:custGeom>
          <a:ln w="762">
            <a:solidFill>
              <a:srgbClr val="000000"/>
            </a:solidFill>
          </a:ln>
        </p:spPr>
        <p:txBody>
          <a:bodyPr wrap="square" lIns="0" tIns="0" rIns="0" bIns="0" rtlCol="0">
            <a:noAutofit/>
          </a:bodyPr>
          <a:lstStyle/>
          <a:p>
            <a:endParaRPr/>
          </a:p>
        </p:txBody>
      </p:sp>
      <p:sp>
        <p:nvSpPr>
          <p:cNvPr id="91" name="object 91"/>
          <p:cNvSpPr/>
          <p:nvPr/>
        </p:nvSpPr>
        <p:spPr>
          <a:xfrm>
            <a:off x="7772575" y="2597419"/>
            <a:ext cx="371713" cy="287674"/>
          </a:xfrm>
          <a:custGeom>
            <a:avLst/>
            <a:gdLst/>
            <a:ahLst/>
            <a:cxnLst/>
            <a:rect l="l" t="t" r="r" b="b"/>
            <a:pathLst>
              <a:path w="371713" h="287674">
                <a:moveTo>
                  <a:pt x="371713" y="287674"/>
                </a:moveTo>
                <a:lnTo>
                  <a:pt x="371713" y="279860"/>
                </a:lnTo>
                <a:lnTo>
                  <a:pt x="370795" y="272047"/>
                </a:lnTo>
                <a:lnTo>
                  <a:pt x="369877" y="264944"/>
                </a:lnTo>
                <a:lnTo>
                  <a:pt x="368042" y="257130"/>
                </a:lnTo>
                <a:lnTo>
                  <a:pt x="365288" y="250027"/>
                </a:lnTo>
                <a:lnTo>
                  <a:pt x="363453" y="242214"/>
                </a:lnTo>
                <a:lnTo>
                  <a:pt x="359781" y="235111"/>
                </a:lnTo>
                <a:lnTo>
                  <a:pt x="357028" y="228718"/>
                </a:lnTo>
                <a:lnTo>
                  <a:pt x="352439" y="221615"/>
                </a:lnTo>
                <a:lnTo>
                  <a:pt x="347850" y="215222"/>
                </a:lnTo>
                <a:lnTo>
                  <a:pt x="343261" y="208830"/>
                </a:lnTo>
                <a:lnTo>
                  <a:pt x="338672" y="202437"/>
                </a:lnTo>
                <a:lnTo>
                  <a:pt x="333165" y="196754"/>
                </a:lnTo>
                <a:lnTo>
                  <a:pt x="326740" y="191072"/>
                </a:lnTo>
                <a:lnTo>
                  <a:pt x="320315" y="186100"/>
                </a:lnTo>
                <a:lnTo>
                  <a:pt x="313891" y="181128"/>
                </a:lnTo>
                <a:lnTo>
                  <a:pt x="303795" y="174735"/>
                </a:lnTo>
                <a:lnTo>
                  <a:pt x="292781" y="169052"/>
                </a:lnTo>
                <a:lnTo>
                  <a:pt x="287274" y="166211"/>
                </a:lnTo>
                <a:lnTo>
                  <a:pt x="281767" y="164080"/>
                </a:lnTo>
                <a:lnTo>
                  <a:pt x="269836" y="159818"/>
                </a:lnTo>
                <a:lnTo>
                  <a:pt x="257904" y="156977"/>
                </a:lnTo>
                <a:lnTo>
                  <a:pt x="244137" y="154136"/>
                </a:lnTo>
                <a:lnTo>
                  <a:pt x="237713" y="153426"/>
                </a:lnTo>
                <a:lnTo>
                  <a:pt x="231288" y="152715"/>
                </a:lnTo>
                <a:lnTo>
                  <a:pt x="223945" y="152715"/>
                </a:lnTo>
                <a:lnTo>
                  <a:pt x="216603" y="152715"/>
                </a:lnTo>
                <a:lnTo>
                  <a:pt x="174384" y="152715"/>
                </a:lnTo>
                <a:lnTo>
                  <a:pt x="174384" y="120041"/>
                </a:lnTo>
                <a:lnTo>
                  <a:pt x="174384" y="113649"/>
                </a:lnTo>
                <a:lnTo>
                  <a:pt x="173466" y="107966"/>
                </a:lnTo>
                <a:lnTo>
                  <a:pt x="172548" y="102284"/>
                </a:lnTo>
                <a:lnTo>
                  <a:pt x="171630" y="96601"/>
                </a:lnTo>
                <a:lnTo>
                  <a:pt x="169795" y="90919"/>
                </a:lnTo>
                <a:lnTo>
                  <a:pt x="167959" y="85947"/>
                </a:lnTo>
                <a:lnTo>
                  <a:pt x="165205" y="80264"/>
                </a:lnTo>
                <a:lnTo>
                  <a:pt x="163370" y="75292"/>
                </a:lnTo>
                <a:lnTo>
                  <a:pt x="159699" y="70320"/>
                </a:lnTo>
                <a:lnTo>
                  <a:pt x="156945" y="65348"/>
                </a:lnTo>
                <a:lnTo>
                  <a:pt x="153274" y="61086"/>
                </a:lnTo>
                <a:lnTo>
                  <a:pt x="149603" y="56114"/>
                </a:lnTo>
                <a:lnTo>
                  <a:pt x="145931" y="51852"/>
                </a:lnTo>
                <a:lnTo>
                  <a:pt x="141342" y="47590"/>
                </a:lnTo>
                <a:lnTo>
                  <a:pt x="132164" y="39777"/>
                </a:lnTo>
                <a:lnTo>
                  <a:pt x="125740" y="35515"/>
                </a:lnTo>
                <a:lnTo>
                  <a:pt x="118397" y="30543"/>
                </a:lnTo>
                <a:lnTo>
                  <a:pt x="111972" y="26991"/>
                </a:lnTo>
                <a:lnTo>
                  <a:pt x="104630" y="22729"/>
                </a:lnTo>
                <a:lnTo>
                  <a:pt x="96370" y="19178"/>
                </a:lnTo>
                <a:lnTo>
                  <a:pt x="89027" y="15626"/>
                </a:lnTo>
                <a:lnTo>
                  <a:pt x="80767" y="12785"/>
                </a:lnTo>
                <a:lnTo>
                  <a:pt x="72507" y="9944"/>
                </a:lnTo>
                <a:lnTo>
                  <a:pt x="63328" y="7813"/>
                </a:lnTo>
                <a:lnTo>
                  <a:pt x="55068" y="5682"/>
                </a:lnTo>
                <a:lnTo>
                  <a:pt x="45890" y="3551"/>
                </a:lnTo>
                <a:lnTo>
                  <a:pt x="36712" y="2130"/>
                </a:lnTo>
                <a:lnTo>
                  <a:pt x="27534" y="1420"/>
                </a:lnTo>
                <a:lnTo>
                  <a:pt x="18356" y="710"/>
                </a:lnTo>
                <a:lnTo>
                  <a:pt x="9178" y="0"/>
                </a:lnTo>
                <a:lnTo>
                  <a:pt x="0" y="0"/>
                </a:lnTo>
              </a:path>
            </a:pathLst>
          </a:custGeom>
          <a:ln w="788">
            <a:solidFill>
              <a:srgbClr val="000000"/>
            </a:solidFill>
          </a:ln>
        </p:spPr>
        <p:txBody>
          <a:bodyPr wrap="square" lIns="0" tIns="0" rIns="0" bIns="0" rtlCol="0">
            <a:noAutofit/>
          </a:bodyPr>
          <a:lstStyle/>
          <a:p>
            <a:endParaRPr/>
          </a:p>
        </p:txBody>
      </p:sp>
      <p:sp>
        <p:nvSpPr>
          <p:cNvPr id="92" name="object 92"/>
          <p:cNvSpPr/>
          <p:nvPr/>
        </p:nvSpPr>
        <p:spPr>
          <a:xfrm>
            <a:off x="7930437" y="2657085"/>
            <a:ext cx="155110" cy="120752"/>
          </a:xfrm>
          <a:custGeom>
            <a:avLst/>
            <a:gdLst/>
            <a:ahLst/>
            <a:cxnLst/>
            <a:rect l="l" t="t" r="r" b="b"/>
            <a:pathLst>
              <a:path w="155110" h="120752">
                <a:moveTo>
                  <a:pt x="0" y="0"/>
                </a:moveTo>
                <a:lnTo>
                  <a:pt x="155110" y="120752"/>
                </a:lnTo>
              </a:path>
            </a:pathLst>
          </a:custGeom>
          <a:ln w="788">
            <a:solidFill>
              <a:srgbClr val="000000"/>
            </a:solidFill>
          </a:ln>
        </p:spPr>
        <p:txBody>
          <a:bodyPr wrap="square" lIns="0" tIns="0" rIns="0" bIns="0" rtlCol="0">
            <a:noAutofit/>
          </a:bodyPr>
          <a:lstStyle/>
          <a:p>
            <a:endParaRPr/>
          </a:p>
        </p:txBody>
      </p:sp>
      <p:sp>
        <p:nvSpPr>
          <p:cNvPr id="93" name="object 93"/>
          <p:cNvSpPr/>
          <p:nvPr/>
        </p:nvSpPr>
        <p:spPr>
          <a:xfrm>
            <a:off x="7502525" y="3220975"/>
            <a:ext cx="76200" cy="1254125"/>
          </a:xfrm>
          <a:custGeom>
            <a:avLst/>
            <a:gdLst/>
            <a:ahLst/>
            <a:cxnLst/>
            <a:rect l="l" t="t" r="r" b="b"/>
            <a:pathLst>
              <a:path w="76200" h="1254125">
                <a:moveTo>
                  <a:pt x="76200" y="1127125"/>
                </a:moveTo>
                <a:lnTo>
                  <a:pt x="50800" y="1160991"/>
                </a:lnTo>
                <a:lnTo>
                  <a:pt x="38100" y="1177925"/>
                </a:lnTo>
                <a:lnTo>
                  <a:pt x="25400" y="1177925"/>
                </a:lnTo>
                <a:lnTo>
                  <a:pt x="25400" y="1160991"/>
                </a:lnTo>
                <a:lnTo>
                  <a:pt x="0" y="1127125"/>
                </a:lnTo>
                <a:lnTo>
                  <a:pt x="38100" y="1254125"/>
                </a:lnTo>
                <a:lnTo>
                  <a:pt x="50800" y="1177925"/>
                </a:lnTo>
                <a:lnTo>
                  <a:pt x="76200" y="1127125"/>
                </a:lnTo>
                <a:close/>
              </a:path>
              <a:path w="76200" h="1254125">
                <a:moveTo>
                  <a:pt x="38100" y="1177925"/>
                </a:moveTo>
                <a:lnTo>
                  <a:pt x="50800" y="1160991"/>
                </a:lnTo>
                <a:lnTo>
                  <a:pt x="50800" y="0"/>
                </a:lnTo>
                <a:lnTo>
                  <a:pt x="25400" y="0"/>
                </a:lnTo>
                <a:lnTo>
                  <a:pt x="25400" y="1177925"/>
                </a:lnTo>
                <a:lnTo>
                  <a:pt x="38100" y="1177925"/>
                </a:lnTo>
                <a:close/>
              </a:path>
              <a:path w="76200" h="1254125">
                <a:moveTo>
                  <a:pt x="50800" y="1177925"/>
                </a:moveTo>
                <a:lnTo>
                  <a:pt x="38100" y="1254125"/>
                </a:lnTo>
                <a:lnTo>
                  <a:pt x="76200" y="1127125"/>
                </a:lnTo>
                <a:lnTo>
                  <a:pt x="50800" y="1177925"/>
                </a:lnTo>
                <a:close/>
              </a:path>
            </a:pathLst>
          </a:custGeom>
          <a:solidFill>
            <a:srgbClr val="000000"/>
          </a:solidFill>
        </p:spPr>
        <p:txBody>
          <a:bodyPr wrap="square" lIns="0" tIns="0" rIns="0" bIns="0" rtlCol="0">
            <a:noAutofit/>
          </a:bodyPr>
          <a:lstStyle/>
          <a:p>
            <a:endParaRPr/>
          </a:p>
        </p:txBody>
      </p:sp>
      <p:sp>
        <p:nvSpPr>
          <p:cNvPr id="94" name="object 94"/>
          <p:cNvSpPr/>
          <p:nvPr/>
        </p:nvSpPr>
        <p:spPr>
          <a:xfrm>
            <a:off x="6831076" y="2438400"/>
            <a:ext cx="299974" cy="249300"/>
          </a:xfrm>
          <a:custGeom>
            <a:avLst/>
            <a:gdLst/>
            <a:ahLst/>
            <a:cxnLst/>
            <a:rect l="l" t="t" r="r" b="b"/>
            <a:pathLst>
              <a:path w="299974" h="249300">
                <a:moveTo>
                  <a:pt x="0" y="124587"/>
                </a:moveTo>
                <a:lnTo>
                  <a:pt x="1540" y="142528"/>
                </a:lnTo>
                <a:lnTo>
                  <a:pt x="4561" y="155234"/>
                </a:lnTo>
                <a:lnTo>
                  <a:pt x="9087" y="167443"/>
                </a:lnTo>
                <a:lnTo>
                  <a:pt x="15034" y="179084"/>
                </a:lnTo>
                <a:lnTo>
                  <a:pt x="22318" y="190086"/>
                </a:lnTo>
                <a:lnTo>
                  <a:pt x="30852" y="200377"/>
                </a:lnTo>
                <a:lnTo>
                  <a:pt x="40553" y="209887"/>
                </a:lnTo>
                <a:lnTo>
                  <a:pt x="51336" y="218544"/>
                </a:lnTo>
                <a:lnTo>
                  <a:pt x="63116" y="226277"/>
                </a:lnTo>
                <a:lnTo>
                  <a:pt x="75808" y="233016"/>
                </a:lnTo>
                <a:lnTo>
                  <a:pt x="89328" y="238689"/>
                </a:lnTo>
                <a:lnTo>
                  <a:pt x="103590" y="243225"/>
                </a:lnTo>
                <a:lnTo>
                  <a:pt x="118511" y="246553"/>
                </a:lnTo>
                <a:lnTo>
                  <a:pt x="134004" y="248602"/>
                </a:lnTo>
                <a:lnTo>
                  <a:pt x="149987" y="249300"/>
                </a:lnTo>
                <a:lnTo>
                  <a:pt x="155772" y="249209"/>
                </a:lnTo>
                <a:lnTo>
                  <a:pt x="171568" y="248017"/>
                </a:lnTo>
                <a:lnTo>
                  <a:pt x="186852" y="245501"/>
                </a:lnTo>
                <a:lnTo>
                  <a:pt x="201537" y="241730"/>
                </a:lnTo>
                <a:lnTo>
                  <a:pt x="215537" y="236778"/>
                </a:lnTo>
                <a:lnTo>
                  <a:pt x="228769" y="230714"/>
                </a:lnTo>
                <a:lnTo>
                  <a:pt x="241145" y="223609"/>
                </a:lnTo>
                <a:lnTo>
                  <a:pt x="252581" y="215536"/>
                </a:lnTo>
                <a:lnTo>
                  <a:pt x="262991" y="206564"/>
                </a:lnTo>
                <a:lnTo>
                  <a:pt x="272291" y="196766"/>
                </a:lnTo>
                <a:lnTo>
                  <a:pt x="280393" y="186211"/>
                </a:lnTo>
                <a:lnTo>
                  <a:pt x="287215" y="174972"/>
                </a:lnTo>
                <a:lnTo>
                  <a:pt x="292669" y="163118"/>
                </a:lnTo>
                <a:lnTo>
                  <a:pt x="296670" y="150722"/>
                </a:lnTo>
                <a:lnTo>
                  <a:pt x="299133" y="137855"/>
                </a:lnTo>
                <a:lnTo>
                  <a:pt x="299974" y="124587"/>
                </a:lnTo>
                <a:lnTo>
                  <a:pt x="299868" y="119861"/>
                </a:lnTo>
                <a:lnTo>
                  <a:pt x="298444" y="106723"/>
                </a:lnTo>
                <a:lnTo>
                  <a:pt x="295425" y="94014"/>
                </a:lnTo>
                <a:lnTo>
                  <a:pt x="290898" y="81805"/>
                </a:lnTo>
                <a:lnTo>
                  <a:pt x="284947" y="70165"/>
                </a:lnTo>
                <a:lnTo>
                  <a:pt x="277658" y="59167"/>
                </a:lnTo>
                <a:lnTo>
                  <a:pt x="269117" y="48880"/>
                </a:lnTo>
                <a:lnTo>
                  <a:pt x="259408" y="39376"/>
                </a:lnTo>
                <a:lnTo>
                  <a:pt x="248618" y="30725"/>
                </a:lnTo>
                <a:lnTo>
                  <a:pt x="236832" y="22998"/>
                </a:lnTo>
                <a:lnTo>
                  <a:pt x="224136" y="16265"/>
                </a:lnTo>
                <a:lnTo>
                  <a:pt x="210614" y="10598"/>
                </a:lnTo>
                <a:lnTo>
                  <a:pt x="196353" y="6067"/>
                </a:lnTo>
                <a:lnTo>
                  <a:pt x="181437" y="2744"/>
                </a:lnTo>
                <a:lnTo>
                  <a:pt x="165954" y="697"/>
                </a:lnTo>
                <a:lnTo>
                  <a:pt x="149987" y="0"/>
                </a:lnTo>
                <a:lnTo>
                  <a:pt x="144293" y="87"/>
                </a:lnTo>
                <a:lnTo>
                  <a:pt x="128467" y="1269"/>
                </a:lnTo>
                <a:lnTo>
                  <a:pt x="113160" y="3774"/>
                </a:lnTo>
                <a:lnTo>
                  <a:pt x="98457" y="7532"/>
                </a:lnTo>
                <a:lnTo>
                  <a:pt x="84443" y="12472"/>
                </a:lnTo>
                <a:lnTo>
                  <a:pt x="71201" y="18523"/>
                </a:lnTo>
                <a:lnTo>
                  <a:pt x="58819" y="25615"/>
                </a:lnTo>
                <a:lnTo>
                  <a:pt x="47379" y="33676"/>
                </a:lnTo>
                <a:lnTo>
                  <a:pt x="36967" y="42636"/>
                </a:lnTo>
                <a:lnTo>
                  <a:pt x="27669" y="52425"/>
                </a:lnTo>
                <a:lnTo>
                  <a:pt x="19568" y="62971"/>
                </a:lnTo>
                <a:lnTo>
                  <a:pt x="12750" y="74204"/>
                </a:lnTo>
                <a:lnTo>
                  <a:pt x="7299" y="86052"/>
                </a:lnTo>
                <a:lnTo>
                  <a:pt x="3300" y="98446"/>
                </a:lnTo>
                <a:lnTo>
                  <a:pt x="839" y="111314"/>
                </a:lnTo>
                <a:lnTo>
                  <a:pt x="0" y="124587"/>
                </a:lnTo>
                <a:close/>
              </a:path>
            </a:pathLst>
          </a:custGeom>
          <a:solidFill>
            <a:srgbClr val="00CC99"/>
          </a:solidFill>
        </p:spPr>
        <p:txBody>
          <a:bodyPr wrap="square" lIns="0" tIns="0" rIns="0" bIns="0" rtlCol="0">
            <a:noAutofit/>
          </a:bodyPr>
          <a:lstStyle/>
          <a:p>
            <a:endParaRPr/>
          </a:p>
        </p:txBody>
      </p:sp>
      <p:sp>
        <p:nvSpPr>
          <p:cNvPr id="95" name="object 95"/>
          <p:cNvSpPr/>
          <p:nvPr/>
        </p:nvSpPr>
        <p:spPr>
          <a:xfrm>
            <a:off x="6831076" y="2438400"/>
            <a:ext cx="299974" cy="249300"/>
          </a:xfrm>
          <a:custGeom>
            <a:avLst/>
            <a:gdLst/>
            <a:ahLst/>
            <a:cxnLst/>
            <a:rect l="l" t="t" r="r" b="b"/>
            <a:pathLst>
              <a:path w="299974" h="249300">
                <a:moveTo>
                  <a:pt x="0" y="124587"/>
                </a:moveTo>
                <a:lnTo>
                  <a:pt x="839" y="111314"/>
                </a:lnTo>
                <a:lnTo>
                  <a:pt x="3300" y="98446"/>
                </a:lnTo>
                <a:lnTo>
                  <a:pt x="7299" y="86052"/>
                </a:lnTo>
                <a:lnTo>
                  <a:pt x="12750" y="74204"/>
                </a:lnTo>
                <a:lnTo>
                  <a:pt x="19568" y="62971"/>
                </a:lnTo>
                <a:lnTo>
                  <a:pt x="27669" y="52425"/>
                </a:lnTo>
                <a:lnTo>
                  <a:pt x="36967" y="42636"/>
                </a:lnTo>
                <a:lnTo>
                  <a:pt x="47379" y="33676"/>
                </a:lnTo>
                <a:lnTo>
                  <a:pt x="58819" y="25615"/>
                </a:lnTo>
                <a:lnTo>
                  <a:pt x="71201" y="18523"/>
                </a:lnTo>
                <a:lnTo>
                  <a:pt x="84443" y="12472"/>
                </a:lnTo>
                <a:lnTo>
                  <a:pt x="98457" y="7532"/>
                </a:lnTo>
                <a:lnTo>
                  <a:pt x="113160" y="3774"/>
                </a:lnTo>
                <a:lnTo>
                  <a:pt x="128467" y="1269"/>
                </a:lnTo>
                <a:lnTo>
                  <a:pt x="144293" y="87"/>
                </a:lnTo>
                <a:lnTo>
                  <a:pt x="149987" y="0"/>
                </a:lnTo>
                <a:lnTo>
                  <a:pt x="165954" y="697"/>
                </a:lnTo>
                <a:lnTo>
                  <a:pt x="181437" y="2744"/>
                </a:lnTo>
                <a:lnTo>
                  <a:pt x="196353" y="6067"/>
                </a:lnTo>
                <a:lnTo>
                  <a:pt x="210614" y="10598"/>
                </a:lnTo>
                <a:lnTo>
                  <a:pt x="224136" y="16265"/>
                </a:lnTo>
                <a:lnTo>
                  <a:pt x="236832" y="22998"/>
                </a:lnTo>
                <a:lnTo>
                  <a:pt x="248618" y="30725"/>
                </a:lnTo>
                <a:lnTo>
                  <a:pt x="259408" y="39376"/>
                </a:lnTo>
                <a:lnTo>
                  <a:pt x="269117" y="48880"/>
                </a:lnTo>
                <a:lnTo>
                  <a:pt x="277658" y="59167"/>
                </a:lnTo>
                <a:lnTo>
                  <a:pt x="284947" y="70165"/>
                </a:lnTo>
                <a:lnTo>
                  <a:pt x="290898" y="81805"/>
                </a:lnTo>
                <a:lnTo>
                  <a:pt x="295425" y="94014"/>
                </a:lnTo>
                <a:lnTo>
                  <a:pt x="298444" y="106723"/>
                </a:lnTo>
                <a:lnTo>
                  <a:pt x="299868" y="119861"/>
                </a:lnTo>
                <a:lnTo>
                  <a:pt x="299974" y="124587"/>
                </a:lnTo>
                <a:lnTo>
                  <a:pt x="299133" y="137855"/>
                </a:lnTo>
                <a:lnTo>
                  <a:pt x="296670" y="150722"/>
                </a:lnTo>
                <a:lnTo>
                  <a:pt x="292669" y="163118"/>
                </a:lnTo>
                <a:lnTo>
                  <a:pt x="287215" y="174972"/>
                </a:lnTo>
                <a:lnTo>
                  <a:pt x="280393" y="186211"/>
                </a:lnTo>
                <a:lnTo>
                  <a:pt x="272291" y="196766"/>
                </a:lnTo>
                <a:lnTo>
                  <a:pt x="262991" y="206564"/>
                </a:lnTo>
                <a:lnTo>
                  <a:pt x="252581" y="215536"/>
                </a:lnTo>
                <a:lnTo>
                  <a:pt x="241145" y="223609"/>
                </a:lnTo>
                <a:lnTo>
                  <a:pt x="228769" y="230714"/>
                </a:lnTo>
                <a:lnTo>
                  <a:pt x="215537" y="236778"/>
                </a:lnTo>
                <a:lnTo>
                  <a:pt x="201537" y="241730"/>
                </a:lnTo>
                <a:lnTo>
                  <a:pt x="186852" y="245501"/>
                </a:lnTo>
                <a:lnTo>
                  <a:pt x="171568" y="248017"/>
                </a:lnTo>
                <a:lnTo>
                  <a:pt x="155772" y="249209"/>
                </a:lnTo>
                <a:lnTo>
                  <a:pt x="149987" y="249300"/>
                </a:lnTo>
                <a:lnTo>
                  <a:pt x="134004" y="248602"/>
                </a:lnTo>
                <a:lnTo>
                  <a:pt x="118511" y="246553"/>
                </a:lnTo>
                <a:lnTo>
                  <a:pt x="103590" y="243225"/>
                </a:lnTo>
                <a:lnTo>
                  <a:pt x="89328" y="238689"/>
                </a:lnTo>
                <a:lnTo>
                  <a:pt x="75808" y="233016"/>
                </a:lnTo>
                <a:lnTo>
                  <a:pt x="63116" y="226277"/>
                </a:lnTo>
                <a:lnTo>
                  <a:pt x="51336" y="218544"/>
                </a:lnTo>
                <a:lnTo>
                  <a:pt x="40553" y="209887"/>
                </a:lnTo>
                <a:lnTo>
                  <a:pt x="30852" y="200377"/>
                </a:lnTo>
                <a:lnTo>
                  <a:pt x="22318" y="190086"/>
                </a:lnTo>
                <a:lnTo>
                  <a:pt x="15034" y="179084"/>
                </a:lnTo>
                <a:lnTo>
                  <a:pt x="9087" y="167443"/>
                </a:lnTo>
                <a:lnTo>
                  <a:pt x="4561" y="155234"/>
                </a:lnTo>
                <a:lnTo>
                  <a:pt x="1540" y="142528"/>
                </a:lnTo>
                <a:lnTo>
                  <a:pt x="109" y="129396"/>
                </a:lnTo>
                <a:lnTo>
                  <a:pt x="0" y="124587"/>
                </a:lnTo>
                <a:close/>
              </a:path>
            </a:pathLst>
          </a:custGeom>
          <a:ln w="25399">
            <a:solidFill>
              <a:srgbClr val="000000"/>
            </a:solidFill>
          </a:ln>
        </p:spPr>
        <p:txBody>
          <a:bodyPr wrap="square" lIns="0" tIns="0" rIns="0" bIns="0" rtlCol="0">
            <a:noAutofit/>
          </a:bodyPr>
          <a:lstStyle/>
          <a:p>
            <a:endParaRPr/>
          </a:p>
        </p:txBody>
      </p:sp>
      <p:sp>
        <p:nvSpPr>
          <p:cNvPr id="53" name="object 53"/>
          <p:cNvSpPr/>
          <p:nvPr/>
        </p:nvSpPr>
        <p:spPr>
          <a:xfrm>
            <a:off x="2963926" y="3100324"/>
            <a:ext cx="76200" cy="2451100"/>
          </a:xfrm>
          <a:custGeom>
            <a:avLst/>
            <a:gdLst/>
            <a:ahLst/>
            <a:cxnLst/>
            <a:rect l="l" t="t" r="r" b="b"/>
            <a:pathLst>
              <a:path w="76200" h="2451100">
                <a:moveTo>
                  <a:pt x="38100" y="2451100"/>
                </a:moveTo>
                <a:lnTo>
                  <a:pt x="76200" y="2324100"/>
                </a:lnTo>
                <a:lnTo>
                  <a:pt x="50800" y="2357966"/>
                </a:lnTo>
                <a:lnTo>
                  <a:pt x="50800" y="0"/>
                </a:lnTo>
                <a:lnTo>
                  <a:pt x="25273" y="0"/>
                </a:lnTo>
                <a:lnTo>
                  <a:pt x="38100" y="2374900"/>
                </a:lnTo>
                <a:lnTo>
                  <a:pt x="50800" y="2375027"/>
                </a:lnTo>
                <a:lnTo>
                  <a:pt x="38100" y="2451100"/>
                </a:lnTo>
                <a:close/>
              </a:path>
              <a:path w="76200" h="2451100">
                <a:moveTo>
                  <a:pt x="25273" y="2375027"/>
                </a:moveTo>
                <a:lnTo>
                  <a:pt x="25273" y="2357797"/>
                </a:lnTo>
                <a:lnTo>
                  <a:pt x="0" y="2324100"/>
                </a:lnTo>
                <a:lnTo>
                  <a:pt x="38100" y="2451100"/>
                </a:lnTo>
                <a:lnTo>
                  <a:pt x="50800" y="2375027"/>
                </a:lnTo>
                <a:lnTo>
                  <a:pt x="38100" y="2374900"/>
                </a:lnTo>
                <a:lnTo>
                  <a:pt x="25273" y="0"/>
                </a:lnTo>
                <a:lnTo>
                  <a:pt x="25273" y="2375027"/>
                </a:lnTo>
                <a:close/>
              </a:path>
            </a:pathLst>
          </a:custGeom>
          <a:solidFill>
            <a:srgbClr val="000000"/>
          </a:solidFill>
        </p:spPr>
        <p:txBody>
          <a:bodyPr wrap="square" lIns="0" tIns="0" rIns="0" bIns="0" rtlCol="0">
            <a:noAutofit/>
          </a:bodyPr>
          <a:lstStyle/>
          <a:p>
            <a:endParaRPr/>
          </a:p>
        </p:txBody>
      </p:sp>
      <p:sp>
        <p:nvSpPr>
          <p:cNvPr id="54" name="object 54"/>
          <p:cNvSpPr/>
          <p:nvPr/>
        </p:nvSpPr>
        <p:spPr>
          <a:xfrm>
            <a:off x="2475093" y="3553938"/>
            <a:ext cx="1028352" cy="632773"/>
          </a:xfrm>
          <a:custGeom>
            <a:avLst/>
            <a:gdLst/>
            <a:ahLst/>
            <a:cxnLst/>
            <a:rect l="l" t="t" r="r" b="b"/>
            <a:pathLst>
              <a:path w="1028352" h="632773">
                <a:moveTo>
                  <a:pt x="0" y="632773"/>
                </a:moveTo>
                <a:lnTo>
                  <a:pt x="1028352" y="632773"/>
                </a:lnTo>
                <a:lnTo>
                  <a:pt x="1028352" y="0"/>
                </a:lnTo>
                <a:lnTo>
                  <a:pt x="0" y="0"/>
                </a:lnTo>
                <a:lnTo>
                  <a:pt x="0" y="632773"/>
                </a:lnTo>
                <a:close/>
              </a:path>
            </a:pathLst>
          </a:custGeom>
          <a:solidFill>
            <a:srgbClr val="FFFFFF"/>
          </a:solidFill>
        </p:spPr>
        <p:txBody>
          <a:bodyPr wrap="square" lIns="0" tIns="0" rIns="0" bIns="0" rtlCol="0">
            <a:noAutofit/>
          </a:bodyPr>
          <a:lstStyle/>
          <a:p>
            <a:endParaRPr/>
          </a:p>
        </p:txBody>
      </p:sp>
      <p:sp>
        <p:nvSpPr>
          <p:cNvPr id="55" name="object 55"/>
          <p:cNvSpPr/>
          <p:nvPr/>
        </p:nvSpPr>
        <p:spPr>
          <a:xfrm>
            <a:off x="2475094" y="3553940"/>
            <a:ext cx="1028355" cy="632770"/>
          </a:xfrm>
          <a:custGeom>
            <a:avLst/>
            <a:gdLst/>
            <a:ahLst/>
            <a:cxnLst/>
            <a:rect l="l" t="t" r="r" b="b"/>
            <a:pathLst>
              <a:path w="1028355" h="632770">
                <a:moveTo>
                  <a:pt x="1028355" y="632770"/>
                </a:moveTo>
                <a:lnTo>
                  <a:pt x="0" y="632770"/>
                </a:lnTo>
                <a:lnTo>
                  <a:pt x="0" y="0"/>
                </a:lnTo>
                <a:lnTo>
                  <a:pt x="1028355" y="0"/>
                </a:lnTo>
                <a:lnTo>
                  <a:pt x="1028355" y="632770"/>
                </a:lnTo>
              </a:path>
            </a:pathLst>
          </a:custGeom>
          <a:ln w="749">
            <a:solidFill>
              <a:srgbClr val="000000"/>
            </a:solidFill>
          </a:ln>
        </p:spPr>
        <p:txBody>
          <a:bodyPr wrap="square" lIns="0" tIns="0" rIns="0" bIns="0" rtlCol="0">
            <a:noAutofit/>
          </a:bodyPr>
          <a:lstStyle/>
          <a:p>
            <a:endParaRPr/>
          </a:p>
        </p:txBody>
      </p:sp>
      <p:sp>
        <p:nvSpPr>
          <p:cNvPr id="56" name="object 56"/>
          <p:cNvSpPr/>
          <p:nvPr/>
        </p:nvSpPr>
        <p:spPr>
          <a:xfrm>
            <a:off x="3155800" y="3554649"/>
            <a:ext cx="347648" cy="286980"/>
          </a:xfrm>
          <a:custGeom>
            <a:avLst/>
            <a:gdLst/>
            <a:ahLst/>
            <a:cxnLst/>
            <a:rect l="l" t="t" r="r" b="b"/>
            <a:pathLst>
              <a:path w="347648" h="286980">
                <a:moveTo>
                  <a:pt x="347648" y="286980"/>
                </a:moveTo>
                <a:lnTo>
                  <a:pt x="347648" y="279185"/>
                </a:lnTo>
                <a:lnTo>
                  <a:pt x="346789" y="271391"/>
                </a:lnTo>
                <a:lnTo>
                  <a:pt x="345931" y="264305"/>
                </a:lnTo>
                <a:lnTo>
                  <a:pt x="344214" y="256510"/>
                </a:lnTo>
                <a:lnTo>
                  <a:pt x="341639" y="249424"/>
                </a:lnTo>
                <a:lnTo>
                  <a:pt x="339922" y="241630"/>
                </a:lnTo>
                <a:lnTo>
                  <a:pt x="336489" y="234544"/>
                </a:lnTo>
                <a:lnTo>
                  <a:pt x="333913" y="228166"/>
                </a:lnTo>
                <a:lnTo>
                  <a:pt x="329622" y="221080"/>
                </a:lnTo>
                <a:lnTo>
                  <a:pt x="325330" y="214703"/>
                </a:lnTo>
                <a:lnTo>
                  <a:pt x="321038" y="208326"/>
                </a:lnTo>
                <a:lnTo>
                  <a:pt x="316746" y="201948"/>
                </a:lnTo>
                <a:lnTo>
                  <a:pt x="311595" y="196280"/>
                </a:lnTo>
                <a:lnTo>
                  <a:pt x="305587" y="190611"/>
                </a:lnTo>
                <a:lnTo>
                  <a:pt x="299578" y="185651"/>
                </a:lnTo>
                <a:lnTo>
                  <a:pt x="293569" y="180691"/>
                </a:lnTo>
                <a:lnTo>
                  <a:pt x="284127" y="174313"/>
                </a:lnTo>
                <a:lnTo>
                  <a:pt x="273826" y="168645"/>
                </a:lnTo>
                <a:lnTo>
                  <a:pt x="268676" y="165810"/>
                </a:lnTo>
                <a:lnTo>
                  <a:pt x="263525" y="163684"/>
                </a:lnTo>
                <a:lnTo>
                  <a:pt x="252366" y="159433"/>
                </a:lnTo>
                <a:lnTo>
                  <a:pt x="241207" y="156598"/>
                </a:lnTo>
                <a:lnTo>
                  <a:pt x="228331" y="153764"/>
                </a:lnTo>
                <a:lnTo>
                  <a:pt x="222323" y="153056"/>
                </a:lnTo>
                <a:lnTo>
                  <a:pt x="216314" y="152347"/>
                </a:lnTo>
                <a:lnTo>
                  <a:pt x="209447" y="152347"/>
                </a:lnTo>
                <a:lnTo>
                  <a:pt x="202580" y="152347"/>
                </a:lnTo>
                <a:lnTo>
                  <a:pt x="163094" y="152347"/>
                </a:lnTo>
                <a:lnTo>
                  <a:pt x="163094" y="119752"/>
                </a:lnTo>
                <a:lnTo>
                  <a:pt x="163094" y="113374"/>
                </a:lnTo>
                <a:lnTo>
                  <a:pt x="162235" y="107706"/>
                </a:lnTo>
                <a:lnTo>
                  <a:pt x="161377" y="102037"/>
                </a:lnTo>
                <a:lnTo>
                  <a:pt x="160519" y="96368"/>
                </a:lnTo>
                <a:lnTo>
                  <a:pt x="158802" y="90699"/>
                </a:lnTo>
                <a:lnTo>
                  <a:pt x="157085" y="85739"/>
                </a:lnTo>
                <a:lnTo>
                  <a:pt x="154510" y="80070"/>
                </a:lnTo>
                <a:lnTo>
                  <a:pt x="152793" y="75110"/>
                </a:lnTo>
                <a:lnTo>
                  <a:pt x="149359" y="70150"/>
                </a:lnTo>
                <a:lnTo>
                  <a:pt x="146784" y="65190"/>
                </a:lnTo>
                <a:lnTo>
                  <a:pt x="143351" y="60938"/>
                </a:lnTo>
                <a:lnTo>
                  <a:pt x="139917" y="55978"/>
                </a:lnTo>
                <a:lnTo>
                  <a:pt x="136484" y="51727"/>
                </a:lnTo>
                <a:lnTo>
                  <a:pt x="132192" y="47475"/>
                </a:lnTo>
                <a:lnTo>
                  <a:pt x="123608" y="39681"/>
                </a:lnTo>
                <a:lnTo>
                  <a:pt x="117599" y="35429"/>
                </a:lnTo>
                <a:lnTo>
                  <a:pt x="110732" y="30469"/>
                </a:lnTo>
                <a:lnTo>
                  <a:pt x="104723" y="26926"/>
                </a:lnTo>
                <a:lnTo>
                  <a:pt x="97856" y="22674"/>
                </a:lnTo>
                <a:lnTo>
                  <a:pt x="90131" y="19132"/>
                </a:lnTo>
                <a:lnTo>
                  <a:pt x="83263" y="15589"/>
                </a:lnTo>
                <a:lnTo>
                  <a:pt x="75538" y="12754"/>
                </a:lnTo>
                <a:lnTo>
                  <a:pt x="67812" y="9920"/>
                </a:lnTo>
                <a:lnTo>
                  <a:pt x="59228" y="7794"/>
                </a:lnTo>
                <a:lnTo>
                  <a:pt x="51503" y="5668"/>
                </a:lnTo>
                <a:lnTo>
                  <a:pt x="42919" y="3542"/>
                </a:lnTo>
                <a:lnTo>
                  <a:pt x="34335" y="2125"/>
                </a:lnTo>
                <a:lnTo>
                  <a:pt x="25751" y="1417"/>
                </a:lnTo>
                <a:lnTo>
                  <a:pt x="17167" y="708"/>
                </a:lnTo>
                <a:lnTo>
                  <a:pt x="8583" y="0"/>
                </a:lnTo>
                <a:lnTo>
                  <a:pt x="0" y="0"/>
                </a:lnTo>
              </a:path>
            </a:pathLst>
          </a:custGeom>
          <a:ln w="769">
            <a:solidFill>
              <a:srgbClr val="000000"/>
            </a:solidFill>
          </a:ln>
        </p:spPr>
        <p:txBody>
          <a:bodyPr wrap="square" lIns="0" tIns="0" rIns="0" bIns="0" rtlCol="0">
            <a:noAutofit/>
          </a:bodyPr>
          <a:lstStyle/>
          <a:p>
            <a:endParaRPr/>
          </a:p>
        </p:txBody>
      </p:sp>
      <p:sp>
        <p:nvSpPr>
          <p:cNvPr id="57" name="object 57"/>
          <p:cNvSpPr/>
          <p:nvPr/>
        </p:nvSpPr>
        <p:spPr>
          <a:xfrm>
            <a:off x="3303443" y="3614171"/>
            <a:ext cx="145068" cy="120460"/>
          </a:xfrm>
          <a:custGeom>
            <a:avLst/>
            <a:gdLst/>
            <a:ahLst/>
            <a:cxnLst/>
            <a:rect l="l" t="t" r="r" b="b"/>
            <a:pathLst>
              <a:path w="145068" h="120460">
                <a:moveTo>
                  <a:pt x="0" y="0"/>
                </a:moveTo>
                <a:lnTo>
                  <a:pt x="145068" y="120460"/>
                </a:lnTo>
              </a:path>
            </a:pathLst>
          </a:custGeom>
          <a:ln w="769">
            <a:solidFill>
              <a:srgbClr val="000000"/>
            </a:solidFill>
          </a:ln>
        </p:spPr>
        <p:txBody>
          <a:bodyPr wrap="square" lIns="0" tIns="0" rIns="0" bIns="0" rtlCol="0">
            <a:noAutofit/>
          </a:bodyPr>
          <a:lstStyle/>
          <a:p>
            <a:endParaRPr/>
          </a:p>
        </p:txBody>
      </p:sp>
      <p:sp>
        <p:nvSpPr>
          <p:cNvPr id="58" name="object 58"/>
          <p:cNvSpPr/>
          <p:nvPr/>
        </p:nvSpPr>
        <p:spPr>
          <a:xfrm>
            <a:off x="2475093" y="4509708"/>
            <a:ext cx="0" cy="634303"/>
          </a:xfrm>
          <a:custGeom>
            <a:avLst/>
            <a:gdLst/>
            <a:ahLst/>
            <a:cxnLst/>
            <a:rect l="l" t="t" r="r" b="b"/>
            <a:pathLst>
              <a:path h="634303">
                <a:moveTo>
                  <a:pt x="0" y="634303"/>
                </a:moveTo>
                <a:lnTo>
                  <a:pt x="0" y="0"/>
                </a:lnTo>
                <a:lnTo>
                  <a:pt x="0" y="634303"/>
                </a:lnTo>
                <a:close/>
              </a:path>
            </a:pathLst>
          </a:custGeom>
          <a:solidFill>
            <a:srgbClr val="FFFFFF"/>
          </a:solidFill>
        </p:spPr>
        <p:txBody>
          <a:bodyPr wrap="square" lIns="0" tIns="0" rIns="0" bIns="0" rtlCol="0">
            <a:noAutofit/>
          </a:bodyPr>
          <a:lstStyle/>
          <a:p>
            <a:endParaRPr/>
          </a:p>
        </p:txBody>
      </p:sp>
      <p:sp>
        <p:nvSpPr>
          <p:cNvPr id="59" name="object 59"/>
          <p:cNvSpPr/>
          <p:nvPr/>
        </p:nvSpPr>
        <p:spPr>
          <a:xfrm>
            <a:off x="2475093" y="4509708"/>
            <a:ext cx="1028352" cy="634303"/>
          </a:xfrm>
          <a:custGeom>
            <a:avLst/>
            <a:gdLst/>
            <a:ahLst/>
            <a:cxnLst/>
            <a:rect l="l" t="t" r="r" b="b"/>
            <a:pathLst>
              <a:path w="1028352" h="634303">
                <a:moveTo>
                  <a:pt x="0" y="634303"/>
                </a:moveTo>
                <a:lnTo>
                  <a:pt x="1028352" y="634303"/>
                </a:lnTo>
                <a:lnTo>
                  <a:pt x="1028352" y="0"/>
                </a:lnTo>
                <a:lnTo>
                  <a:pt x="0" y="0"/>
                </a:lnTo>
                <a:lnTo>
                  <a:pt x="0" y="634303"/>
                </a:lnTo>
                <a:close/>
              </a:path>
            </a:pathLst>
          </a:custGeom>
          <a:solidFill>
            <a:srgbClr val="FFFFFF"/>
          </a:solidFill>
        </p:spPr>
        <p:txBody>
          <a:bodyPr wrap="square" lIns="0" tIns="0" rIns="0" bIns="0" rtlCol="0">
            <a:noAutofit/>
          </a:bodyPr>
          <a:lstStyle/>
          <a:p>
            <a:endParaRPr/>
          </a:p>
        </p:txBody>
      </p:sp>
      <p:sp>
        <p:nvSpPr>
          <p:cNvPr id="60" name="object 60"/>
          <p:cNvSpPr/>
          <p:nvPr/>
        </p:nvSpPr>
        <p:spPr>
          <a:xfrm>
            <a:off x="2475094" y="4509710"/>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751">
            <a:solidFill>
              <a:srgbClr val="000000"/>
            </a:solidFill>
          </a:ln>
        </p:spPr>
        <p:txBody>
          <a:bodyPr wrap="square" lIns="0" tIns="0" rIns="0" bIns="0" rtlCol="0">
            <a:noAutofit/>
          </a:bodyPr>
          <a:lstStyle/>
          <a:p>
            <a:endParaRPr/>
          </a:p>
        </p:txBody>
      </p:sp>
      <p:sp>
        <p:nvSpPr>
          <p:cNvPr id="61" name="object 61"/>
          <p:cNvSpPr/>
          <p:nvPr/>
        </p:nvSpPr>
        <p:spPr>
          <a:xfrm>
            <a:off x="3155800" y="4510420"/>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770">
            <a:solidFill>
              <a:srgbClr val="000000"/>
            </a:solidFill>
          </a:ln>
        </p:spPr>
        <p:txBody>
          <a:bodyPr wrap="square" lIns="0" tIns="0" rIns="0" bIns="0" rtlCol="0">
            <a:noAutofit/>
          </a:bodyPr>
          <a:lstStyle/>
          <a:p>
            <a:endParaRPr/>
          </a:p>
        </p:txBody>
      </p:sp>
      <p:sp>
        <p:nvSpPr>
          <p:cNvPr id="62" name="object 62"/>
          <p:cNvSpPr/>
          <p:nvPr/>
        </p:nvSpPr>
        <p:spPr>
          <a:xfrm>
            <a:off x="3303443" y="4570086"/>
            <a:ext cx="145068" cy="120752"/>
          </a:xfrm>
          <a:custGeom>
            <a:avLst/>
            <a:gdLst/>
            <a:ahLst/>
            <a:cxnLst/>
            <a:rect l="l" t="t" r="r" b="b"/>
            <a:pathLst>
              <a:path w="145068" h="120752">
                <a:moveTo>
                  <a:pt x="0" y="0"/>
                </a:moveTo>
                <a:lnTo>
                  <a:pt x="145068" y="120752"/>
                </a:lnTo>
              </a:path>
            </a:pathLst>
          </a:custGeom>
          <a:ln w="770">
            <a:solidFill>
              <a:srgbClr val="000000"/>
            </a:solidFill>
          </a:ln>
        </p:spPr>
        <p:txBody>
          <a:bodyPr wrap="square" lIns="0" tIns="0" rIns="0" bIns="0" rtlCol="0">
            <a:noAutofit/>
          </a:bodyPr>
          <a:lstStyle/>
          <a:p>
            <a:endParaRPr/>
          </a:p>
        </p:txBody>
      </p:sp>
      <p:sp>
        <p:nvSpPr>
          <p:cNvPr id="63" name="object 63"/>
          <p:cNvSpPr/>
          <p:nvPr/>
        </p:nvSpPr>
        <p:spPr>
          <a:xfrm>
            <a:off x="2475093" y="2596707"/>
            <a:ext cx="0" cy="634303"/>
          </a:xfrm>
          <a:custGeom>
            <a:avLst/>
            <a:gdLst/>
            <a:ahLst/>
            <a:cxnLst/>
            <a:rect l="l" t="t" r="r" b="b"/>
            <a:pathLst>
              <a:path h="634303">
                <a:moveTo>
                  <a:pt x="0" y="634303"/>
                </a:moveTo>
                <a:lnTo>
                  <a:pt x="0" y="0"/>
                </a:lnTo>
                <a:lnTo>
                  <a:pt x="0" y="634303"/>
                </a:lnTo>
                <a:close/>
              </a:path>
            </a:pathLst>
          </a:custGeom>
          <a:solidFill>
            <a:srgbClr val="FFFFFF"/>
          </a:solidFill>
        </p:spPr>
        <p:txBody>
          <a:bodyPr wrap="square" lIns="0" tIns="0" rIns="0" bIns="0" rtlCol="0">
            <a:noAutofit/>
          </a:bodyPr>
          <a:lstStyle/>
          <a:p>
            <a:endParaRPr/>
          </a:p>
        </p:txBody>
      </p:sp>
      <p:sp>
        <p:nvSpPr>
          <p:cNvPr id="64" name="object 64"/>
          <p:cNvSpPr/>
          <p:nvPr/>
        </p:nvSpPr>
        <p:spPr>
          <a:xfrm>
            <a:off x="2475093" y="2596707"/>
            <a:ext cx="1028352" cy="634303"/>
          </a:xfrm>
          <a:custGeom>
            <a:avLst/>
            <a:gdLst/>
            <a:ahLst/>
            <a:cxnLst/>
            <a:rect l="l" t="t" r="r" b="b"/>
            <a:pathLst>
              <a:path w="1028352" h="634303">
                <a:moveTo>
                  <a:pt x="0" y="634303"/>
                </a:moveTo>
                <a:lnTo>
                  <a:pt x="1028352" y="634303"/>
                </a:lnTo>
                <a:lnTo>
                  <a:pt x="1028352" y="0"/>
                </a:lnTo>
                <a:lnTo>
                  <a:pt x="0" y="0"/>
                </a:lnTo>
                <a:lnTo>
                  <a:pt x="0" y="634303"/>
                </a:lnTo>
                <a:close/>
              </a:path>
            </a:pathLst>
          </a:custGeom>
          <a:solidFill>
            <a:srgbClr val="FFFFFF"/>
          </a:solidFill>
        </p:spPr>
        <p:txBody>
          <a:bodyPr wrap="square" lIns="0" tIns="0" rIns="0" bIns="0" rtlCol="0">
            <a:noAutofit/>
          </a:bodyPr>
          <a:lstStyle/>
          <a:p>
            <a:endParaRPr/>
          </a:p>
        </p:txBody>
      </p:sp>
      <p:sp>
        <p:nvSpPr>
          <p:cNvPr id="65" name="object 65"/>
          <p:cNvSpPr/>
          <p:nvPr/>
        </p:nvSpPr>
        <p:spPr>
          <a:xfrm>
            <a:off x="2475094" y="2596709"/>
            <a:ext cx="1028355" cy="634300"/>
          </a:xfrm>
          <a:custGeom>
            <a:avLst/>
            <a:gdLst/>
            <a:ahLst/>
            <a:cxnLst/>
            <a:rect l="l" t="t" r="r" b="b"/>
            <a:pathLst>
              <a:path w="1028355" h="634300">
                <a:moveTo>
                  <a:pt x="1028355" y="634300"/>
                </a:moveTo>
                <a:lnTo>
                  <a:pt x="0" y="634300"/>
                </a:lnTo>
                <a:lnTo>
                  <a:pt x="0" y="0"/>
                </a:lnTo>
                <a:lnTo>
                  <a:pt x="1028355" y="0"/>
                </a:lnTo>
                <a:lnTo>
                  <a:pt x="1028355" y="634300"/>
                </a:lnTo>
              </a:path>
            </a:pathLst>
          </a:custGeom>
          <a:ln w="751">
            <a:solidFill>
              <a:srgbClr val="000000"/>
            </a:solidFill>
          </a:ln>
        </p:spPr>
        <p:txBody>
          <a:bodyPr wrap="square" lIns="0" tIns="0" rIns="0" bIns="0" rtlCol="0">
            <a:noAutofit/>
          </a:bodyPr>
          <a:lstStyle/>
          <a:p>
            <a:endParaRPr/>
          </a:p>
        </p:txBody>
      </p:sp>
      <p:sp>
        <p:nvSpPr>
          <p:cNvPr id="66" name="object 66"/>
          <p:cNvSpPr/>
          <p:nvPr/>
        </p:nvSpPr>
        <p:spPr>
          <a:xfrm>
            <a:off x="3155800" y="2597419"/>
            <a:ext cx="347648" cy="287674"/>
          </a:xfrm>
          <a:custGeom>
            <a:avLst/>
            <a:gdLst/>
            <a:ahLst/>
            <a:cxnLst/>
            <a:rect l="l" t="t" r="r" b="b"/>
            <a:pathLst>
              <a:path w="347648" h="287674">
                <a:moveTo>
                  <a:pt x="347648" y="287674"/>
                </a:moveTo>
                <a:lnTo>
                  <a:pt x="347648" y="279860"/>
                </a:lnTo>
                <a:lnTo>
                  <a:pt x="346789" y="272047"/>
                </a:lnTo>
                <a:lnTo>
                  <a:pt x="345931" y="264944"/>
                </a:lnTo>
                <a:lnTo>
                  <a:pt x="344214" y="257130"/>
                </a:lnTo>
                <a:lnTo>
                  <a:pt x="341639" y="250027"/>
                </a:lnTo>
                <a:lnTo>
                  <a:pt x="339922" y="242214"/>
                </a:lnTo>
                <a:lnTo>
                  <a:pt x="336489" y="235111"/>
                </a:lnTo>
                <a:lnTo>
                  <a:pt x="333913" y="228718"/>
                </a:lnTo>
                <a:lnTo>
                  <a:pt x="329622" y="221615"/>
                </a:lnTo>
                <a:lnTo>
                  <a:pt x="325330" y="215222"/>
                </a:lnTo>
                <a:lnTo>
                  <a:pt x="321038" y="208830"/>
                </a:lnTo>
                <a:lnTo>
                  <a:pt x="316746" y="202437"/>
                </a:lnTo>
                <a:lnTo>
                  <a:pt x="311595" y="196754"/>
                </a:lnTo>
                <a:lnTo>
                  <a:pt x="305587" y="191072"/>
                </a:lnTo>
                <a:lnTo>
                  <a:pt x="299578" y="186100"/>
                </a:lnTo>
                <a:lnTo>
                  <a:pt x="293569" y="181128"/>
                </a:lnTo>
                <a:lnTo>
                  <a:pt x="284127" y="174735"/>
                </a:lnTo>
                <a:lnTo>
                  <a:pt x="273826" y="169052"/>
                </a:lnTo>
                <a:lnTo>
                  <a:pt x="268676" y="166211"/>
                </a:lnTo>
                <a:lnTo>
                  <a:pt x="263525" y="164080"/>
                </a:lnTo>
                <a:lnTo>
                  <a:pt x="252366" y="159818"/>
                </a:lnTo>
                <a:lnTo>
                  <a:pt x="241207" y="156977"/>
                </a:lnTo>
                <a:lnTo>
                  <a:pt x="228331" y="154136"/>
                </a:lnTo>
                <a:lnTo>
                  <a:pt x="222323" y="153426"/>
                </a:lnTo>
                <a:lnTo>
                  <a:pt x="216314" y="152715"/>
                </a:lnTo>
                <a:lnTo>
                  <a:pt x="209447" y="152715"/>
                </a:lnTo>
                <a:lnTo>
                  <a:pt x="202580" y="152715"/>
                </a:lnTo>
                <a:lnTo>
                  <a:pt x="163094" y="152715"/>
                </a:lnTo>
                <a:lnTo>
                  <a:pt x="163094" y="120041"/>
                </a:lnTo>
                <a:lnTo>
                  <a:pt x="163094" y="113649"/>
                </a:lnTo>
                <a:lnTo>
                  <a:pt x="162235" y="107966"/>
                </a:lnTo>
                <a:lnTo>
                  <a:pt x="161377" y="102284"/>
                </a:lnTo>
                <a:lnTo>
                  <a:pt x="160519" y="96601"/>
                </a:lnTo>
                <a:lnTo>
                  <a:pt x="158802" y="90919"/>
                </a:lnTo>
                <a:lnTo>
                  <a:pt x="157085" y="85947"/>
                </a:lnTo>
                <a:lnTo>
                  <a:pt x="154510" y="80264"/>
                </a:lnTo>
                <a:lnTo>
                  <a:pt x="152793" y="75292"/>
                </a:lnTo>
                <a:lnTo>
                  <a:pt x="149359" y="70320"/>
                </a:lnTo>
                <a:lnTo>
                  <a:pt x="146784" y="65348"/>
                </a:lnTo>
                <a:lnTo>
                  <a:pt x="143351" y="61086"/>
                </a:lnTo>
                <a:lnTo>
                  <a:pt x="139917" y="56114"/>
                </a:lnTo>
                <a:lnTo>
                  <a:pt x="136484" y="51852"/>
                </a:lnTo>
                <a:lnTo>
                  <a:pt x="132192" y="47590"/>
                </a:lnTo>
                <a:lnTo>
                  <a:pt x="123608" y="39777"/>
                </a:lnTo>
                <a:lnTo>
                  <a:pt x="117599" y="35515"/>
                </a:lnTo>
                <a:lnTo>
                  <a:pt x="110732" y="30543"/>
                </a:lnTo>
                <a:lnTo>
                  <a:pt x="104723" y="26991"/>
                </a:lnTo>
                <a:lnTo>
                  <a:pt x="97856" y="22729"/>
                </a:lnTo>
                <a:lnTo>
                  <a:pt x="90131" y="19178"/>
                </a:lnTo>
                <a:lnTo>
                  <a:pt x="83263" y="15626"/>
                </a:lnTo>
                <a:lnTo>
                  <a:pt x="75538" y="12785"/>
                </a:lnTo>
                <a:lnTo>
                  <a:pt x="67812" y="9944"/>
                </a:lnTo>
                <a:lnTo>
                  <a:pt x="59228" y="7813"/>
                </a:lnTo>
                <a:lnTo>
                  <a:pt x="51503" y="5682"/>
                </a:lnTo>
                <a:lnTo>
                  <a:pt x="42919" y="3551"/>
                </a:lnTo>
                <a:lnTo>
                  <a:pt x="34335" y="2130"/>
                </a:lnTo>
                <a:lnTo>
                  <a:pt x="25751" y="1420"/>
                </a:lnTo>
                <a:lnTo>
                  <a:pt x="17167" y="710"/>
                </a:lnTo>
                <a:lnTo>
                  <a:pt x="8583" y="0"/>
                </a:lnTo>
                <a:lnTo>
                  <a:pt x="0" y="0"/>
                </a:lnTo>
              </a:path>
            </a:pathLst>
          </a:custGeom>
          <a:ln w="770">
            <a:solidFill>
              <a:srgbClr val="000000"/>
            </a:solidFill>
          </a:ln>
        </p:spPr>
        <p:txBody>
          <a:bodyPr wrap="square" lIns="0" tIns="0" rIns="0" bIns="0" rtlCol="0">
            <a:noAutofit/>
          </a:bodyPr>
          <a:lstStyle/>
          <a:p>
            <a:endParaRPr/>
          </a:p>
        </p:txBody>
      </p:sp>
      <p:sp>
        <p:nvSpPr>
          <p:cNvPr id="67" name="object 67"/>
          <p:cNvSpPr/>
          <p:nvPr/>
        </p:nvSpPr>
        <p:spPr>
          <a:xfrm>
            <a:off x="3303443" y="2657085"/>
            <a:ext cx="145068" cy="120752"/>
          </a:xfrm>
          <a:custGeom>
            <a:avLst/>
            <a:gdLst/>
            <a:ahLst/>
            <a:cxnLst/>
            <a:rect l="l" t="t" r="r" b="b"/>
            <a:pathLst>
              <a:path w="145068" h="120752">
                <a:moveTo>
                  <a:pt x="0" y="0"/>
                </a:moveTo>
                <a:lnTo>
                  <a:pt x="145068" y="120752"/>
                </a:lnTo>
              </a:path>
            </a:pathLst>
          </a:custGeom>
          <a:ln w="770">
            <a:solidFill>
              <a:srgbClr val="000000"/>
            </a:solidFill>
          </a:ln>
        </p:spPr>
        <p:txBody>
          <a:bodyPr wrap="square" lIns="0" tIns="0" rIns="0" bIns="0" rtlCol="0">
            <a:noAutofit/>
          </a:bodyPr>
          <a:lstStyle/>
          <a:p>
            <a:endParaRPr/>
          </a:p>
        </p:txBody>
      </p:sp>
      <p:sp>
        <p:nvSpPr>
          <p:cNvPr id="68" name="object 68"/>
          <p:cNvSpPr/>
          <p:nvPr/>
        </p:nvSpPr>
        <p:spPr>
          <a:xfrm>
            <a:off x="2302764" y="5571744"/>
            <a:ext cx="1520952" cy="726948"/>
          </a:xfrm>
          <a:prstGeom prst="rect">
            <a:avLst/>
          </a:prstGeom>
          <a:blipFill>
            <a:blip r:embed="rId6" cstate="print"/>
            <a:stretch>
              <a:fillRect/>
            </a:stretch>
          </a:blipFill>
        </p:spPr>
        <p:txBody>
          <a:bodyPr wrap="square" lIns="0" tIns="0" rIns="0" bIns="0" rtlCol="0">
            <a:noAutofit/>
          </a:bodyPr>
          <a:lstStyle/>
          <a:p>
            <a:endParaRPr/>
          </a:p>
        </p:txBody>
      </p:sp>
      <p:sp>
        <p:nvSpPr>
          <p:cNvPr id="69" name="object 69"/>
          <p:cNvSpPr/>
          <p:nvPr/>
        </p:nvSpPr>
        <p:spPr>
          <a:xfrm>
            <a:off x="2292350" y="5561012"/>
            <a:ext cx="1492250" cy="698500"/>
          </a:xfrm>
          <a:custGeom>
            <a:avLst/>
            <a:gdLst/>
            <a:ahLst/>
            <a:cxnLst/>
            <a:rect l="l" t="t" r="r" b="b"/>
            <a:pathLst>
              <a:path w="1492250" h="698500">
                <a:moveTo>
                  <a:pt x="0" y="698500"/>
                </a:moveTo>
                <a:lnTo>
                  <a:pt x="1492250" y="698500"/>
                </a:lnTo>
                <a:lnTo>
                  <a:pt x="1492250" y="0"/>
                </a:lnTo>
                <a:lnTo>
                  <a:pt x="0" y="0"/>
                </a:lnTo>
                <a:lnTo>
                  <a:pt x="0" y="698500"/>
                </a:lnTo>
                <a:close/>
              </a:path>
            </a:pathLst>
          </a:custGeom>
          <a:solidFill>
            <a:srgbClr val="F8DAA2"/>
          </a:solidFill>
        </p:spPr>
        <p:txBody>
          <a:bodyPr wrap="square" lIns="0" tIns="0" rIns="0" bIns="0" rtlCol="0">
            <a:noAutofit/>
          </a:bodyPr>
          <a:lstStyle/>
          <a:p>
            <a:endParaRPr/>
          </a:p>
        </p:txBody>
      </p:sp>
      <p:sp>
        <p:nvSpPr>
          <p:cNvPr id="70" name="object 70"/>
          <p:cNvSpPr/>
          <p:nvPr/>
        </p:nvSpPr>
        <p:spPr>
          <a:xfrm>
            <a:off x="2292350" y="5561012"/>
            <a:ext cx="1492250" cy="698500"/>
          </a:xfrm>
          <a:custGeom>
            <a:avLst/>
            <a:gdLst/>
            <a:ahLst/>
            <a:cxnLst/>
            <a:rect l="l" t="t" r="r" b="b"/>
            <a:pathLst>
              <a:path w="1492250" h="698500">
                <a:moveTo>
                  <a:pt x="0" y="698500"/>
                </a:moveTo>
                <a:lnTo>
                  <a:pt x="1492250" y="698500"/>
                </a:lnTo>
                <a:lnTo>
                  <a:pt x="1492250" y="0"/>
                </a:lnTo>
                <a:lnTo>
                  <a:pt x="0" y="0"/>
                </a:lnTo>
                <a:lnTo>
                  <a:pt x="0" y="698500"/>
                </a:lnTo>
                <a:close/>
              </a:path>
            </a:pathLst>
          </a:custGeom>
          <a:ln w="25400">
            <a:solidFill>
              <a:srgbClr val="000000"/>
            </a:solidFill>
          </a:ln>
        </p:spPr>
        <p:txBody>
          <a:bodyPr wrap="square" lIns="0" tIns="0" rIns="0" bIns="0" rtlCol="0">
            <a:noAutofit/>
          </a:bodyPr>
          <a:lstStyle/>
          <a:p>
            <a:endParaRPr/>
          </a:p>
        </p:txBody>
      </p:sp>
      <p:sp>
        <p:nvSpPr>
          <p:cNvPr id="71" name="object 71"/>
          <p:cNvSpPr/>
          <p:nvPr/>
        </p:nvSpPr>
        <p:spPr>
          <a:xfrm>
            <a:off x="2701926" y="5670550"/>
            <a:ext cx="650875" cy="0"/>
          </a:xfrm>
          <a:custGeom>
            <a:avLst/>
            <a:gdLst/>
            <a:ahLst/>
            <a:cxnLst/>
            <a:rect l="l" t="t" r="r" b="b"/>
            <a:pathLst>
              <a:path w="650875">
                <a:moveTo>
                  <a:pt x="0" y="0"/>
                </a:moveTo>
                <a:lnTo>
                  <a:pt x="650875" y="0"/>
                </a:lnTo>
              </a:path>
            </a:pathLst>
          </a:custGeom>
          <a:ln w="25400">
            <a:solidFill>
              <a:srgbClr val="000000"/>
            </a:solidFill>
          </a:ln>
        </p:spPr>
        <p:txBody>
          <a:bodyPr wrap="square" lIns="0" tIns="0" rIns="0" bIns="0" rtlCol="0">
            <a:noAutofit/>
          </a:bodyPr>
          <a:lstStyle/>
          <a:p>
            <a:endParaRPr/>
          </a:p>
        </p:txBody>
      </p:sp>
      <p:sp>
        <p:nvSpPr>
          <p:cNvPr id="72" name="object 72"/>
          <p:cNvSpPr/>
          <p:nvPr/>
        </p:nvSpPr>
        <p:spPr>
          <a:xfrm>
            <a:off x="3124200" y="5670551"/>
            <a:ext cx="0" cy="300037"/>
          </a:xfrm>
          <a:custGeom>
            <a:avLst/>
            <a:gdLst/>
            <a:ahLst/>
            <a:cxnLst/>
            <a:rect l="l" t="t" r="r" b="b"/>
            <a:pathLst>
              <a:path h="300037">
                <a:moveTo>
                  <a:pt x="0" y="0"/>
                </a:moveTo>
                <a:lnTo>
                  <a:pt x="0" y="300037"/>
                </a:lnTo>
              </a:path>
            </a:pathLst>
          </a:custGeom>
          <a:ln w="25400">
            <a:solidFill>
              <a:srgbClr val="000000"/>
            </a:solidFill>
          </a:ln>
        </p:spPr>
        <p:txBody>
          <a:bodyPr wrap="square" lIns="0" tIns="0" rIns="0" bIns="0" rtlCol="0">
            <a:noAutofit/>
          </a:bodyPr>
          <a:lstStyle/>
          <a:p>
            <a:endParaRPr/>
          </a:p>
        </p:txBody>
      </p:sp>
      <p:sp>
        <p:nvSpPr>
          <p:cNvPr id="73" name="object 73"/>
          <p:cNvSpPr/>
          <p:nvPr/>
        </p:nvSpPr>
        <p:spPr>
          <a:xfrm>
            <a:off x="2786063" y="6029325"/>
            <a:ext cx="649287" cy="0"/>
          </a:xfrm>
          <a:custGeom>
            <a:avLst/>
            <a:gdLst/>
            <a:ahLst/>
            <a:cxnLst/>
            <a:rect l="l" t="t" r="r" b="b"/>
            <a:pathLst>
              <a:path w="649287">
                <a:moveTo>
                  <a:pt x="0" y="0"/>
                </a:moveTo>
                <a:lnTo>
                  <a:pt x="649287" y="0"/>
                </a:lnTo>
              </a:path>
            </a:pathLst>
          </a:custGeom>
          <a:ln w="25400">
            <a:solidFill>
              <a:srgbClr val="000000"/>
            </a:solidFill>
          </a:ln>
        </p:spPr>
        <p:txBody>
          <a:bodyPr wrap="square" lIns="0" tIns="0" rIns="0" bIns="0" rtlCol="0">
            <a:noAutofit/>
          </a:bodyPr>
          <a:lstStyle/>
          <a:p>
            <a:endParaRPr/>
          </a:p>
        </p:txBody>
      </p:sp>
      <p:sp>
        <p:nvSpPr>
          <p:cNvPr id="74" name="object 74"/>
          <p:cNvSpPr/>
          <p:nvPr/>
        </p:nvSpPr>
        <p:spPr>
          <a:xfrm>
            <a:off x="3109976" y="6029326"/>
            <a:ext cx="0" cy="179387"/>
          </a:xfrm>
          <a:custGeom>
            <a:avLst/>
            <a:gdLst/>
            <a:ahLst/>
            <a:cxnLst/>
            <a:rect l="l" t="t" r="r" b="b"/>
            <a:pathLst>
              <a:path h="179387">
                <a:moveTo>
                  <a:pt x="0" y="0"/>
                </a:moveTo>
                <a:lnTo>
                  <a:pt x="0" y="179387"/>
                </a:lnTo>
              </a:path>
            </a:pathLst>
          </a:custGeom>
          <a:ln w="25400">
            <a:solidFill>
              <a:srgbClr val="000000"/>
            </a:solidFill>
          </a:ln>
        </p:spPr>
        <p:txBody>
          <a:bodyPr wrap="square" lIns="0" tIns="0" rIns="0" bIns="0" rtlCol="0">
            <a:noAutofit/>
          </a:bodyPr>
          <a:lstStyle/>
          <a:p>
            <a:endParaRPr/>
          </a:p>
        </p:txBody>
      </p:sp>
      <p:sp>
        <p:nvSpPr>
          <p:cNvPr id="75" name="object 75"/>
          <p:cNvSpPr/>
          <p:nvPr/>
        </p:nvSpPr>
        <p:spPr>
          <a:xfrm>
            <a:off x="2274888" y="2438400"/>
            <a:ext cx="300037" cy="249300"/>
          </a:xfrm>
          <a:custGeom>
            <a:avLst/>
            <a:gdLst/>
            <a:ahLst/>
            <a:cxnLst/>
            <a:rect l="l" t="t" r="r" b="b"/>
            <a:pathLst>
              <a:path w="300037" h="249300">
                <a:moveTo>
                  <a:pt x="0" y="124587"/>
                </a:moveTo>
                <a:lnTo>
                  <a:pt x="1547" y="142555"/>
                </a:lnTo>
                <a:lnTo>
                  <a:pt x="4575" y="155259"/>
                </a:lnTo>
                <a:lnTo>
                  <a:pt x="9110" y="167465"/>
                </a:lnTo>
                <a:lnTo>
                  <a:pt x="15066" y="179103"/>
                </a:lnTo>
                <a:lnTo>
                  <a:pt x="22358" y="190102"/>
                </a:lnTo>
                <a:lnTo>
                  <a:pt x="30902" y="200391"/>
                </a:lnTo>
                <a:lnTo>
                  <a:pt x="40611" y="209898"/>
                </a:lnTo>
                <a:lnTo>
                  <a:pt x="51401" y="218553"/>
                </a:lnTo>
                <a:lnTo>
                  <a:pt x="63185" y="226284"/>
                </a:lnTo>
                <a:lnTo>
                  <a:pt x="75881" y="233021"/>
                </a:lnTo>
                <a:lnTo>
                  <a:pt x="89400" y="238692"/>
                </a:lnTo>
                <a:lnTo>
                  <a:pt x="103660" y="243227"/>
                </a:lnTo>
                <a:lnTo>
                  <a:pt x="118574" y="246554"/>
                </a:lnTo>
                <a:lnTo>
                  <a:pt x="134057" y="248602"/>
                </a:lnTo>
                <a:lnTo>
                  <a:pt x="150025" y="249300"/>
                </a:lnTo>
                <a:lnTo>
                  <a:pt x="155836" y="249209"/>
                </a:lnTo>
                <a:lnTo>
                  <a:pt x="171637" y="248015"/>
                </a:lnTo>
                <a:lnTo>
                  <a:pt x="186924" y="245496"/>
                </a:lnTo>
                <a:lnTo>
                  <a:pt x="201610" y="241725"/>
                </a:lnTo>
                <a:lnTo>
                  <a:pt x="215612" y="236772"/>
                </a:lnTo>
                <a:lnTo>
                  <a:pt x="228844" y="230707"/>
                </a:lnTo>
                <a:lnTo>
                  <a:pt x="241219" y="223603"/>
                </a:lnTo>
                <a:lnTo>
                  <a:pt x="252654" y="215529"/>
                </a:lnTo>
                <a:lnTo>
                  <a:pt x="263064" y="206558"/>
                </a:lnTo>
                <a:lnTo>
                  <a:pt x="272361" y="196759"/>
                </a:lnTo>
                <a:lnTo>
                  <a:pt x="280463" y="186206"/>
                </a:lnTo>
                <a:lnTo>
                  <a:pt x="287282" y="174967"/>
                </a:lnTo>
                <a:lnTo>
                  <a:pt x="292734" y="163115"/>
                </a:lnTo>
                <a:lnTo>
                  <a:pt x="296735" y="150720"/>
                </a:lnTo>
                <a:lnTo>
                  <a:pt x="299197" y="137853"/>
                </a:lnTo>
                <a:lnTo>
                  <a:pt x="300037" y="124587"/>
                </a:lnTo>
                <a:lnTo>
                  <a:pt x="299930" y="119841"/>
                </a:lnTo>
                <a:lnTo>
                  <a:pt x="298504" y="106705"/>
                </a:lnTo>
                <a:lnTo>
                  <a:pt x="295484" y="93998"/>
                </a:lnTo>
                <a:lnTo>
                  <a:pt x="290956" y="81790"/>
                </a:lnTo>
                <a:lnTo>
                  <a:pt x="285005" y="70153"/>
                </a:lnTo>
                <a:lnTo>
                  <a:pt x="277716" y="59156"/>
                </a:lnTo>
                <a:lnTo>
                  <a:pt x="269174" y="48871"/>
                </a:lnTo>
                <a:lnTo>
                  <a:pt x="259465" y="39369"/>
                </a:lnTo>
                <a:lnTo>
                  <a:pt x="248675" y="30719"/>
                </a:lnTo>
                <a:lnTo>
                  <a:pt x="236888" y="22993"/>
                </a:lnTo>
                <a:lnTo>
                  <a:pt x="224190" y="16262"/>
                </a:lnTo>
                <a:lnTo>
                  <a:pt x="210667" y="10596"/>
                </a:lnTo>
                <a:lnTo>
                  <a:pt x="196404" y="6066"/>
                </a:lnTo>
                <a:lnTo>
                  <a:pt x="181485" y="2743"/>
                </a:lnTo>
                <a:lnTo>
                  <a:pt x="165997" y="697"/>
                </a:lnTo>
                <a:lnTo>
                  <a:pt x="150025" y="0"/>
                </a:lnTo>
                <a:lnTo>
                  <a:pt x="144300" y="88"/>
                </a:lnTo>
                <a:lnTo>
                  <a:pt x="128489" y="1273"/>
                </a:lnTo>
                <a:lnTo>
                  <a:pt x="113192" y="3781"/>
                </a:lnTo>
                <a:lnTo>
                  <a:pt x="98495" y="7540"/>
                </a:lnTo>
                <a:lnTo>
                  <a:pt x="84484" y="12481"/>
                </a:lnTo>
                <a:lnTo>
                  <a:pt x="71243" y="18533"/>
                </a:lnTo>
                <a:lnTo>
                  <a:pt x="58859" y="25625"/>
                </a:lnTo>
                <a:lnTo>
                  <a:pt x="47416" y="33686"/>
                </a:lnTo>
                <a:lnTo>
                  <a:pt x="36999" y="42646"/>
                </a:lnTo>
                <a:lnTo>
                  <a:pt x="27695" y="52434"/>
                </a:lnTo>
                <a:lnTo>
                  <a:pt x="19588" y="62979"/>
                </a:lnTo>
                <a:lnTo>
                  <a:pt x="12764" y="74211"/>
                </a:lnTo>
                <a:lnTo>
                  <a:pt x="7307" y="86058"/>
                </a:lnTo>
                <a:lnTo>
                  <a:pt x="3304" y="98450"/>
                </a:lnTo>
                <a:lnTo>
                  <a:pt x="840" y="111316"/>
                </a:lnTo>
                <a:lnTo>
                  <a:pt x="0" y="124587"/>
                </a:lnTo>
                <a:close/>
              </a:path>
            </a:pathLst>
          </a:custGeom>
          <a:solidFill>
            <a:srgbClr val="00CC99"/>
          </a:solidFill>
        </p:spPr>
        <p:txBody>
          <a:bodyPr wrap="square" lIns="0" tIns="0" rIns="0" bIns="0" rtlCol="0">
            <a:noAutofit/>
          </a:bodyPr>
          <a:lstStyle/>
          <a:p>
            <a:endParaRPr/>
          </a:p>
        </p:txBody>
      </p:sp>
      <p:sp>
        <p:nvSpPr>
          <p:cNvPr id="76" name="object 76"/>
          <p:cNvSpPr/>
          <p:nvPr/>
        </p:nvSpPr>
        <p:spPr>
          <a:xfrm>
            <a:off x="2274888" y="2438400"/>
            <a:ext cx="300037" cy="249300"/>
          </a:xfrm>
          <a:custGeom>
            <a:avLst/>
            <a:gdLst/>
            <a:ahLst/>
            <a:cxnLst/>
            <a:rect l="l" t="t" r="r" b="b"/>
            <a:pathLst>
              <a:path w="300037" h="249300">
                <a:moveTo>
                  <a:pt x="0" y="124587"/>
                </a:moveTo>
                <a:lnTo>
                  <a:pt x="840" y="111316"/>
                </a:lnTo>
                <a:lnTo>
                  <a:pt x="3304" y="98450"/>
                </a:lnTo>
                <a:lnTo>
                  <a:pt x="7307" y="86058"/>
                </a:lnTo>
                <a:lnTo>
                  <a:pt x="12764" y="74211"/>
                </a:lnTo>
                <a:lnTo>
                  <a:pt x="19588" y="62979"/>
                </a:lnTo>
                <a:lnTo>
                  <a:pt x="27695" y="52434"/>
                </a:lnTo>
                <a:lnTo>
                  <a:pt x="36999" y="42646"/>
                </a:lnTo>
                <a:lnTo>
                  <a:pt x="47416" y="33686"/>
                </a:lnTo>
                <a:lnTo>
                  <a:pt x="58859" y="25625"/>
                </a:lnTo>
                <a:lnTo>
                  <a:pt x="71243" y="18533"/>
                </a:lnTo>
                <a:lnTo>
                  <a:pt x="84484" y="12481"/>
                </a:lnTo>
                <a:lnTo>
                  <a:pt x="98495" y="7540"/>
                </a:lnTo>
                <a:lnTo>
                  <a:pt x="113192" y="3781"/>
                </a:lnTo>
                <a:lnTo>
                  <a:pt x="128489" y="1273"/>
                </a:lnTo>
                <a:lnTo>
                  <a:pt x="144300" y="88"/>
                </a:lnTo>
                <a:lnTo>
                  <a:pt x="150025" y="0"/>
                </a:lnTo>
                <a:lnTo>
                  <a:pt x="165997" y="697"/>
                </a:lnTo>
                <a:lnTo>
                  <a:pt x="181485" y="2743"/>
                </a:lnTo>
                <a:lnTo>
                  <a:pt x="196404" y="6066"/>
                </a:lnTo>
                <a:lnTo>
                  <a:pt x="210667" y="10596"/>
                </a:lnTo>
                <a:lnTo>
                  <a:pt x="224190" y="16262"/>
                </a:lnTo>
                <a:lnTo>
                  <a:pt x="236888" y="22993"/>
                </a:lnTo>
                <a:lnTo>
                  <a:pt x="248675" y="30719"/>
                </a:lnTo>
                <a:lnTo>
                  <a:pt x="259465" y="39369"/>
                </a:lnTo>
                <a:lnTo>
                  <a:pt x="269174" y="48871"/>
                </a:lnTo>
                <a:lnTo>
                  <a:pt x="277716" y="59156"/>
                </a:lnTo>
                <a:lnTo>
                  <a:pt x="285005" y="70153"/>
                </a:lnTo>
                <a:lnTo>
                  <a:pt x="290956" y="81790"/>
                </a:lnTo>
                <a:lnTo>
                  <a:pt x="295484" y="93998"/>
                </a:lnTo>
                <a:lnTo>
                  <a:pt x="298504" y="106705"/>
                </a:lnTo>
                <a:lnTo>
                  <a:pt x="299930" y="119841"/>
                </a:lnTo>
                <a:lnTo>
                  <a:pt x="300037" y="124587"/>
                </a:lnTo>
                <a:lnTo>
                  <a:pt x="299197" y="137853"/>
                </a:lnTo>
                <a:lnTo>
                  <a:pt x="296735" y="150720"/>
                </a:lnTo>
                <a:lnTo>
                  <a:pt x="292734" y="163115"/>
                </a:lnTo>
                <a:lnTo>
                  <a:pt x="287282" y="174967"/>
                </a:lnTo>
                <a:lnTo>
                  <a:pt x="280463" y="186206"/>
                </a:lnTo>
                <a:lnTo>
                  <a:pt x="272361" y="196759"/>
                </a:lnTo>
                <a:lnTo>
                  <a:pt x="263064" y="206558"/>
                </a:lnTo>
                <a:lnTo>
                  <a:pt x="252654" y="215529"/>
                </a:lnTo>
                <a:lnTo>
                  <a:pt x="241219" y="223603"/>
                </a:lnTo>
                <a:lnTo>
                  <a:pt x="228844" y="230707"/>
                </a:lnTo>
                <a:lnTo>
                  <a:pt x="215612" y="236772"/>
                </a:lnTo>
                <a:lnTo>
                  <a:pt x="201610" y="241725"/>
                </a:lnTo>
                <a:lnTo>
                  <a:pt x="186924" y="245496"/>
                </a:lnTo>
                <a:lnTo>
                  <a:pt x="171637" y="248015"/>
                </a:lnTo>
                <a:lnTo>
                  <a:pt x="155836" y="249209"/>
                </a:lnTo>
                <a:lnTo>
                  <a:pt x="150025" y="249300"/>
                </a:lnTo>
                <a:lnTo>
                  <a:pt x="134057" y="248602"/>
                </a:lnTo>
                <a:lnTo>
                  <a:pt x="118574" y="246554"/>
                </a:lnTo>
                <a:lnTo>
                  <a:pt x="103660" y="243227"/>
                </a:lnTo>
                <a:lnTo>
                  <a:pt x="89400" y="238692"/>
                </a:lnTo>
                <a:lnTo>
                  <a:pt x="75881" y="233021"/>
                </a:lnTo>
                <a:lnTo>
                  <a:pt x="63185" y="226284"/>
                </a:lnTo>
                <a:lnTo>
                  <a:pt x="51401" y="218553"/>
                </a:lnTo>
                <a:lnTo>
                  <a:pt x="40611" y="209898"/>
                </a:lnTo>
                <a:lnTo>
                  <a:pt x="30902" y="200391"/>
                </a:lnTo>
                <a:lnTo>
                  <a:pt x="22358" y="190102"/>
                </a:lnTo>
                <a:lnTo>
                  <a:pt x="15066" y="179103"/>
                </a:lnTo>
                <a:lnTo>
                  <a:pt x="9110" y="167465"/>
                </a:lnTo>
                <a:lnTo>
                  <a:pt x="4575" y="155259"/>
                </a:lnTo>
                <a:lnTo>
                  <a:pt x="1547" y="142555"/>
                </a:lnTo>
                <a:lnTo>
                  <a:pt x="110" y="129426"/>
                </a:lnTo>
                <a:lnTo>
                  <a:pt x="0" y="124587"/>
                </a:lnTo>
                <a:close/>
              </a:path>
            </a:pathLst>
          </a:custGeom>
          <a:ln w="25400">
            <a:solidFill>
              <a:srgbClr val="000000"/>
            </a:solidFill>
          </a:ln>
        </p:spPr>
        <p:txBody>
          <a:bodyPr wrap="square" lIns="0" tIns="0" rIns="0" bIns="0" rtlCol="0">
            <a:noAutofit/>
          </a:bodyPr>
          <a:lstStyle/>
          <a:p>
            <a:endParaRPr/>
          </a:p>
        </p:txBody>
      </p:sp>
      <p:sp>
        <p:nvSpPr>
          <p:cNvPr id="51" name="object 51"/>
          <p:cNvSpPr/>
          <p:nvPr/>
        </p:nvSpPr>
        <p:spPr>
          <a:xfrm>
            <a:off x="9298052" y="4179951"/>
            <a:ext cx="301625" cy="247650"/>
          </a:xfrm>
          <a:custGeom>
            <a:avLst/>
            <a:gdLst/>
            <a:ahLst/>
            <a:cxnLst/>
            <a:rect l="l" t="t" r="r" b="b"/>
            <a:pathLst>
              <a:path w="301625" h="247650">
                <a:moveTo>
                  <a:pt x="0" y="123698"/>
                </a:moveTo>
                <a:lnTo>
                  <a:pt x="1552" y="141654"/>
                </a:lnTo>
                <a:lnTo>
                  <a:pt x="4592" y="154265"/>
                </a:lnTo>
                <a:lnTo>
                  <a:pt x="9145" y="166384"/>
                </a:lnTo>
                <a:lnTo>
                  <a:pt x="15126" y="177940"/>
                </a:lnTo>
                <a:lnTo>
                  <a:pt x="22449" y="188861"/>
                </a:lnTo>
                <a:lnTo>
                  <a:pt x="31030" y="199077"/>
                </a:lnTo>
                <a:lnTo>
                  <a:pt x="40783" y="208518"/>
                </a:lnTo>
                <a:lnTo>
                  <a:pt x="51622" y="217112"/>
                </a:lnTo>
                <a:lnTo>
                  <a:pt x="63462" y="224790"/>
                </a:lnTo>
                <a:lnTo>
                  <a:pt x="76218" y="231481"/>
                </a:lnTo>
                <a:lnTo>
                  <a:pt x="89805" y="237113"/>
                </a:lnTo>
                <a:lnTo>
                  <a:pt x="104137" y="241617"/>
                </a:lnTo>
                <a:lnTo>
                  <a:pt x="119128" y="244921"/>
                </a:lnTo>
                <a:lnTo>
                  <a:pt x="134694" y="246956"/>
                </a:lnTo>
                <a:lnTo>
                  <a:pt x="150749" y="247650"/>
                </a:lnTo>
                <a:lnTo>
                  <a:pt x="156717" y="247554"/>
                </a:lnTo>
                <a:lnTo>
                  <a:pt x="172596" y="246359"/>
                </a:lnTo>
                <a:lnTo>
                  <a:pt x="187958" y="243851"/>
                </a:lnTo>
                <a:lnTo>
                  <a:pt x="202717" y="240100"/>
                </a:lnTo>
                <a:lnTo>
                  <a:pt x="216788" y="235176"/>
                </a:lnTo>
                <a:lnTo>
                  <a:pt x="230084" y="229151"/>
                </a:lnTo>
                <a:lnTo>
                  <a:pt x="242520" y="222095"/>
                </a:lnTo>
                <a:lnTo>
                  <a:pt x="254011" y="214078"/>
                </a:lnTo>
                <a:lnTo>
                  <a:pt x="264471" y="205171"/>
                </a:lnTo>
                <a:lnTo>
                  <a:pt x="273814" y="195444"/>
                </a:lnTo>
                <a:lnTo>
                  <a:pt x="281955" y="184969"/>
                </a:lnTo>
                <a:lnTo>
                  <a:pt x="288808" y="173815"/>
                </a:lnTo>
                <a:lnTo>
                  <a:pt x="294287" y="162053"/>
                </a:lnTo>
                <a:lnTo>
                  <a:pt x="298306" y="149754"/>
                </a:lnTo>
                <a:lnTo>
                  <a:pt x="300781" y="136987"/>
                </a:lnTo>
                <a:lnTo>
                  <a:pt x="301625" y="123825"/>
                </a:lnTo>
                <a:lnTo>
                  <a:pt x="301512" y="118885"/>
                </a:lnTo>
                <a:lnTo>
                  <a:pt x="300067" y="105855"/>
                </a:lnTo>
                <a:lnTo>
                  <a:pt x="297020" y="93250"/>
                </a:lnTo>
                <a:lnTo>
                  <a:pt x="292458" y="81140"/>
                </a:lnTo>
                <a:lnTo>
                  <a:pt x="286467" y="69596"/>
                </a:lnTo>
                <a:lnTo>
                  <a:pt x="279132" y="58687"/>
                </a:lnTo>
                <a:lnTo>
                  <a:pt x="270539" y="48484"/>
                </a:lnTo>
                <a:lnTo>
                  <a:pt x="260774" y="39057"/>
                </a:lnTo>
                <a:lnTo>
                  <a:pt x="249923" y="30476"/>
                </a:lnTo>
                <a:lnTo>
                  <a:pt x="238071" y="22812"/>
                </a:lnTo>
                <a:lnTo>
                  <a:pt x="225304" y="16134"/>
                </a:lnTo>
                <a:lnTo>
                  <a:pt x="211708" y="10513"/>
                </a:lnTo>
                <a:lnTo>
                  <a:pt x="197369" y="6018"/>
                </a:lnTo>
                <a:lnTo>
                  <a:pt x="182372" y="2721"/>
                </a:lnTo>
                <a:lnTo>
                  <a:pt x="166803" y="692"/>
                </a:lnTo>
                <a:lnTo>
                  <a:pt x="150749" y="0"/>
                </a:lnTo>
                <a:lnTo>
                  <a:pt x="144802" y="85"/>
                </a:lnTo>
                <a:lnTo>
                  <a:pt x="128924" y="1257"/>
                </a:lnTo>
                <a:lnTo>
                  <a:pt x="113565" y="3745"/>
                </a:lnTo>
                <a:lnTo>
                  <a:pt x="98811" y="7478"/>
                </a:lnTo>
                <a:lnTo>
                  <a:pt x="84748" y="12387"/>
                </a:lnTo>
                <a:lnTo>
                  <a:pt x="71460" y="18400"/>
                </a:lnTo>
                <a:lnTo>
                  <a:pt x="59034" y="25447"/>
                </a:lnTo>
                <a:lnTo>
                  <a:pt x="47553" y="33456"/>
                </a:lnTo>
                <a:lnTo>
                  <a:pt x="37104" y="42357"/>
                </a:lnTo>
                <a:lnTo>
                  <a:pt x="27771" y="52080"/>
                </a:lnTo>
                <a:lnTo>
                  <a:pt x="19641" y="62553"/>
                </a:lnTo>
                <a:lnTo>
                  <a:pt x="12797" y="73705"/>
                </a:lnTo>
                <a:lnTo>
                  <a:pt x="7326" y="85467"/>
                </a:lnTo>
                <a:lnTo>
                  <a:pt x="3313" y="97767"/>
                </a:lnTo>
                <a:lnTo>
                  <a:pt x="842" y="110534"/>
                </a:lnTo>
                <a:lnTo>
                  <a:pt x="0" y="123698"/>
                </a:lnTo>
                <a:close/>
              </a:path>
            </a:pathLst>
          </a:custGeom>
          <a:solidFill>
            <a:srgbClr val="00CC99"/>
          </a:solidFill>
        </p:spPr>
        <p:txBody>
          <a:bodyPr wrap="square" lIns="0" tIns="0" rIns="0" bIns="0" rtlCol="0">
            <a:noAutofit/>
          </a:bodyPr>
          <a:lstStyle/>
          <a:p>
            <a:endParaRPr/>
          </a:p>
        </p:txBody>
      </p:sp>
      <p:sp>
        <p:nvSpPr>
          <p:cNvPr id="52" name="object 52"/>
          <p:cNvSpPr/>
          <p:nvPr/>
        </p:nvSpPr>
        <p:spPr>
          <a:xfrm>
            <a:off x="9298052" y="4179951"/>
            <a:ext cx="301625" cy="247650"/>
          </a:xfrm>
          <a:custGeom>
            <a:avLst/>
            <a:gdLst/>
            <a:ahLst/>
            <a:cxnLst/>
            <a:rect l="l" t="t" r="r" b="b"/>
            <a:pathLst>
              <a:path w="301625" h="247650">
                <a:moveTo>
                  <a:pt x="0" y="123698"/>
                </a:moveTo>
                <a:lnTo>
                  <a:pt x="842" y="110534"/>
                </a:lnTo>
                <a:lnTo>
                  <a:pt x="3313" y="97767"/>
                </a:lnTo>
                <a:lnTo>
                  <a:pt x="7326" y="85467"/>
                </a:lnTo>
                <a:lnTo>
                  <a:pt x="12797" y="73705"/>
                </a:lnTo>
                <a:lnTo>
                  <a:pt x="19641" y="62553"/>
                </a:lnTo>
                <a:lnTo>
                  <a:pt x="27771" y="52080"/>
                </a:lnTo>
                <a:lnTo>
                  <a:pt x="37104" y="42357"/>
                </a:lnTo>
                <a:lnTo>
                  <a:pt x="47553" y="33456"/>
                </a:lnTo>
                <a:lnTo>
                  <a:pt x="59034" y="25447"/>
                </a:lnTo>
                <a:lnTo>
                  <a:pt x="71460" y="18400"/>
                </a:lnTo>
                <a:lnTo>
                  <a:pt x="84748" y="12387"/>
                </a:lnTo>
                <a:lnTo>
                  <a:pt x="98811" y="7478"/>
                </a:lnTo>
                <a:lnTo>
                  <a:pt x="113565" y="3745"/>
                </a:lnTo>
                <a:lnTo>
                  <a:pt x="128924" y="1257"/>
                </a:lnTo>
                <a:lnTo>
                  <a:pt x="144802" y="85"/>
                </a:lnTo>
                <a:lnTo>
                  <a:pt x="150749" y="0"/>
                </a:lnTo>
                <a:lnTo>
                  <a:pt x="166803" y="692"/>
                </a:lnTo>
                <a:lnTo>
                  <a:pt x="182372" y="2721"/>
                </a:lnTo>
                <a:lnTo>
                  <a:pt x="197369" y="6018"/>
                </a:lnTo>
                <a:lnTo>
                  <a:pt x="211708" y="10513"/>
                </a:lnTo>
                <a:lnTo>
                  <a:pt x="225304" y="16134"/>
                </a:lnTo>
                <a:lnTo>
                  <a:pt x="238071" y="22812"/>
                </a:lnTo>
                <a:lnTo>
                  <a:pt x="249923" y="30476"/>
                </a:lnTo>
                <a:lnTo>
                  <a:pt x="260774" y="39057"/>
                </a:lnTo>
                <a:lnTo>
                  <a:pt x="270539" y="48484"/>
                </a:lnTo>
                <a:lnTo>
                  <a:pt x="279132" y="58687"/>
                </a:lnTo>
                <a:lnTo>
                  <a:pt x="286467" y="69596"/>
                </a:lnTo>
                <a:lnTo>
                  <a:pt x="292458" y="81140"/>
                </a:lnTo>
                <a:lnTo>
                  <a:pt x="297020" y="93250"/>
                </a:lnTo>
                <a:lnTo>
                  <a:pt x="300067" y="105855"/>
                </a:lnTo>
                <a:lnTo>
                  <a:pt x="301512" y="118885"/>
                </a:lnTo>
                <a:lnTo>
                  <a:pt x="301625" y="123698"/>
                </a:lnTo>
                <a:lnTo>
                  <a:pt x="300781" y="136987"/>
                </a:lnTo>
                <a:lnTo>
                  <a:pt x="298306" y="149754"/>
                </a:lnTo>
                <a:lnTo>
                  <a:pt x="294287" y="162053"/>
                </a:lnTo>
                <a:lnTo>
                  <a:pt x="288808" y="173815"/>
                </a:lnTo>
                <a:lnTo>
                  <a:pt x="281955" y="184969"/>
                </a:lnTo>
                <a:lnTo>
                  <a:pt x="273814" y="195444"/>
                </a:lnTo>
                <a:lnTo>
                  <a:pt x="264471" y="205171"/>
                </a:lnTo>
                <a:lnTo>
                  <a:pt x="254011" y="214078"/>
                </a:lnTo>
                <a:lnTo>
                  <a:pt x="242520" y="222095"/>
                </a:lnTo>
                <a:lnTo>
                  <a:pt x="230084" y="229151"/>
                </a:lnTo>
                <a:lnTo>
                  <a:pt x="216788" y="235176"/>
                </a:lnTo>
                <a:lnTo>
                  <a:pt x="202717" y="240100"/>
                </a:lnTo>
                <a:lnTo>
                  <a:pt x="187958" y="243851"/>
                </a:lnTo>
                <a:lnTo>
                  <a:pt x="172596" y="246359"/>
                </a:lnTo>
                <a:lnTo>
                  <a:pt x="156717" y="247554"/>
                </a:lnTo>
                <a:lnTo>
                  <a:pt x="150749" y="247650"/>
                </a:lnTo>
                <a:lnTo>
                  <a:pt x="134694" y="246956"/>
                </a:lnTo>
                <a:lnTo>
                  <a:pt x="119128" y="244921"/>
                </a:lnTo>
                <a:lnTo>
                  <a:pt x="104137" y="241617"/>
                </a:lnTo>
                <a:lnTo>
                  <a:pt x="89805" y="237113"/>
                </a:lnTo>
                <a:lnTo>
                  <a:pt x="76218" y="231481"/>
                </a:lnTo>
                <a:lnTo>
                  <a:pt x="63462" y="224790"/>
                </a:lnTo>
                <a:lnTo>
                  <a:pt x="51622" y="217112"/>
                </a:lnTo>
                <a:lnTo>
                  <a:pt x="40783" y="208518"/>
                </a:lnTo>
                <a:lnTo>
                  <a:pt x="31030" y="199077"/>
                </a:lnTo>
                <a:lnTo>
                  <a:pt x="22449" y="188861"/>
                </a:lnTo>
                <a:lnTo>
                  <a:pt x="15126" y="177940"/>
                </a:lnTo>
                <a:lnTo>
                  <a:pt x="9145" y="166384"/>
                </a:lnTo>
                <a:lnTo>
                  <a:pt x="4592" y="154265"/>
                </a:lnTo>
                <a:lnTo>
                  <a:pt x="1552" y="141654"/>
                </a:lnTo>
                <a:lnTo>
                  <a:pt x="111" y="128620"/>
                </a:lnTo>
                <a:lnTo>
                  <a:pt x="0" y="123825"/>
                </a:lnTo>
                <a:close/>
              </a:path>
            </a:pathLst>
          </a:custGeom>
          <a:ln w="25400">
            <a:solidFill>
              <a:srgbClr val="000000"/>
            </a:solidFill>
          </a:ln>
        </p:spPr>
        <p:txBody>
          <a:bodyPr wrap="square" lIns="0" tIns="0" rIns="0" bIns="0" rtlCol="0">
            <a:noAutofit/>
          </a:bodyPr>
          <a:lstStyle/>
          <a:p>
            <a:endParaRPr/>
          </a:p>
        </p:txBody>
      </p:sp>
      <p:sp>
        <p:nvSpPr>
          <p:cNvPr id="47" name="object 47"/>
          <p:cNvSpPr txBox="1"/>
          <p:nvPr/>
        </p:nvSpPr>
        <p:spPr>
          <a:xfrm>
            <a:off x="304800" y="914400"/>
            <a:ext cx="10278617" cy="1524000"/>
          </a:xfrm>
          <a:prstGeom prst="rect">
            <a:avLst/>
          </a:prstGeom>
        </p:spPr>
        <p:txBody>
          <a:bodyPr wrap="square" lIns="0" tIns="0" rIns="0" bIns="0" rtlCol="0">
            <a:noAutofit/>
          </a:bodyPr>
          <a:lstStyle/>
          <a:p>
            <a:pPr marL="298450" marR="30415" indent="-285750">
              <a:lnSpc>
                <a:spcPts val="1730"/>
              </a:lnSpc>
              <a:spcBef>
                <a:spcPts val="86"/>
              </a:spcBef>
              <a:buClr>
                <a:srgbClr val="00B0F0"/>
              </a:buClr>
              <a:buFont typeface="Wingdings" panose="05000000000000000000" pitchFamily="2" charset="2"/>
              <a:buChar char="§"/>
            </a:pPr>
            <a:r>
              <a:rPr sz="1600" dirty="0">
                <a:cs typeface="Arial"/>
              </a:rPr>
              <a:t>T</a:t>
            </a:r>
            <a:r>
              <a:rPr sz="1600" spc="-4" dirty="0">
                <a:cs typeface="Arial"/>
              </a:rPr>
              <a:t>h</a:t>
            </a:r>
            <a:r>
              <a:rPr sz="1600" dirty="0">
                <a:cs typeface="Arial"/>
              </a:rPr>
              <a:t>e</a:t>
            </a:r>
            <a:r>
              <a:rPr sz="1600" spc="-28" dirty="0">
                <a:cs typeface="Arial"/>
              </a:rPr>
              <a:t> </a:t>
            </a:r>
            <a:r>
              <a:rPr sz="1600" dirty="0">
                <a:cs typeface="Arial"/>
              </a:rPr>
              <a:t>f</a:t>
            </a:r>
            <a:r>
              <a:rPr sz="1600" spc="-4" dirty="0">
                <a:cs typeface="Arial"/>
              </a:rPr>
              <a:t>o</a:t>
            </a:r>
            <a:r>
              <a:rPr sz="1600" dirty="0">
                <a:cs typeface="Arial"/>
              </a:rPr>
              <a:t>llo</a:t>
            </a:r>
            <a:r>
              <a:rPr sz="1600" spc="39" dirty="0">
                <a:cs typeface="Arial"/>
              </a:rPr>
              <a:t>w</a:t>
            </a:r>
            <a:r>
              <a:rPr sz="1600" dirty="0">
                <a:cs typeface="Arial"/>
              </a:rPr>
              <a:t>ing</a:t>
            </a:r>
            <a:r>
              <a:rPr sz="1600" spc="-65" dirty="0">
                <a:cs typeface="Arial"/>
              </a:rPr>
              <a:t> </a:t>
            </a:r>
            <a:r>
              <a:rPr sz="1600" dirty="0">
                <a:cs typeface="Arial"/>
              </a:rPr>
              <a:t>f</a:t>
            </a:r>
            <a:r>
              <a:rPr sz="1600" spc="-4" dirty="0">
                <a:cs typeface="Arial"/>
              </a:rPr>
              <a:t>u</a:t>
            </a:r>
            <a:r>
              <a:rPr sz="1600" dirty="0">
                <a:cs typeface="Arial"/>
              </a:rPr>
              <a:t>nc</a:t>
            </a:r>
            <a:r>
              <a:rPr sz="1600" spc="-4" dirty="0">
                <a:cs typeface="Arial"/>
              </a:rPr>
              <a:t>t</a:t>
            </a:r>
            <a:r>
              <a:rPr sz="1600" dirty="0">
                <a:cs typeface="Arial"/>
              </a:rPr>
              <a:t>io</a:t>
            </a:r>
            <a:r>
              <a:rPr sz="1600" spc="-4" dirty="0">
                <a:cs typeface="Arial"/>
              </a:rPr>
              <a:t>n</a:t>
            </a:r>
            <a:r>
              <a:rPr sz="1600" dirty="0">
                <a:cs typeface="Arial"/>
              </a:rPr>
              <a:t>s</a:t>
            </a:r>
            <a:r>
              <a:rPr sz="1600" spc="-36" dirty="0">
                <a:cs typeface="Arial"/>
              </a:rPr>
              <a:t> </a:t>
            </a:r>
            <a:r>
              <a:rPr sz="1600" dirty="0">
                <a:cs typeface="Arial"/>
              </a:rPr>
              <a:t>are</a:t>
            </a:r>
            <a:r>
              <a:rPr sz="1600" spc="-8" dirty="0">
                <a:cs typeface="Arial"/>
              </a:rPr>
              <a:t> </a:t>
            </a:r>
            <a:r>
              <a:rPr sz="1600" dirty="0">
                <a:cs typeface="Arial"/>
              </a:rPr>
              <a:t>su</a:t>
            </a:r>
            <a:r>
              <a:rPr sz="1600" spc="-4" dirty="0">
                <a:cs typeface="Arial"/>
              </a:rPr>
              <a:t>p</a:t>
            </a:r>
            <a:r>
              <a:rPr sz="1600" dirty="0">
                <a:cs typeface="Arial"/>
              </a:rPr>
              <a:t>p</a:t>
            </a:r>
            <a:r>
              <a:rPr sz="1600" spc="-4" dirty="0">
                <a:cs typeface="Arial"/>
              </a:rPr>
              <a:t>o</a:t>
            </a:r>
            <a:r>
              <a:rPr sz="1600" dirty="0">
                <a:cs typeface="Arial"/>
              </a:rPr>
              <a:t>rted</a:t>
            </a:r>
            <a:r>
              <a:rPr sz="1600" spc="-58" dirty="0">
                <a:cs typeface="Arial"/>
              </a:rPr>
              <a:t> </a:t>
            </a:r>
            <a:r>
              <a:rPr sz="1600" dirty="0">
                <a:cs typeface="Arial"/>
              </a:rPr>
              <a:t>by</a:t>
            </a:r>
            <a:r>
              <a:rPr sz="1600" spc="-8" dirty="0">
                <a:cs typeface="Arial"/>
              </a:rPr>
              <a:t> </a:t>
            </a:r>
            <a:r>
              <a:rPr sz="1600" dirty="0">
                <a:cs typeface="Arial"/>
              </a:rPr>
              <a:t>billi</a:t>
            </a:r>
            <a:r>
              <a:rPr sz="1600" spc="-4" dirty="0">
                <a:cs typeface="Arial"/>
              </a:rPr>
              <a:t>n</a:t>
            </a:r>
            <a:r>
              <a:rPr sz="1600" dirty="0">
                <a:cs typeface="Arial"/>
              </a:rPr>
              <a:t>g:</a:t>
            </a:r>
          </a:p>
          <a:p>
            <a:pPr marL="755650" lvl="1" indent="-285750">
              <a:lnSpc>
                <a:spcPct val="95825"/>
              </a:lnSpc>
              <a:buClr>
                <a:srgbClr val="C00000"/>
              </a:buClr>
              <a:buFont typeface="Wingdings" panose="05000000000000000000" pitchFamily="2" charset="2"/>
              <a:buChar char="§"/>
            </a:pPr>
            <a:r>
              <a:rPr sz="1600" dirty="0">
                <a:cs typeface="Arial"/>
              </a:rPr>
              <a:t>Creation</a:t>
            </a:r>
            <a:r>
              <a:rPr sz="1600" spc="-72" dirty="0">
                <a:cs typeface="Arial"/>
              </a:rPr>
              <a:t> </a:t>
            </a:r>
            <a:r>
              <a:rPr sz="1600" dirty="0">
                <a:cs typeface="Arial"/>
              </a:rPr>
              <a:t>of in</a:t>
            </a:r>
            <a:r>
              <a:rPr sz="1600" spc="-39" dirty="0">
                <a:cs typeface="Arial"/>
              </a:rPr>
              <a:t>v</a:t>
            </a:r>
            <a:r>
              <a:rPr sz="1600" dirty="0">
                <a:cs typeface="Arial"/>
              </a:rPr>
              <a:t>oices(a</a:t>
            </a:r>
            <a:r>
              <a:rPr sz="1600" spc="-4" dirty="0">
                <a:cs typeface="Arial"/>
              </a:rPr>
              <a:t>n</a:t>
            </a:r>
            <a:r>
              <a:rPr sz="1600" dirty="0">
                <a:cs typeface="Arial"/>
              </a:rPr>
              <a:t>d</a:t>
            </a:r>
            <a:r>
              <a:rPr sz="1600" spc="-23" dirty="0">
                <a:cs typeface="Arial"/>
              </a:rPr>
              <a:t> </a:t>
            </a:r>
            <a:r>
              <a:rPr sz="1600" dirty="0">
                <a:cs typeface="Arial"/>
              </a:rPr>
              <a:t>pr</a:t>
            </a:r>
            <a:r>
              <a:rPr sz="1600" spc="9" dirty="0">
                <a:cs typeface="Arial"/>
              </a:rPr>
              <a:t>o</a:t>
            </a:r>
            <a:r>
              <a:rPr sz="1600" spc="-4" dirty="0">
                <a:cs typeface="Arial"/>
              </a:rPr>
              <a:t>-</a:t>
            </a:r>
            <a:r>
              <a:rPr sz="1600" dirty="0">
                <a:cs typeface="Arial"/>
              </a:rPr>
              <a:t>f</a:t>
            </a:r>
            <a:r>
              <a:rPr sz="1600" spc="-4" dirty="0">
                <a:cs typeface="Arial"/>
              </a:rPr>
              <a:t>o</a:t>
            </a:r>
            <a:r>
              <a:rPr sz="1600" dirty="0">
                <a:cs typeface="Arial"/>
              </a:rPr>
              <a:t>rma</a:t>
            </a:r>
            <a:r>
              <a:rPr sz="1600" spc="-25" dirty="0">
                <a:cs typeface="Arial"/>
              </a:rPr>
              <a:t> </a:t>
            </a:r>
            <a:r>
              <a:rPr sz="1600" dirty="0">
                <a:cs typeface="Arial"/>
              </a:rPr>
              <a:t>in</a:t>
            </a:r>
            <a:r>
              <a:rPr sz="1600" spc="-39" dirty="0">
                <a:cs typeface="Arial"/>
              </a:rPr>
              <a:t>v</a:t>
            </a:r>
            <a:r>
              <a:rPr sz="1600" dirty="0">
                <a:cs typeface="Arial"/>
              </a:rPr>
              <a:t>oice</a:t>
            </a:r>
            <a:r>
              <a:rPr sz="1600" spc="9" dirty="0">
                <a:cs typeface="Arial"/>
              </a:rPr>
              <a:t>s</a:t>
            </a:r>
            <a:r>
              <a:rPr sz="1600" dirty="0">
                <a:cs typeface="Arial"/>
              </a:rPr>
              <a:t>)</a:t>
            </a:r>
            <a:r>
              <a:rPr sz="1600" spc="-14" dirty="0">
                <a:cs typeface="Arial"/>
              </a:rPr>
              <a:t> </a:t>
            </a:r>
            <a:r>
              <a:rPr sz="1600" dirty="0">
                <a:cs typeface="Arial"/>
              </a:rPr>
              <a:t>on</a:t>
            </a:r>
            <a:r>
              <a:rPr sz="1600" spc="-14" dirty="0">
                <a:cs typeface="Arial"/>
              </a:rPr>
              <a:t> </a:t>
            </a:r>
            <a:r>
              <a:rPr sz="1600" dirty="0">
                <a:cs typeface="Arial"/>
              </a:rPr>
              <a:t>t</a:t>
            </a:r>
            <a:r>
              <a:rPr sz="1600" spc="-4" dirty="0">
                <a:cs typeface="Arial"/>
              </a:rPr>
              <a:t>h</a:t>
            </a:r>
            <a:r>
              <a:rPr sz="1600" dirty="0">
                <a:cs typeface="Arial"/>
              </a:rPr>
              <a:t>e</a:t>
            </a:r>
            <a:r>
              <a:rPr sz="1600" spc="-13" dirty="0">
                <a:cs typeface="Arial"/>
              </a:rPr>
              <a:t> </a:t>
            </a:r>
            <a:r>
              <a:rPr sz="1600" dirty="0">
                <a:cs typeface="Arial"/>
              </a:rPr>
              <a:t>basis</a:t>
            </a:r>
            <a:r>
              <a:rPr sz="1600" spc="-30" dirty="0">
                <a:cs typeface="Arial"/>
              </a:rPr>
              <a:t> </a:t>
            </a:r>
            <a:r>
              <a:rPr sz="1600" dirty="0">
                <a:cs typeface="Arial"/>
              </a:rPr>
              <a:t>of deli</a:t>
            </a:r>
            <a:r>
              <a:rPr sz="1600" spc="-34" dirty="0">
                <a:cs typeface="Arial"/>
              </a:rPr>
              <a:t>v</a:t>
            </a:r>
            <a:r>
              <a:rPr sz="1600" dirty="0">
                <a:cs typeface="Arial"/>
              </a:rPr>
              <a:t>eries</a:t>
            </a:r>
            <a:r>
              <a:rPr lang="en-US" sz="1600" dirty="0">
                <a:cs typeface="Arial"/>
              </a:rPr>
              <a:t> &amp; services </a:t>
            </a:r>
            <a:endParaRPr sz="1600" dirty="0">
              <a:cs typeface="Arial"/>
            </a:endParaRPr>
          </a:p>
          <a:p>
            <a:pPr marL="755650" marR="30415" lvl="1" indent="-285750">
              <a:lnSpc>
                <a:spcPct val="95825"/>
              </a:lnSpc>
              <a:spcBef>
                <a:spcPts val="80"/>
              </a:spcBef>
              <a:buClr>
                <a:srgbClr val="C00000"/>
              </a:buClr>
              <a:buFont typeface="Wingdings" panose="05000000000000000000" pitchFamily="2" charset="2"/>
              <a:buChar char="§"/>
            </a:pPr>
            <a:r>
              <a:rPr sz="1600" spc="-89" dirty="0">
                <a:cs typeface="Arial"/>
              </a:rPr>
              <a:t>T</a:t>
            </a:r>
            <a:r>
              <a:rPr sz="1600" dirty="0">
                <a:cs typeface="Arial"/>
              </a:rPr>
              <a:t>ransferr</a:t>
            </a:r>
            <a:r>
              <a:rPr sz="1600" spc="4" dirty="0">
                <a:cs typeface="Arial"/>
              </a:rPr>
              <a:t>i</a:t>
            </a:r>
            <a:r>
              <a:rPr sz="1600" dirty="0">
                <a:cs typeface="Arial"/>
              </a:rPr>
              <a:t>ng</a:t>
            </a:r>
            <a:r>
              <a:rPr sz="1600" spc="-91" dirty="0">
                <a:cs typeface="Arial"/>
              </a:rPr>
              <a:t> </a:t>
            </a:r>
            <a:r>
              <a:rPr sz="1600" dirty="0">
                <a:cs typeface="Arial"/>
              </a:rPr>
              <a:t>p</a:t>
            </a:r>
            <a:r>
              <a:rPr sz="1600" spc="-4" dirty="0">
                <a:cs typeface="Arial"/>
              </a:rPr>
              <a:t>o</a:t>
            </a:r>
            <a:r>
              <a:rPr sz="1600" dirty="0">
                <a:cs typeface="Arial"/>
              </a:rPr>
              <a:t>sti</a:t>
            </a:r>
            <a:r>
              <a:rPr sz="1600" spc="-4" dirty="0">
                <a:cs typeface="Arial"/>
              </a:rPr>
              <a:t>n</a:t>
            </a:r>
            <a:r>
              <a:rPr sz="1600" dirty="0">
                <a:cs typeface="Arial"/>
              </a:rPr>
              <a:t>g</a:t>
            </a:r>
            <a:r>
              <a:rPr sz="1600" spc="-37" dirty="0">
                <a:cs typeface="Arial"/>
              </a:rPr>
              <a:t> </a:t>
            </a:r>
            <a:r>
              <a:rPr sz="1600" dirty="0">
                <a:cs typeface="Arial"/>
              </a:rPr>
              <a:t>da</a:t>
            </a:r>
            <a:r>
              <a:rPr sz="1600" spc="-4" dirty="0">
                <a:cs typeface="Arial"/>
              </a:rPr>
              <a:t>t</a:t>
            </a:r>
            <a:r>
              <a:rPr sz="1600" dirty="0">
                <a:cs typeface="Arial"/>
              </a:rPr>
              <a:t>a</a:t>
            </a:r>
            <a:r>
              <a:rPr sz="1600" spc="-7" dirty="0">
                <a:cs typeface="Arial"/>
              </a:rPr>
              <a:t> </a:t>
            </a:r>
            <a:r>
              <a:rPr sz="1600" dirty="0">
                <a:cs typeface="Arial"/>
              </a:rPr>
              <a:t>to</a:t>
            </a:r>
            <a:r>
              <a:rPr sz="1600" spc="-10" dirty="0">
                <a:cs typeface="Arial"/>
              </a:rPr>
              <a:t> </a:t>
            </a:r>
            <a:r>
              <a:rPr sz="1600" dirty="0">
                <a:cs typeface="Arial"/>
              </a:rPr>
              <a:t>fi</a:t>
            </a:r>
            <a:r>
              <a:rPr sz="1600" spc="-4" dirty="0">
                <a:cs typeface="Arial"/>
              </a:rPr>
              <a:t>n</a:t>
            </a:r>
            <a:r>
              <a:rPr sz="1600" dirty="0">
                <a:cs typeface="Arial"/>
              </a:rPr>
              <a:t>ancial</a:t>
            </a:r>
            <a:r>
              <a:rPr sz="1600" spc="-29" dirty="0">
                <a:cs typeface="Arial"/>
              </a:rPr>
              <a:t> </a:t>
            </a:r>
            <a:r>
              <a:rPr sz="1600" dirty="0">
                <a:cs typeface="Arial"/>
              </a:rPr>
              <a:t>accou</a:t>
            </a:r>
            <a:r>
              <a:rPr sz="1600" spc="-9" dirty="0">
                <a:cs typeface="Arial"/>
              </a:rPr>
              <a:t>n</a:t>
            </a:r>
            <a:r>
              <a:rPr sz="1600" dirty="0">
                <a:cs typeface="Arial"/>
              </a:rPr>
              <a:t>ti</a:t>
            </a:r>
            <a:r>
              <a:rPr sz="1600" spc="-4" dirty="0">
                <a:cs typeface="Arial"/>
              </a:rPr>
              <a:t>n</a:t>
            </a:r>
            <a:r>
              <a:rPr sz="1600" dirty="0">
                <a:cs typeface="Arial"/>
              </a:rPr>
              <a:t>g</a:t>
            </a:r>
          </a:p>
          <a:p>
            <a:pPr marL="755650" marR="30415" lvl="1" indent="-285750">
              <a:lnSpc>
                <a:spcPct val="95825"/>
              </a:lnSpc>
              <a:spcBef>
                <a:spcPts val="80"/>
              </a:spcBef>
              <a:buClr>
                <a:srgbClr val="C00000"/>
              </a:buClr>
              <a:buFont typeface="Wingdings" panose="05000000000000000000" pitchFamily="2" charset="2"/>
              <a:buChar char="§"/>
            </a:pPr>
            <a:r>
              <a:rPr sz="1600" dirty="0">
                <a:cs typeface="Arial"/>
              </a:rPr>
              <a:t>Creation</a:t>
            </a:r>
            <a:r>
              <a:rPr sz="1600" spc="-72" dirty="0">
                <a:cs typeface="Arial"/>
              </a:rPr>
              <a:t> </a:t>
            </a:r>
            <a:r>
              <a:rPr sz="1600" dirty="0">
                <a:cs typeface="Arial"/>
              </a:rPr>
              <a:t>of credit</a:t>
            </a:r>
            <a:r>
              <a:rPr sz="1600" spc="-23" dirty="0">
                <a:cs typeface="Arial"/>
              </a:rPr>
              <a:t> </a:t>
            </a:r>
            <a:r>
              <a:rPr sz="1600" dirty="0">
                <a:cs typeface="Arial"/>
              </a:rPr>
              <a:t>and</a:t>
            </a:r>
            <a:r>
              <a:rPr sz="1600" spc="-23" dirty="0">
                <a:cs typeface="Arial"/>
              </a:rPr>
              <a:t> </a:t>
            </a:r>
            <a:r>
              <a:rPr sz="1600" dirty="0">
                <a:cs typeface="Arial"/>
              </a:rPr>
              <a:t>de</a:t>
            </a:r>
            <a:r>
              <a:rPr sz="1600" spc="-4" dirty="0">
                <a:cs typeface="Arial"/>
              </a:rPr>
              <a:t>b</a:t>
            </a:r>
            <a:r>
              <a:rPr sz="1600" dirty="0">
                <a:cs typeface="Arial"/>
              </a:rPr>
              <a:t>it</a:t>
            </a:r>
            <a:r>
              <a:rPr sz="1600" spc="-18" dirty="0">
                <a:cs typeface="Arial"/>
              </a:rPr>
              <a:t> </a:t>
            </a:r>
            <a:r>
              <a:rPr sz="1600" dirty="0">
                <a:cs typeface="Arial"/>
              </a:rPr>
              <a:t>me</a:t>
            </a:r>
            <a:r>
              <a:rPr sz="1600" spc="-4" dirty="0">
                <a:cs typeface="Arial"/>
              </a:rPr>
              <a:t>m</a:t>
            </a:r>
            <a:r>
              <a:rPr sz="1600" dirty="0">
                <a:cs typeface="Arial"/>
              </a:rPr>
              <a:t>os</a:t>
            </a:r>
            <a:r>
              <a:rPr sz="1600" spc="-36" dirty="0">
                <a:cs typeface="Arial"/>
              </a:rPr>
              <a:t> </a:t>
            </a:r>
            <a:r>
              <a:rPr sz="1600" dirty="0">
                <a:cs typeface="Arial"/>
              </a:rPr>
              <a:t>on</a:t>
            </a:r>
            <a:r>
              <a:rPr sz="1600" spc="-14" dirty="0">
                <a:cs typeface="Arial"/>
              </a:rPr>
              <a:t> </a:t>
            </a:r>
            <a:r>
              <a:rPr sz="1600" dirty="0">
                <a:cs typeface="Arial"/>
              </a:rPr>
              <a:t>t</a:t>
            </a:r>
            <a:r>
              <a:rPr sz="1600" spc="-4" dirty="0">
                <a:cs typeface="Arial"/>
              </a:rPr>
              <a:t>h</a:t>
            </a:r>
            <a:r>
              <a:rPr sz="1600" dirty="0">
                <a:cs typeface="Arial"/>
              </a:rPr>
              <a:t>e basis</a:t>
            </a:r>
            <a:r>
              <a:rPr sz="1600" spc="-30" dirty="0">
                <a:cs typeface="Arial"/>
              </a:rPr>
              <a:t> </a:t>
            </a:r>
            <a:r>
              <a:rPr sz="1600" dirty="0">
                <a:cs typeface="Arial"/>
              </a:rPr>
              <a:t>of</a:t>
            </a:r>
            <a:r>
              <a:rPr sz="1600" spc="-10" dirty="0">
                <a:cs typeface="Arial"/>
              </a:rPr>
              <a:t> </a:t>
            </a:r>
            <a:r>
              <a:rPr sz="1600" dirty="0">
                <a:cs typeface="Arial"/>
              </a:rPr>
              <a:t>requests</a:t>
            </a:r>
          </a:p>
          <a:p>
            <a:pPr marL="755650" marR="30415" lvl="1" indent="-285750">
              <a:lnSpc>
                <a:spcPct val="95825"/>
              </a:lnSpc>
              <a:spcBef>
                <a:spcPts val="80"/>
              </a:spcBef>
              <a:buClr>
                <a:srgbClr val="C00000"/>
              </a:buClr>
              <a:buFont typeface="Wingdings" panose="05000000000000000000" pitchFamily="2" charset="2"/>
              <a:buChar char="§"/>
            </a:pPr>
            <a:r>
              <a:rPr sz="1600" dirty="0">
                <a:cs typeface="Arial"/>
              </a:rPr>
              <a:t>Ca</a:t>
            </a:r>
            <a:r>
              <a:rPr sz="1600" spc="-9" dirty="0">
                <a:cs typeface="Arial"/>
              </a:rPr>
              <a:t>n</a:t>
            </a:r>
            <a:r>
              <a:rPr sz="1600" dirty="0">
                <a:cs typeface="Arial"/>
              </a:rPr>
              <a:t>celli</a:t>
            </a:r>
            <a:r>
              <a:rPr sz="1600" spc="-4" dirty="0">
                <a:cs typeface="Arial"/>
              </a:rPr>
              <a:t>n</a:t>
            </a:r>
            <a:r>
              <a:rPr sz="1600" dirty="0">
                <a:cs typeface="Arial"/>
              </a:rPr>
              <a:t>g</a:t>
            </a:r>
            <a:r>
              <a:rPr sz="1600" spc="-37" dirty="0">
                <a:cs typeface="Arial"/>
              </a:rPr>
              <a:t> </a:t>
            </a:r>
            <a:r>
              <a:rPr sz="1600" dirty="0">
                <a:cs typeface="Arial"/>
              </a:rPr>
              <a:t>b</a:t>
            </a:r>
            <a:r>
              <a:rPr sz="1600" spc="-9" dirty="0">
                <a:cs typeface="Arial"/>
              </a:rPr>
              <a:t>u</a:t>
            </a:r>
            <a:r>
              <a:rPr sz="1600" dirty="0">
                <a:cs typeface="Arial"/>
              </a:rPr>
              <a:t>si</a:t>
            </a:r>
            <a:r>
              <a:rPr sz="1600" spc="-4" dirty="0">
                <a:cs typeface="Arial"/>
              </a:rPr>
              <a:t>n</a:t>
            </a:r>
            <a:r>
              <a:rPr sz="1600" dirty="0">
                <a:cs typeface="Arial"/>
              </a:rPr>
              <a:t>ess</a:t>
            </a:r>
            <a:r>
              <a:rPr sz="1600" spc="-6" dirty="0">
                <a:cs typeface="Arial"/>
              </a:rPr>
              <a:t> </a:t>
            </a:r>
            <a:r>
              <a:rPr sz="1600" dirty="0">
                <a:cs typeface="Arial"/>
              </a:rPr>
              <a:t>tra</a:t>
            </a:r>
            <a:r>
              <a:rPr sz="1600" spc="-9" dirty="0">
                <a:cs typeface="Arial"/>
              </a:rPr>
              <a:t>n</a:t>
            </a:r>
            <a:r>
              <a:rPr sz="1600" dirty="0">
                <a:cs typeface="Arial"/>
              </a:rPr>
              <a:t>sac</a:t>
            </a:r>
            <a:r>
              <a:rPr sz="1600" spc="-4" dirty="0">
                <a:cs typeface="Arial"/>
              </a:rPr>
              <a:t>t</a:t>
            </a:r>
            <a:r>
              <a:rPr sz="1600" dirty="0">
                <a:cs typeface="Arial"/>
              </a:rPr>
              <a:t>i</a:t>
            </a:r>
            <a:r>
              <a:rPr sz="1600" spc="-4" dirty="0">
                <a:cs typeface="Arial"/>
              </a:rPr>
              <a:t>o</a:t>
            </a:r>
            <a:r>
              <a:rPr sz="1600" dirty="0">
                <a:cs typeface="Arial"/>
              </a:rPr>
              <a:t>ns</a:t>
            </a:r>
          </a:p>
        </p:txBody>
      </p:sp>
      <p:sp>
        <p:nvSpPr>
          <p:cNvPr id="45" name="object 45"/>
          <p:cNvSpPr txBox="1"/>
          <p:nvPr/>
        </p:nvSpPr>
        <p:spPr>
          <a:xfrm>
            <a:off x="2355292" y="2462630"/>
            <a:ext cx="168715" cy="228396"/>
          </a:xfrm>
          <a:prstGeom prst="rect">
            <a:avLst/>
          </a:prstGeom>
        </p:spPr>
        <p:txBody>
          <a:bodyPr wrap="square" lIns="0" tIns="0" rIns="0" bIns="0" rtlCol="0">
            <a:noAutofit/>
          </a:bodyPr>
          <a:lstStyle/>
          <a:p>
            <a:pPr marL="12700">
              <a:lnSpc>
                <a:spcPts val="1735"/>
              </a:lnSpc>
              <a:spcBef>
                <a:spcPts val="86"/>
              </a:spcBef>
            </a:pPr>
            <a:r>
              <a:rPr sz="1600" b="1" dirty="0">
                <a:solidFill>
                  <a:srgbClr val="FFFFFF"/>
                </a:solidFill>
                <a:latin typeface="Arial"/>
                <a:cs typeface="Arial"/>
              </a:rPr>
              <a:t>1</a:t>
            </a:r>
            <a:endParaRPr sz="1600">
              <a:latin typeface="Arial"/>
              <a:cs typeface="Arial"/>
            </a:endParaRPr>
          </a:p>
        </p:txBody>
      </p:sp>
      <p:sp>
        <p:nvSpPr>
          <p:cNvPr id="44" name="object 44"/>
          <p:cNvSpPr txBox="1"/>
          <p:nvPr/>
        </p:nvSpPr>
        <p:spPr>
          <a:xfrm>
            <a:off x="3892424" y="2462630"/>
            <a:ext cx="168715" cy="228396"/>
          </a:xfrm>
          <a:prstGeom prst="rect">
            <a:avLst/>
          </a:prstGeom>
        </p:spPr>
        <p:txBody>
          <a:bodyPr wrap="square" lIns="0" tIns="0" rIns="0" bIns="0" rtlCol="0">
            <a:noAutofit/>
          </a:bodyPr>
          <a:lstStyle/>
          <a:p>
            <a:pPr marL="12700">
              <a:lnSpc>
                <a:spcPts val="1735"/>
              </a:lnSpc>
              <a:spcBef>
                <a:spcPts val="86"/>
              </a:spcBef>
            </a:pPr>
            <a:r>
              <a:rPr sz="1600" b="1" dirty="0">
                <a:solidFill>
                  <a:srgbClr val="FFFFFF"/>
                </a:solidFill>
                <a:latin typeface="Arial"/>
                <a:cs typeface="Arial"/>
              </a:rPr>
              <a:t>2</a:t>
            </a:r>
            <a:endParaRPr sz="1600">
              <a:latin typeface="Arial"/>
              <a:cs typeface="Arial"/>
            </a:endParaRPr>
          </a:p>
        </p:txBody>
      </p:sp>
      <p:sp>
        <p:nvSpPr>
          <p:cNvPr id="43" name="object 43"/>
          <p:cNvSpPr txBox="1"/>
          <p:nvPr/>
        </p:nvSpPr>
        <p:spPr>
          <a:xfrm>
            <a:off x="5292599" y="2462630"/>
            <a:ext cx="315099" cy="228396"/>
          </a:xfrm>
          <a:prstGeom prst="rect">
            <a:avLst/>
          </a:prstGeom>
        </p:spPr>
        <p:txBody>
          <a:bodyPr wrap="square" lIns="0" tIns="0" rIns="0" bIns="0" rtlCol="0">
            <a:noAutofit/>
          </a:bodyPr>
          <a:lstStyle/>
          <a:p>
            <a:pPr marL="12700">
              <a:lnSpc>
                <a:spcPts val="1735"/>
              </a:lnSpc>
              <a:spcBef>
                <a:spcPts val="86"/>
              </a:spcBef>
            </a:pPr>
            <a:r>
              <a:rPr sz="1600" b="1" dirty="0">
                <a:solidFill>
                  <a:srgbClr val="FFFFFF"/>
                </a:solidFill>
                <a:latin typeface="Arial"/>
                <a:cs typeface="Arial"/>
              </a:rPr>
              <a:t>3A</a:t>
            </a:r>
            <a:endParaRPr sz="1600">
              <a:latin typeface="Arial"/>
              <a:cs typeface="Arial"/>
            </a:endParaRPr>
          </a:p>
        </p:txBody>
      </p:sp>
      <p:sp>
        <p:nvSpPr>
          <p:cNvPr id="42" name="object 42"/>
          <p:cNvSpPr txBox="1"/>
          <p:nvPr/>
        </p:nvSpPr>
        <p:spPr>
          <a:xfrm>
            <a:off x="6840475" y="2462630"/>
            <a:ext cx="315099" cy="228396"/>
          </a:xfrm>
          <a:prstGeom prst="rect">
            <a:avLst/>
          </a:prstGeom>
        </p:spPr>
        <p:txBody>
          <a:bodyPr wrap="square" lIns="0" tIns="0" rIns="0" bIns="0" rtlCol="0">
            <a:noAutofit/>
          </a:bodyPr>
          <a:lstStyle/>
          <a:p>
            <a:pPr marL="12700">
              <a:lnSpc>
                <a:spcPts val="1735"/>
              </a:lnSpc>
              <a:spcBef>
                <a:spcPts val="86"/>
              </a:spcBef>
            </a:pPr>
            <a:r>
              <a:rPr sz="1600" b="1" dirty="0">
                <a:solidFill>
                  <a:srgbClr val="FFFFFF"/>
                </a:solidFill>
                <a:latin typeface="Arial"/>
                <a:cs typeface="Arial"/>
              </a:rPr>
              <a:t>3B</a:t>
            </a:r>
            <a:endParaRPr sz="1600">
              <a:latin typeface="Arial"/>
              <a:cs typeface="Arial"/>
            </a:endParaRPr>
          </a:p>
        </p:txBody>
      </p:sp>
      <p:sp>
        <p:nvSpPr>
          <p:cNvPr id="41" name="object 41"/>
          <p:cNvSpPr txBox="1"/>
          <p:nvPr/>
        </p:nvSpPr>
        <p:spPr>
          <a:xfrm>
            <a:off x="7221729" y="3003844"/>
            <a:ext cx="753253" cy="203708"/>
          </a:xfrm>
          <a:prstGeom prst="rect">
            <a:avLst/>
          </a:prstGeom>
        </p:spPr>
        <p:txBody>
          <a:bodyPr wrap="square" lIns="0" tIns="0" rIns="0" bIns="0" rtlCol="0">
            <a:noAutofit/>
          </a:bodyPr>
          <a:lstStyle/>
          <a:p>
            <a:pPr marL="12700">
              <a:lnSpc>
                <a:spcPts val="1535"/>
              </a:lnSpc>
              <a:spcBef>
                <a:spcPts val="76"/>
              </a:spcBef>
            </a:pPr>
            <a:r>
              <a:rPr sz="1400" b="1" spc="-4" dirty="0">
                <a:latin typeface="Arial"/>
                <a:cs typeface="Arial"/>
              </a:rPr>
              <a:t>R</a:t>
            </a:r>
            <a:r>
              <a:rPr sz="1400" b="1" dirty="0">
                <a:latin typeface="Arial"/>
                <a:cs typeface="Arial"/>
              </a:rPr>
              <a:t>e</a:t>
            </a:r>
            <a:r>
              <a:rPr sz="1400" b="1" spc="-4" dirty="0">
                <a:latin typeface="Arial"/>
                <a:cs typeface="Arial"/>
              </a:rPr>
              <a:t>qu</a:t>
            </a:r>
            <a:r>
              <a:rPr sz="1400" b="1" dirty="0">
                <a:latin typeface="Arial"/>
                <a:cs typeface="Arial"/>
              </a:rPr>
              <a:t>est</a:t>
            </a:r>
            <a:endParaRPr sz="1400">
              <a:latin typeface="Arial"/>
              <a:cs typeface="Arial"/>
            </a:endParaRPr>
          </a:p>
        </p:txBody>
      </p:sp>
      <p:sp>
        <p:nvSpPr>
          <p:cNvPr id="40" name="object 40"/>
          <p:cNvSpPr txBox="1"/>
          <p:nvPr/>
        </p:nvSpPr>
        <p:spPr>
          <a:xfrm>
            <a:off x="9381235" y="4203920"/>
            <a:ext cx="168500" cy="228092"/>
          </a:xfrm>
          <a:prstGeom prst="rect">
            <a:avLst/>
          </a:prstGeom>
        </p:spPr>
        <p:txBody>
          <a:bodyPr wrap="square" lIns="0" tIns="0" rIns="0" bIns="0" rtlCol="0">
            <a:noAutofit/>
          </a:bodyPr>
          <a:lstStyle/>
          <a:p>
            <a:pPr marL="12700">
              <a:lnSpc>
                <a:spcPts val="1730"/>
              </a:lnSpc>
              <a:spcBef>
                <a:spcPts val="86"/>
              </a:spcBef>
            </a:pPr>
            <a:r>
              <a:rPr sz="1600" b="1" dirty="0">
                <a:solidFill>
                  <a:srgbClr val="FFFFFF"/>
                </a:solidFill>
                <a:latin typeface="Arial"/>
                <a:cs typeface="Arial"/>
              </a:rPr>
              <a:t>4</a:t>
            </a:r>
            <a:endParaRPr sz="1600">
              <a:latin typeface="Arial"/>
              <a:cs typeface="Arial"/>
            </a:endParaRPr>
          </a:p>
        </p:txBody>
      </p:sp>
      <p:sp>
        <p:nvSpPr>
          <p:cNvPr id="39" name="object 39"/>
          <p:cNvSpPr txBox="1"/>
          <p:nvPr/>
        </p:nvSpPr>
        <p:spPr>
          <a:xfrm>
            <a:off x="9512047" y="4657766"/>
            <a:ext cx="1110047" cy="203707"/>
          </a:xfrm>
          <a:prstGeom prst="rect">
            <a:avLst/>
          </a:prstGeom>
        </p:spPr>
        <p:txBody>
          <a:bodyPr wrap="square" lIns="0" tIns="0" rIns="0" bIns="0" rtlCol="0">
            <a:noAutofit/>
          </a:bodyPr>
          <a:lstStyle/>
          <a:p>
            <a:pPr marL="12700">
              <a:lnSpc>
                <a:spcPts val="1535"/>
              </a:lnSpc>
              <a:spcBef>
                <a:spcPts val="76"/>
              </a:spcBef>
            </a:pPr>
            <a:r>
              <a:rPr sz="1400" b="1" spc="-4" dirty="0">
                <a:latin typeface="Arial"/>
                <a:cs typeface="Arial"/>
              </a:rPr>
              <a:t>C</a:t>
            </a:r>
            <a:r>
              <a:rPr sz="1400" b="1" dirty="0">
                <a:latin typeface="Arial"/>
                <a:cs typeface="Arial"/>
              </a:rPr>
              <a:t>a</a:t>
            </a:r>
            <a:r>
              <a:rPr sz="1400" b="1" spc="-4" dirty="0">
                <a:latin typeface="Arial"/>
                <a:cs typeface="Arial"/>
              </a:rPr>
              <a:t>n</a:t>
            </a:r>
            <a:r>
              <a:rPr sz="1400" b="1" dirty="0">
                <a:latin typeface="Arial"/>
                <a:cs typeface="Arial"/>
              </a:rPr>
              <a:t>ce</a:t>
            </a:r>
            <a:r>
              <a:rPr sz="1400" b="1" spc="4" dirty="0">
                <a:latin typeface="Arial"/>
                <a:cs typeface="Arial"/>
              </a:rPr>
              <a:t>ll</a:t>
            </a:r>
            <a:r>
              <a:rPr sz="1400" b="1" dirty="0">
                <a:latin typeface="Arial"/>
                <a:cs typeface="Arial"/>
              </a:rPr>
              <a:t>at</a:t>
            </a:r>
            <a:r>
              <a:rPr sz="1400" b="1" spc="-4" dirty="0">
                <a:latin typeface="Arial"/>
                <a:cs typeface="Arial"/>
              </a:rPr>
              <a:t>io</a:t>
            </a:r>
            <a:r>
              <a:rPr sz="1400" b="1" dirty="0">
                <a:latin typeface="Arial"/>
                <a:cs typeface="Arial"/>
              </a:rPr>
              <a:t>n</a:t>
            </a:r>
            <a:endParaRPr sz="1400">
              <a:latin typeface="Arial"/>
              <a:cs typeface="Arial"/>
            </a:endParaRPr>
          </a:p>
        </p:txBody>
      </p:sp>
      <p:sp>
        <p:nvSpPr>
          <p:cNvPr id="37" name="object 37"/>
          <p:cNvSpPr txBox="1"/>
          <p:nvPr/>
        </p:nvSpPr>
        <p:spPr>
          <a:xfrm>
            <a:off x="9559926" y="6029326"/>
            <a:ext cx="346075" cy="179387"/>
          </a:xfrm>
          <a:prstGeom prst="rect">
            <a:avLst/>
          </a:prstGeom>
        </p:spPr>
        <p:txBody>
          <a:bodyPr wrap="square" lIns="0" tIns="0" rIns="0" bIns="0" rtlCol="0">
            <a:noAutofit/>
          </a:bodyPr>
          <a:lstStyle/>
          <a:p>
            <a:pPr marL="25400">
              <a:lnSpc>
                <a:spcPts val="1000"/>
              </a:lnSpc>
            </a:pPr>
            <a:endParaRPr sz="1000"/>
          </a:p>
        </p:txBody>
      </p:sp>
      <p:sp>
        <p:nvSpPr>
          <p:cNvPr id="36" name="object 36"/>
          <p:cNvSpPr txBox="1"/>
          <p:nvPr/>
        </p:nvSpPr>
        <p:spPr>
          <a:xfrm>
            <a:off x="9906000" y="6029326"/>
            <a:ext cx="304800" cy="179387"/>
          </a:xfrm>
          <a:prstGeom prst="rect">
            <a:avLst/>
          </a:prstGeom>
        </p:spPr>
        <p:txBody>
          <a:bodyPr wrap="square" lIns="0" tIns="0" rIns="0" bIns="0" rtlCol="0">
            <a:noAutofit/>
          </a:bodyPr>
          <a:lstStyle/>
          <a:p>
            <a:pPr marL="25400">
              <a:lnSpc>
                <a:spcPts val="1000"/>
              </a:lnSpc>
            </a:pPr>
            <a:endParaRPr sz="1000"/>
          </a:p>
        </p:txBody>
      </p:sp>
      <p:sp>
        <p:nvSpPr>
          <p:cNvPr id="35" name="object 35"/>
          <p:cNvSpPr txBox="1"/>
          <p:nvPr/>
        </p:nvSpPr>
        <p:spPr>
          <a:xfrm>
            <a:off x="5864225" y="6029326"/>
            <a:ext cx="323850" cy="179387"/>
          </a:xfrm>
          <a:prstGeom prst="rect">
            <a:avLst/>
          </a:prstGeom>
        </p:spPr>
        <p:txBody>
          <a:bodyPr wrap="square" lIns="0" tIns="0" rIns="0" bIns="0" rtlCol="0">
            <a:noAutofit/>
          </a:bodyPr>
          <a:lstStyle/>
          <a:p>
            <a:pPr marL="25400">
              <a:lnSpc>
                <a:spcPts val="1000"/>
              </a:lnSpc>
            </a:pPr>
            <a:endParaRPr sz="1000"/>
          </a:p>
        </p:txBody>
      </p:sp>
      <p:sp>
        <p:nvSpPr>
          <p:cNvPr id="34" name="object 34"/>
          <p:cNvSpPr txBox="1"/>
          <p:nvPr/>
        </p:nvSpPr>
        <p:spPr>
          <a:xfrm>
            <a:off x="6188075" y="6029326"/>
            <a:ext cx="325500" cy="179387"/>
          </a:xfrm>
          <a:prstGeom prst="rect">
            <a:avLst/>
          </a:prstGeom>
        </p:spPr>
        <p:txBody>
          <a:bodyPr wrap="square" lIns="0" tIns="0" rIns="0" bIns="0" rtlCol="0">
            <a:noAutofit/>
          </a:bodyPr>
          <a:lstStyle/>
          <a:p>
            <a:pPr marL="25400">
              <a:lnSpc>
                <a:spcPts val="1000"/>
              </a:lnSpc>
            </a:pPr>
            <a:endParaRPr sz="1000"/>
          </a:p>
        </p:txBody>
      </p:sp>
      <p:sp>
        <p:nvSpPr>
          <p:cNvPr id="33" name="object 33"/>
          <p:cNvSpPr txBox="1"/>
          <p:nvPr/>
        </p:nvSpPr>
        <p:spPr>
          <a:xfrm>
            <a:off x="7323201" y="6029326"/>
            <a:ext cx="325374" cy="179387"/>
          </a:xfrm>
          <a:prstGeom prst="rect">
            <a:avLst/>
          </a:prstGeom>
        </p:spPr>
        <p:txBody>
          <a:bodyPr wrap="square" lIns="0" tIns="0" rIns="0" bIns="0" rtlCol="0">
            <a:noAutofit/>
          </a:bodyPr>
          <a:lstStyle/>
          <a:p>
            <a:pPr marL="25400">
              <a:lnSpc>
                <a:spcPts val="1000"/>
              </a:lnSpc>
            </a:pPr>
            <a:endParaRPr sz="1000"/>
          </a:p>
        </p:txBody>
      </p:sp>
      <p:sp>
        <p:nvSpPr>
          <p:cNvPr id="32" name="object 32"/>
          <p:cNvSpPr txBox="1"/>
          <p:nvPr/>
        </p:nvSpPr>
        <p:spPr>
          <a:xfrm>
            <a:off x="7648575" y="6029326"/>
            <a:ext cx="323850" cy="179387"/>
          </a:xfrm>
          <a:prstGeom prst="rect">
            <a:avLst/>
          </a:prstGeom>
        </p:spPr>
        <p:txBody>
          <a:bodyPr wrap="square" lIns="0" tIns="0" rIns="0" bIns="0" rtlCol="0">
            <a:noAutofit/>
          </a:bodyPr>
          <a:lstStyle/>
          <a:p>
            <a:pPr marL="25400">
              <a:lnSpc>
                <a:spcPts val="1000"/>
              </a:lnSpc>
            </a:pPr>
            <a:endParaRPr sz="1000"/>
          </a:p>
        </p:txBody>
      </p:sp>
      <p:sp>
        <p:nvSpPr>
          <p:cNvPr id="31" name="object 31"/>
          <p:cNvSpPr txBox="1"/>
          <p:nvPr/>
        </p:nvSpPr>
        <p:spPr>
          <a:xfrm>
            <a:off x="4176776" y="5670551"/>
            <a:ext cx="471424" cy="358775"/>
          </a:xfrm>
          <a:prstGeom prst="rect">
            <a:avLst/>
          </a:prstGeom>
        </p:spPr>
        <p:txBody>
          <a:bodyPr wrap="square" lIns="0" tIns="0" rIns="0" bIns="0" rtlCol="0">
            <a:noAutofit/>
          </a:bodyPr>
          <a:lstStyle/>
          <a:p>
            <a:pPr marL="25400">
              <a:lnSpc>
                <a:spcPts val="1000"/>
              </a:lnSpc>
            </a:pPr>
            <a:endParaRPr sz="1000"/>
          </a:p>
        </p:txBody>
      </p:sp>
      <p:sp>
        <p:nvSpPr>
          <p:cNvPr id="30" name="object 30"/>
          <p:cNvSpPr txBox="1"/>
          <p:nvPr/>
        </p:nvSpPr>
        <p:spPr>
          <a:xfrm>
            <a:off x="4648200" y="5670551"/>
            <a:ext cx="268350" cy="358775"/>
          </a:xfrm>
          <a:prstGeom prst="rect">
            <a:avLst/>
          </a:prstGeom>
        </p:spPr>
        <p:txBody>
          <a:bodyPr wrap="square" lIns="0" tIns="0" rIns="0" bIns="0" rtlCol="0">
            <a:noAutofit/>
          </a:bodyPr>
          <a:lstStyle/>
          <a:p>
            <a:pPr marL="25400">
              <a:lnSpc>
                <a:spcPts val="1000"/>
              </a:lnSpc>
            </a:pPr>
            <a:endParaRPr sz="1000"/>
          </a:p>
        </p:txBody>
      </p:sp>
      <p:sp>
        <p:nvSpPr>
          <p:cNvPr id="29" name="object 29"/>
          <p:cNvSpPr txBox="1"/>
          <p:nvPr/>
        </p:nvSpPr>
        <p:spPr>
          <a:xfrm>
            <a:off x="4176776" y="6029326"/>
            <a:ext cx="471424" cy="179387"/>
          </a:xfrm>
          <a:prstGeom prst="rect">
            <a:avLst/>
          </a:prstGeom>
        </p:spPr>
        <p:txBody>
          <a:bodyPr wrap="square" lIns="0" tIns="0" rIns="0" bIns="0" rtlCol="0">
            <a:noAutofit/>
          </a:bodyPr>
          <a:lstStyle/>
          <a:p>
            <a:pPr marL="25400">
              <a:lnSpc>
                <a:spcPts val="1000"/>
              </a:lnSpc>
            </a:pPr>
            <a:endParaRPr sz="1000"/>
          </a:p>
        </p:txBody>
      </p:sp>
      <p:sp>
        <p:nvSpPr>
          <p:cNvPr id="28" name="object 28"/>
          <p:cNvSpPr txBox="1"/>
          <p:nvPr/>
        </p:nvSpPr>
        <p:spPr>
          <a:xfrm>
            <a:off x="4648200" y="6029326"/>
            <a:ext cx="268350" cy="179387"/>
          </a:xfrm>
          <a:prstGeom prst="rect">
            <a:avLst/>
          </a:prstGeom>
        </p:spPr>
        <p:txBody>
          <a:bodyPr wrap="square" lIns="0" tIns="0" rIns="0" bIns="0" rtlCol="0">
            <a:noAutofit/>
          </a:bodyPr>
          <a:lstStyle/>
          <a:p>
            <a:pPr marL="25400">
              <a:lnSpc>
                <a:spcPts val="1000"/>
              </a:lnSpc>
            </a:pPr>
            <a:endParaRPr sz="1000"/>
          </a:p>
        </p:txBody>
      </p:sp>
      <p:sp>
        <p:nvSpPr>
          <p:cNvPr id="27" name="object 27"/>
          <p:cNvSpPr txBox="1"/>
          <p:nvPr/>
        </p:nvSpPr>
        <p:spPr>
          <a:xfrm>
            <a:off x="9372600" y="5670551"/>
            <a:ext cx="304800" cy="300037"/>
          </a:xfrm>
          <a:prstGeom prst="rect">
            <a:avLst/>
          </a:prstGeom>
        </p:spPr>
        <p:txBody>
          <a:bodyPr wrap="square" lIns="0" tIns="0" rIns="0" bIns="0" rtlCol="0">
            <a:noAutofit/>
          </a:bodyPr>
          <a:lstStyle/>
          <a:p>
            <a:pPr marL="25400">
              <a:lnSpc>
                <a:spcPts val="1000"/>
              </a:lnSpc>
            </a:pPr>
            <a:endParaRPr sz="1000"/>
          </a:p>
        </p:txBody>
      </p:sp>
      <p:sp>
        <p:nvSpPr>
          <p:cNvPr id="26" name="object 26"/>
          <p:cNvSpPr txBox="1"/>
          <p:nvPr/>
        </p:nvSpPr>
        <p:spPr>
          <a:xfrm>
            <a:off x="9677400" y="5670551"/>
            <a:ext cx="344550" cy="300037"/>
          </a:xfrm>
          <a:prstGeom prst="rect">
            <a:avLst/>
          </a:prstGeom>
        </p:spPr>
        <p:txBody>
          <a:bodyPr wrap="square" lIns="0" tIns="0" rIns="0" bIns="0" rtlCol="0">
            <a:noAutofit/>
          </a:bodyPr>
          <a:lstStyle/>
          <a:p>
            <a:pPr marL="25400">
              <a:lnSpc>
                <a:spcPts val="1000"/>
              </a:lnSpc>
            </a:pPr>
            <a:endParaRPr sz="1000"/>
          </a:p>
        </p:txBody>
      </p:sp>
      <p:sp>
        <p:nvSpPr>
          <p:cNvPr id="25" name="object 25"/>
          <p:cNvSpPr txBox="1"/>
          <p:nvPr/>
        </p:nvSpPr>
        <p:spPr>
          <a:xfrm>
            <a:off x="2701926" y="5670551"/>
            <a:ext cx="422275" cy="358775"/>
          </a:xfrm>
          <a:prstGeom prst="rect">
            <a:avLst/>
          </a:prstGeom>
        </p:spPr>
        <p:txBody>
          <a:bodyPr wrap="square" lIns="0" tIns="0" rIns="0" bIns="0" rtlCol="0">
            <a:noAutofit/>
          </a:bodyPr>
          <a:lstStyle/>
          <a:p>
            <a:pPr marL="25400">
              <a:lnSpc>
                <a:spcPts val="1000"/>
              </a:lnSpc>
            </a:pPr>
            <a:endParaRPr sz="1000"/>
          </a:p>
        </p:txBody>
      </p:sp>
      <p:sp>
        <p:nvSpPr>
          <p:cNvPr id="24" name="object 24"/>
          <p:cNvSpPr txBox="1"/>
          <p:nvPr/>
        </p:nvSpPr>
        <p:spPr>
          <a:xfrm>
            <a:off x="3124200" y="5670551"/>
            <a:ext cx="311150" cy="358775"/>
          </a:xfrm>
          <a:prstGeom prst="rect">
            <a:avLst/>
          </a:prstGeom>
        </p:spPr>
        <p:txBody>
          <a:bodyPr wrap="square" lIns="0" tIns="0" rIns="0" bIns="0" rtlCol="0">
            <a:noAutofit/>
          </a:bodyPr>
          <a:lstStyle/>
          <a:p>
            <a:pPr marL="25400">
              <a:lnSpc>
                <a:spcPts val="1000"/>
              </a:lnSpc>
            </a:pPr>
            <a:endParaRPr sz="1000"/>
          </a:p>
        </p:txBody>
      </p:sp>
      <p:sp>
        <p:nvSpPr>
          <p:cNvPr id="23" name="object 23"/>
          <p:cNvSpPr txBox="1"/>
          <p:nvPr/>
        </p:nvSpPr>
        <p:spPr>
          <a:xfrm>
            <a:off x="2701926" y="6029326"/>
            <a:ext cx="422275" cy="179387"/>
          </a:xfrm>
          <a:prstGeom prst="rect">
            <a:avLst/>
          </a:prstGeom>
        </p:spPr>
        <p:txBody>
          <a:bodyPr wrap="square" lIns="0" tIns="0" rIns="0" bIns="0" rtlCol="0">
            <a:noAutofit/>
          </a:bodyPr>
          <a:lstStyle/>
          <a:p>
            <a:pPr marL="25400">
              <a:lnSpc>
                <a:spcPts val="1000"/>
              </a:lnSpc>
            </a:pPr>
            <a:endParaRPr sz="1000"/>
          </a:p>
        </p:txBody>
      </p:sp>
      <p:sp>
        <p:nvSpPr>
          <p:cNvPr id="22" name="object 22"/>
          <p:cNvSpPr txBox="1"/>
          <p:nvPr/>
        </p:nvSpPr>
        <p:spPr>
          <a:xfrm>
            <a:off x="3124200" y="6029326"/>
            <a:ext cx="311150" cy="179387"/>
          </a:xfrm>
          <a:prstGeom prst="rect">
            <a:avLst/>
          </a:prstGeom>
        </p:spPr>
        <p:txBody>
          <a:bodyPr wrap="square" lIns="0" tIns="0" rIns="0" bIns="0" rtlCol="0">
            <a:noAutofit/>
          </a:bodyPr>
          <a:lstStyle/>
          <a:p>
            <a:pPr marL="25400">
              <a:lnSpc>
                <a:spcPts val="1000"/>
              </a:lnSpc>
            </a:pPr>
            <a:endParaRPr sz="1000"/>
          </a:p>
        </p:txBody>
      </p:sp>
      <p:sp>
        <p:nvSpPr>
          <p:cNvPr id="21" name="object 21"/>
          <p:cNvSpPr txBox="1"/>
          <p:nvPr/>
        </p:nvSpPr>
        <p:spPr>
          <a:xfrm>
            <a:off x="5646801" y="5670551"/>
            <a:ext cx="325374" cy="300037"/>
          </a:xfrm>
          <a:prstGeom prst="rect">
            <a:avLst/>
          </a:prstGeom>
        </p:spPr>
        <p:txBody>
          <a:bodyPr wrap="square" lIns="0" tIns="0" rIns="0" bIns="0" rtlCol="0">
            <a:noAutofit/>
          </a:bodyPr>
          <a:lstStyle/>
          <a:p>
            <a:pPr marL="25400">
              <a:lnSpc>
                <a:spcPts val="1000"/>
              </a:lnSpc>
            </a:pPr>
            <a:endParaRPr sz="1000"/>
          </a:p>
        </p:txBody>
      </p:sp>
      <p:sp>
        <p:nvSpPr>
          <p:cNvPr id="20" name="object 20"/>
          <p:cNvSpPr txBox="1"/>
          <p:nvPr/>
        </p:nvSpPr>
        <p:spPr>
          <a:xfrm>
            <a:off x="5972175" y="5670551"/>
            <a:ext cx="325500" cy="300037"/>
          </a:xfrm>
          <a:prstGeom prst="rect">
            <a:avLst/>
          </a:prstGeom>
        </p:spPr>
        <p:txBody>
          <a:bodyPr wrap="square" lIns="0" tIns="0" rIns="0" bIns="0" rtlCol="0">
            <a:noAutofit/>
          </a:bodyPr>
          <a:lstStyle/>
          <a:p>
            <a:pPr marL="25400">
              <a:lnSpc>
                <a:spcPts val="1000"/>
              </a:lnSpc>
            </a:pPr>
            <a:endParaRPr sz="1000"/>
          </a:p>
        </p:txBody>
      </p:sp>
      <p:sp>
        <p:nvSpPr>
          <p:cNvPr id="19" name="object 19"/>
          <p:cNvSpPr txBox="1"/>
          <p:nvPr/>
        </p:nvSpPr>
        <p:spPr>
          <a:xfrm>
            <a:off x="7199376" y="5670551"/>
            <a:ext cx="344424" cy="300037"/>
          </a:xfrm>
          <a:prstGeom prst="rect">
            <a:avLst/>
          </a:prstGeom>
        </p:spPr>
        <p:txBody>
          <a:bodyPr wrap="square" lIns="0" tIns="0" rIns="0" bIns="0" rtlCol="0">
            <a:noAutofit/>
          </a:bodyPr>
          <a:lstStyle/>
          <a:p>
            <a:pPr marL="25400">
              <a:lnSpc>
                <a:spcPts val="1000"/>
              </a:lnSpc>
            </a:pPr>
            <a:endParaRPr sz="1000"/>
          </a:p>
        </p:txBody>
      </p:sp>
      <p:sp>
        <p:nvSpPr>
          <p:cNvPr id="18" name="object 18"/>
          <p:cNvSpPr txBox="1"/>
          <p:nvPr/>
        </p:nvSpPr>
        <p:spPr>
          <a:xfrm>
            <a:off x="7543800" y="5670551"/>
            <a:ext cx="304800" cy="300037"/>
          </a:xfrm>
          <a:prstGeom prst="rect">
            <a:avLst/>
          </a:prstGeom>
        </p:spPr>
        <p:txBody>
          <a:bodyPr wrap="square" lIns="0" tIns="0" rIns="0" bIns="0" rtlCol="0">
            <a:noAutofit/>
          </a:bodyPr>
          <a:lstStyle/>
          <a:p>
            <a:pPr marL="25400">
              <a:lnSpc>
                <a:spcPts val="1000"/>
              </a:lnSpc>
            </a:pPr>
            <a:endParaRPr sz="1000"/>
          </a:p>
        </p:txBody>
      </p:sp>
      <p:sp>
        <p:nvSpPr>
          <p:cNvPr id="17" name="object 17"/>
          <p:cNvSpPr txBox="1"/>
          <p:nvPr/>
        </p:nvSpPr>
        <p:spPr>
          <a:xfrm>
            <a:off x="9025002" y="5561012"/>
            <a:ext cx="1490599" cy="698500"/>
          </a:xfrm>
          <a:prstGeom prst="rect">
            <a:avLst/>
          </a:prstGeom>
        </p:spPr>
        <p:txBody>
          <a:bodyPr wrap="square" lIns="0" tIns="0" rIns="0" bIns="0" rtlCol="0">
            <a:noAutofit/>
          </a:bodyPr>
          <a:lstStyle/>
          <a:p>
            <a:pPr>
              <a:lnSpc>
                <a:spcPts val="1000"/>
              </a:lnSpc>
              <a:spcBef>
                <a:spcPts val="39"/>
              </a:spcBef>
            </a:pPr>
            <a:endParaRPr sz="1000"/>
          </a:p>
          <a:p>
            <a:pPr marL="705993">
              <a:lnSpc>
                <a:spcPct val="95825"/>
              </a:lnSpc>
            </a:pPr>
            <a:r>
              <a:rPr sz="1400" b="1" dirty="0">
                <a:latin typeface="Arial"/>
                <a:cs typeface="Arial"/>
              </a:rPr>
              <a:t>100.00</a:t>
            </a:r>
            <a:endParaRPr sz="1400">
              <a:latin typeface="Arial"/>
              <a:cs typeface="Arial"/>
            </a:endParaRPr>
          </a:p>
          <a:p>
            <a:pPr marL="248793">
              <a:lnSpc>
                <a:spcPts val="1510"/>
              </a:lnSpc>
              <a:spcBef>
                <a:spcPts val="1415"/>
              </a:spcBef>
            </a:pPr>
            <a:r>
              <a:rPr sz="2100" b="1" baseline="-4141" dirty="0">
                <a:latin typeface="Arial"/>
                <a:cs typeface="Arial"/>
              </a:rPr>
              <a:t>100.00</a:t>
            </a:r>
            <a:endParaRPr sz="1400">
              <a:latin typeface="Arial"/>
              <a:cs typeface="Arial"/>
            </a:endParaRPr>
          </a:p>
        </p:txBody>
      </p:sp>
      <p:sp>
        <p:nvSpPr>
          <p:cNvPr id="16" name="object 16"/>
          <p:cNvSpPr txBox="1"/>
          <p:nvPr/>
        </p:nvSpPr>
        <p:spPr>
          <a:xfrm>
            <a:off x="7010400" y="5561013"/>
            <a:ext cx="1219200" cy="763587"/>
          </a:xfrm>
          <a:prstGeom prst="rect">
            <a:avLst/>
          </a:prstGeom>
        </p:spPr>
        <p:txBody>
          <a:bodyPr wrap="square" lIns="0" tIns="0" rIns="0" bIns="0" rtlCol="0">
            <a:noAutofit/>
          </a:bodyPr>
          <a:lstStyle/>
          <a:p>
            <a:pPr>
              <a:lnSpc>
                <a:spcPts val="1000"/>
              </a:lnSpc>
              <a:spcBef>
                <a:spcPts val="39"/>
              </a:spcBef>
            </a:pPr>
            <a:endParaRPr sz="1000"/>
          </a:p>
          <a:p>
            <a:pPr marL="16763">
              <a:lnSpc>
                <a:spcPct val="95825"/>
              </a:lnSpc>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a:p>
            <a:pPr marL="685164">
              <a:lnSpc>
                <a:spcPct val="95825"/>
              </a:lnSpc>
              <a:spcBef>
                <a:spcPts val="1339"/>
              </a:spcBef>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p:txBody>
      </p:sp>
      <p:sp>
        <p:nvSpPr>
          <p:cNvPr id="15" name="object 15"/>
          <p:cNvSpPr txBox="1"/>
          <p:nvPr/>
        </p:nvSpPr>
        <p:spPr>
          <a:xfrm>
            <a:off x="5486400" y="5561013"/>
            <a:ext cx="1219200" cy="763587"/>
          </a:xfrm>
          <a:prstGeom prst="rect">
            <a:avLst/>
          </a:prstGeom>
        </p:spPr>
        <p:txBody>
          <a:bodyPr wrap="square" lIns="0" tIns="0" rIns="0" bIns="0" rtlCol="0">
            <a:noAutofit/>
          </a:bodyPr>
          <a:lstStyle/>
          <a:p>
            <a:pPr>
              <a:lnSpc>
                <a:spcPts val="1000"/>
              </a:lnSpc>
              <a:spcBef>
                <a:spcPts val="39"/>
              </a:spcBef>
            </a:pPr>
            <a:endParaRPr sz="1000"/>
          </a:p>
          <a:p>
            <a:pPr marL="580009">
              <a:lnSpc>
                <a:spcPct val="95825"/>
              </a:lnSpc>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a:p>
            <a:pPr marL="168910">
              <a:lnSpc>
                <a:spcPct val="95825"/>
              </a:lnSpc>
              <a:spcBef>
                <a:spcPts val="1339"/>
              </a:spcBef>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p:txBody>
      </p:sp>
      <p:sp>
        <p:nvSpPr>
          <p:cNvPr id="14" name="object 14"/>
          <p:cNvSpPr txBox="1"/>
          <p:nvPr/>
        </p:nvSpPr>
        <p:spPr>
          <a:xfrm>
            <a:off x="4016375" y="5561013"/>
            <a:ext cx="1219200" cy="763587"/>
          </a:xfrm>
          <a:prstGeom prst="rect">
            <a:avLst/>
          </a:prstGeom>
        </p:spPr>
        <p:txBody>
          <a:bodyPr wrap="square" lIns="0" tIns="0" rIns="0" bIns="0" rtlCol="0">
            <a:noAutofit/>
          </a:bodyPr>
          <a:lstStyle/>
          <a:p>
            <a:pPr>
              <a:lnSpc>
                <a:spcPts val="1000"/>
              </a:lnSpc>
              <a:spcBef>
                <a:spcPts val="39"/>
              </a:spcBef>
            </a:pPr>
            <a:endParaRPr sz="1000"/>
          </a:p>
          <a:p>
            <a:pPr marL="97155">
              <a:lnSpc>
                <a:spcPct val="95825"/>
              </a:lnSpc>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a:p>
            <a:pPr marL="724535">
              <a:lnSpc>
                <a:spcPct val="95825"/>
              </a:lnSpc>
              <a:spcBef>
                <a:spcPts val="1339"/>
              </a:spcBef>
            </a:pPr>
            <a:r>
              <a:rPr sz="1400" b="1" dirty="0">
                <a:latin typeface="Arial"/>
                <a:cs typeface="Arial"/>
              </a:rPr>
              <a:t>15</a:t>
            </a:r>
            <a:r>
              <a:rPr sz="1400" b="1" spc="4" dirty="0">
                <a:latin typeface="Arial"/>
                <a:cs typeface="Arial"/>
              </a:rPr>
              <a:t>.</a:t>
            </a:r>
            <a:r>
              <a:rPr sz="1400" b="1" dirty="0">
                <a:latin typeface="Arial"/>
                <a:cs typeface="Arial"/>
              </a:rPr>
              <a:t>00</a:t>
            </a:r>
            <a:endParaRPr sz="1400">
              <a:latin typeface="Arial"/>
              <a:cs typeface="Arial"/>
            </a:endParaRPr>
          </a:p>
        </p:txBody>
      </p:sp>
      <p:sp>
        <p:nvSpPr>
          <p:cNvPr id="13" name="object 13"/>
          <p:cNvSpPr txBox="1"/>
          <p:nvPr/>
        </p:nvSpPr>
        <p:spPr>
          <a:xfrm>
            <a:off x="2292350" y="5561012"/>
            <a:ext cx="1492250" cy="698500"/>
          </a:xfrm>
          <a:prstGeom prst="rect">
            <a:avLst/>
          </a:prstGeom>
        </p:spPr>
        <p:txBody>
          <a:bodyPr wrap="square" lIns="0" tIns="0" rIns="0" bIns="0" rtlCol="0">
            <a:noAutofit/>
          </a:bodyPr>
          <a:lstStyle/>
          <a:p>
            <a:pPr>
              <a:lnSpc>
                <a:spcPts val="1000"/>
              </a:lnSpc>
              <a:spcBef>
                <a:spcPts val="39"/>
              </a:spcBef>
            </a:pPr>
            <a:endParaRPr sz="1000" dirty="0"/>
          </a:p>
          <a:p>
            <a:pPr marL="198475">
              <a:lnSpc>
                <a:spcPct val="95825"/>
              </a:lnSpc>
            </a:pPr>
            <a:r>
              <a:rPr sz="1400" b="1" dirty="0">
                <a:latin typeface="Arial"/>
                <a:cs typeface="Arial"/>
              </a:rPr>
              <a:t>100.00</a:t>
            </a:r>
            <a:endParaRPr sz="1400" dirty="0">
              <a:latin typeface="Arial"/>
              <a:cs typeface="Arial"/>
            </a:endParaRPr>
          </a:p>
          <a:p>
            <a:pPr marL="895604">
              <a:lnSpc>
                <a:spcPts val="1510"/>
              </a:lnSpc>
              <a:spcBef>
                <a:spcPts val="1415"/>
              </a:spcBef>
            </a:pPr>
            <a:r>
              <a:rPr sz="2100" b="1" baseline="-4141" dirty="0">
                <a:latin typeface="Arial"/>
                <a:cs typeface="Arial"/>
              </a:rPr>
              <a:t>100.00</a:t>
            </a:r>
            <a:endParaRPr sz="1400" dirty="0">
              <a:latin typeface="Arial"/>
              <a:cs typeface="Arial"/>
            </a:endParaRPr>
          </a:p>
        </p:txBody>
      </p:sp>
      <p:sp>
        <p:nvSpPr>
          <p:cNvPr id="12" name="object 12"/>
          <p:cNvSpPr txBox="1"/>
          <p:nvPr/>
        </p:nvSpPr>
        <p:spPr>
          <a:xfrm>
            <a:off x="9494956" y="4486279"/>
            <a:ext cx="1028355" cy="657345"/>
          </a:xfrm>
          <a:prstGeom prst="rect">
            <a:avLst/>
          </a:prstGeom>
        </p:spPr>
        <p:txBody>
          <a:bodyPr wrap="square" lIns="0" tIns="0" rIns="0" bIns="0" rtlCol="0">
            <a:noAutofit/>
          </a:bodyPr>
          <a:lstStyle/>
          <a:p>
            <a:pPr>
              <a:lnSpc>
                <a:spcPts val="1200"/>
              </a:lnSpc>
              <a:spcBef>
                <a:spcPts val="74"/>
              </a:spcBef>
            </a:pPr>
            <a:endParaRPr sz="1200"/>
          </a:p>
          <a:p>
            <a:pPr marL="29790">
              <a:lnSpc>
                <a:spcPct val="95825"/>
              </a:lnSpc>
            </a:pPr>
            <a:r>
              <a:rPr sz="1400" b="1" spc="-4" dirty="0">
                <a:latin typeface="Arial"/>
                <a:cs typeface="Arial"/>
              </a:rPr>
              <a:t>C</a:t>
            </a:r>
            <a:r>
              <a:rPr sz="1400" b="1" dirty="0">
                <a:latin typeface="Arial"/>
                <a:cs typeface="Arial"/>
              </a:rPr>
              <a:t>a</a:t>
            </a:r>
            <a:r>
              <a:rPr sz="1400" b="1" spc="-4" dirty="0">
                <a:latin typeface="Arial"/>
                <a:cs typeface="Arial"/>
              </a:rPr>
              <a:t>n</a:t>
            </a:r>
            <a:r>
              <a:rPr sz="1400" b="1" dirty="0">
                <a:latin typeface="Arial"/>
                <a:cs typeface="Arial"/>
              </a:rPr>
              <a:t>ce</a:t>
            </a:r>
            <a:r>
              <a:rPr sz="1400" b="1" spc="4" dirty="0">
                <a:latin typeface="Arial"/>
                <a:cs typeface="Arial"/>
              </a:rPr>
              <a:t>ll</a:t>
            </a:r>
            <a:r>
              <a:rPr sz="1400" b="1" dirty="0">
                <a:latin typeface="Arial"/>
                <a:cs typeface="Arial"/>
              </a:rPr>
              <a:t>at</a:t>
            </a:r>
            <a:r>
              <a:rPr sz="1400" b="1" spc="-4" dirty="0">
                <a:latin typeface="Arial"/>
                <a:cs typeface="Arial"/>
              </a:rPr>
              <a:t>i</a:t>
            </a:r>
            <a:r>
              <a:rPr sz="1400" b="1" dirty="0">
                <a:latin typeface="Arial"/>
                <a:cs typeface="Arial"/>
              </a:rPr>
              <a:t>o</a:t>
            </a:r>
            <a:endParaRPr sz="1400">
              <a:latin typeface="Arial"/>
              <a:cs typeface="Arial"/>
            </a:endParaRPr>
          </a:p>
          <a:p>
            <a:pPr marL="29790">
              <a:lnSpc>
                <a:spcPct val="95825"/>
              </a:lnSpc>
              <a:spcBef>
                <a:spcPts val="70"/>
              </a:spcBef>
            </a:pPr>
            <a:r>
              <a:rPr sz="1400" b="1" spc="-4" dirty="0">
                <a:latin typeface="Arial"/>
                <a:cs typeface="Arial"/>
              </a:rPr>
              <a:t>Do</a:t>
            </a:r>
            <a:r>
              <a:rPr sz="1400" b="1" dirty="0">
                <a:latin typeface="Arial"/>
                <a:cs typeface="Arial"/>
              </a:rPr>
              <a:t>c</a:t>
            </a:r>
            <a:r>
              <a:rPr sz="1400" b="1" spc="-4" dirty="0">
                <a:latin typeface="Arial"/>
                <a:cs typeface="Arial"/>
              </a:rPr>
              <a:t>u</a:t>
            </a:r>
            <a:r>
              <a:rPr sz="1400" b="1" dirty="0">
                <a:latin typeface="Arial"/>
                <a:cs typeface="Arial"/>
              </a:rPr>
              <a:t>me</a:t>
            </a:r>
            <a:r>
              <a:rPr sz="1400" b="1" spc="-4" dirty="0">
                <a:latin typeface="Arial"/>
                <a:cs typeface="Arial"/>
              </a:rPr>
              <a:t>n</a:t>
            </a:r>
            <a:r>
              <a:rPr sz="1400" b="1" dirty="0">
                <a:latin typeface="Arial"/>
                <a:cs typeface="Arial"/>
              </a:rPr>
              <a:t>t</a:t>
            </a:r>
            <a:endParaRPr sz="1400">
              <a:latin typeface="Arial"/>
              <a:cs typeface="Arial"/>
            </a:endParaRPr>
          </a:p>
        </p:txBody>
      </p:sp>
      <p:sp>
        <p:nvSpPr>
          <p:cNvPr id="11" name="object 11"/>
          <p:cNvSpPr txBox="1"/>
          <p:nvPr/>
        </p:nvSpPr>
        <p:spPr>
          <a:xfrm>
            <a:off x="8375832" y="4509710"/>
            <a:ext cx="1028355" cy="634300"/>
          </a:xfrm>
          <a:prstGeom prst="rect">
            <a:avLst/>
          </a:prstGeom>
        </p:spPr>
        <p:txBody>
          <a:bodyPr wrap="square" lIns="0" tIns="0" rIns="0" bIns="0" rtlCol="0">
            <a:noAutofit/>
          </a:bodyPr>
          <a:lstStyle/>
          <a:p>
            <a:pPr marL="153996">
              <a:lnSpc>
                <a:spcPts val="4995"/>
              </a:lnSpc>
              <a:spcBef>
                <a:spcPts val="249"/>
              </a:spcBef>
            </a:pPr>
            <a:r>
              <a:rPr sz="2400" b="1" baseline="30799" dirty="0">
                <a:latin typeface="Arial"/>
                <a:cs typeface="Arial"/>
              </a:rPr>
              <a:t>I</a:t>
            </a:r>
            <a:r>
              <a:rPr sz="2400" b="1" spc="-714" baseline="30799" dirty="0">
                <a:latin typeface="Arial"/>
                <a:cs typeface="Arial"/>
              </a:rPr>
              <a:t>n</a:t>
            </a:r>
            <a:r>
              <a:rPr sz="9000" spc="-3294" baseline="-14977" dirty="0">
                <a:latin typeface="Arial"/>
                <a:cs typeface="Arial"/>
              </a:rPr>
              <a:t>X</a:t>
            </a:r>
            <a:r>
              <a:rPr sz="2400" b="1" spc="-34" baseline="30799" dirty="0">
                <a:latin typeface="Arial"/>
                <a:cs typeface="Arial"/>
              </a:rPr>
              <a:t>v</a:t>
            </a:r>
            <a:r>
              <a:rPr sz="2400" b="1" baseline="30799" dirty="0">
                <a:latin typeface="Arial"/>
                <a:cs typeface="Arial"/>
              </a:rPr>
              <a:t>o</a:t>
            </a:r>
            <a:r>
              <a:rPr sz="2400" b="1" spc="-4" baseline="30799" dirty="0">
                <a:latin typeface="Arial"/>
                <a:cs typeface="Arial"/>
              </a:rPr>
              <a:t>i</a:t>
            </a:r>
            <a:r>
              <a:rPr sz="2400" b="1" baseline="30799" dirty="0">
                <a:latin typeface="Arial"/>
                <a:cs typeface="Arial"/>
              </a:rPr>
              <a:t>ce</a:t>
            </a:r>
            <a:endParaRPr sz="1600" dirty="0">
              <a:latin typeface="Arial"/>
              <a:cs typeface="Arial"/>
            </a:endParaRPr>
          </a:p>
        </p:txBody>
      </p:sp>
      <p:sp>
        <p:nvSpPr>
          <p:cNvPr id="10" name="object 10"/>
          <p:cNvSpPr txBox="1"/>
          <p:nvPr/>
        </p:nvSpPr>
        <p:spPr>
          <a:xfrm>
            <a:off x="7043983" y="4509710"/>
            <a:ext cx="1028355" cy="634300"/>
          </a:xfrm>
          <a:prstGeom prst="rect">
            <a:avLst/>
          </a:prstGeom>
        </p:spPr>
        <p:txBody>
          <a:bodyPr wrap="square" lIns="0" tIns="0" rIns="0" bIns="0" rtlCol="0">
            <a:noAutofit/>
          </a:bodyPr>
          <a:lstStyle/>
          <a:p>
            <a:pPr>
              <a:lnSpc>
                <a:spcPts val="1200"/>
              </a:lnSpc>
              <a:spcBef>
                <a:spcPts val="15"/>
              </a:spcBef>
            </a:pPr>
            <a:endParaRPr sz="1200"/>
          </a:p>
          <a:p>
            <a:pPr marL="295347">
              <a:lnSpc>
                <a:spcPct val="95825"/>
              </a:lnSpc>
            </a:pPr>
            <a:r>
              <a:rPr sz="1400" b="1" spc="-4" dirty="0">
                <a:latin typeface="Arial"/>
                <a:cs typeface="Arial"/>
              </a:rPr>
              <a:t>D</a:t>
            </a:r>
            <a:r>
              <a:rPr sz="1400" b="1" dirty="0">
                <a:latin typeface="Arial"/>
                <a:cs typeface="Arial"/>
              </a:rPr>
              <a:t>e</a:t>
            </a:r>
            <a:r>
              <a:rPr sz="1400" b="1" spc="-4" dirty="0">
                <a:latin typeface="Arial"/>
                <a:cs typeface="Arial"/>
              </a:rPr>
              <a:t>b</a:t>
            </a:r>
            <a:r>
              <a:rPr sz="1400" b="1" spc="4" dirty="0">
                <a:latin typeface="Arial"/>
                <a:cs typeface="Arial"/>
              </a:rPr>
              <a:t>i</a:t>
            </a:r>
            <a:r>
              <a:rPr sz="1400" b="1" dirty="0">
                <a:latin typeface="Arial"/>
                <a:cs typeface="Arial"/>
              </a:rPr>
              <a:t>t</a:t>
            </a:r>
            <a:endParaRPr sz="1400">
              <a:latin typeface="Arial"/>
              <a:cs typeface="Arial"/>
            </a:endParaRPr>
          </a:p>
          <a:p>
            <a:pPr marL="283155">
              <a:lnSpc>
                <a:spcPct val="95825"/>
              </a:lnSpc>
              <a:spcBef>
                <a:spcPts val="70"/>
              </a:spcBef>
            </a:pPr>
            <a:r>
              <a:rPr sz="1400" b="1" spc="14" dirty="0">
                <a:latin typeface="Arial"/>
                <a:cs typeface="Arial"/>
              </a:rPr>
              <a:t>M</a:t>
            </a:r>
            <a:r>
              <a:rPr sz="1400" b="1" dirty="0">
                <a:latin typeface="Arial"/>
                <a:cs typeface="Arial"/>
              </a:rPr>
              <a:t>emo</a:t>
            </a:r>
            <a:endParaRPr sz="1400">
              <a:latin typeface="Arial"/>
              <a:cs typeface="Arial"/>
            </a:endParaRPr>
          </a:p>
        </p:txBody>
      </p:sp>
      <p:sp>
        <p:nvSpPr>
          <p:cNvPr id="9" name="object 9"/>
          <p:cNvSpPr txBox="1"/>
          <p:nvPr/>
        </p:nvSpPr>
        <p:spPr>
          <a:xfrm>
            <a:off x="5485058" y="4509710"/>
            <a:ext cx="1028355" cy="634300"/>
          </a:xfrm>
          <a:prstGeom prst="rect">
            <a:avLst/>
          </a:prstGeom>
        </p:spPr>
        <p:txBody>
          <a:bodyPr wrap="square" lIns="0" tIns="0" rIns="0" bIns="0" rtlCol="0">
            <a:noAutofit/>
          </a:bodyPr>
          <a:lstStyle/>
          <a:p>
            <a:pPr>
              <a:lnSpc>
                <a:spcPts val="1200"/>
              </a:lnSpc>
              <a:spcBef>
                <a:spcPts val="3"/>
              </a:spcBef>
            </a:pPr>
            <a:endParaRPr sz="1200"/>
          </a:p>
          <a:p>
            <a:pPr marL="163775">
              <a:lnSpc>
                <a:spcPct val="95825"/>
              </a:lnSpc>
            </a:pPr>
            <a:r>
              <a:rPr sz="1400" b="1" spc="-4" dirty="0">
                <a:latin typeface="Arial"/>
                <a:cs typeface="Arial"/>
              </a:rPr>
              <a:t>C</a:t>
            </a:r>
            <a:r>
              <a:rPr sz="1400" b="1" spc="4" dirty="0">
                <a:latin typeface="Arial"/>
                <a:cs typeface="Arial"/>
              </a:rPr>
              <a:t>r</a:t>
            </a:r>
            <a:r>
              <a:rPr sz="1400" b="1" dirty="0">
                <a:latin typeface="Arial"/>
                <a:cs typeface="Arial"/>
              </a:rPr>
              <a:t>e</a:t>
            </a:r>
            <a:r>
              <a:rPr sz="1400" b="1" spc="-4" dirty="0">
                <a:latin typeface="Arial"/>
                <a:cs typeface="Arial"/>
              </a:rPr>
              <a:t>d</a:t>
            </a:r>
            <a:r>
              <a:rPr sz="1400" b="1" spc="4" dirty="0">
                <a:latin typeface="Arial"/>
                <a:cs typeface="Arial"/>
              </a:rPr>
              <a:t>i</a:t>
            </a:r>
            <a:r>
              <a:rPr sz="1400" b="1" dirty="0">
                <a:latin typeface="Arial"/>
                <a:cs typeface="Arial"/>
              </a:rPr>
              <a:t>t</a:t>
            </a:r>
            <a:endParaRPr sz="1400">
              <a:latin typeface="Arial"/>
              <a:cs typeface="Arial"/>
            </a:endParaRPr>
          </a:p>
          <a:p>
            <a:pPr marL="186635">
              <a:lnSpc>
                <a:spcPct val="95825"/>
              </a:lnSpc>
              <a:spcBef>
                <a:spcPts val="70"/>
              </a:spcBef>
            </a:pPr>
            <a:r>
              <a:rPr sz="1400" b="1" spc="14" dirty="0">
                <a:latin typeface="Arial"/>
                <a:cs typeface="Arial"/>
              </a:rPr>
              <a:t>M</a:t>
            </a:r>
            <a:r>
              <a:rPr sz="1400" b="1" dirty="0">
                <a:latin typeface="Arial"/>
                <a:cs typeface="Arial"/>
              </a:rPr>
              <a:t>emo</a:t>
            </a:r>
            <a:endParaRPr sz="1400">
              <a:latin typeface="Arial"/>
              <a:cs typeface="Arial"/>
            </a:endParaRPr>
          </a:p>
        </p:txBody>
      </p:sp>
      <p:sp>
        <p:nvSpPr>
          <p:cNvPr id="8" name="object 8"/>
          <p:cNvSpPr txBox="1"/>
          <p:nvPr/>
        </p:nvSpPr>
        <p:spPr>
          <a:xfrm>
            <a:off x="4015033" y="4509710"/>
            <a:ext cx="1028355" cy="634300"/>
          </a:xfrm>
          <a:prstGeom prst="rect">
            <a:avLst/>
          </a:prstGeom>
        </p:spPr>
        <p:txBody>
          <a:bodyPr wrap="square" lIns="0" tIns="0" rIns="0" bIns="0" rtlCol="0">
            <a:noAutofit/>
          </a:bodyPr>
          <a:lstStyle/>
          <a:p>
            <a:pPr>
              <a:lnSpc>
                <a:spcPts val="1000"/>
              </a:lnSpc>
            </a:pPr>
            <a:endParaRPr sz="1000"/>
          </a:p>
          <a:p>
            <a:pPr marL="195144">
              <a:lnSpc>
                <a:spcPct val="95825"/>
              </a:lnSpc>
              <a:spcBef>
                <a:spcPts val="1119"/>
              </a:spcBef>
            </a:pPr>
            <a:r>
              <a:rPr sz="1600" b="1" dirty="0">
                <a:latin typeface="Arial"/>
                <a:cs typeface="Arial"/>
              </a:rPr>
              <a:t>In</a:t>
            </a:r>
            <a:r>
              <a:rPr sz="1600" b="1" spc="-39" dirty="0">
                <a:latin typeface="Arial"/>
                <a:cs typeface="Arial"/>
              </a:rPr>
              <a:t>v</a:t>
            </a:r>
            <a:r>
              <a:rPr sz="1600" b="1" dirty="0">
                <a:latin typeface="Arial"/>
                <a:cs typeface="Arial"/>
              </a:rPr>
              <a:t>oice</a:t>
            </a:r>
            <a:endParaRPr sz="1600">
              <a:latin typeface="Arial"/>
              <a:cs typeface="Arial"/>
            </a:endParaRPr>
          </a:p>
        </p:txBody>
      </p:sp>
      <p:sp>
        <p:nvSpPr>
          <p:cNvPr id="7" name="object 7"/>
          <p:cNvSpPr txBox="1"/>
          <p:nvPr/>
        </p:nvSpPr>
        <p:spPr>
          <a:xfrm>
            <a:off x="2475094" y="4509710"/>
            <a:ext cx="1028355" cy="634300"/>
          </a:xfrm>
          <a:prstGeom prst="rect">
            <a:avLst/>
          </a:prstGeom>
        </p:spPr>
        <p:txBody>
          <a:bodyPr wrap="square" lIns="0" tIns="0" rIns="0" bIns="0" rtlCol="0">
            <a:noAutofit/>
          </a:bodyPr>
          <a:lstStyle/>
          <a:p>
            <a:pPr>
              <a:lnSpc>
                <a:spcPts val="1000"/>
              </a:lnSpc>
            </a:pPr>
            <a:endParaRPr sz="1000"/>
          </a:p>
          <a:p>
            <a:pPr marL="189468">
              <a:lnSpc>
                <a:spcPct val="95825"/>
              </a:lnSpc>
              <a:spcBef>
                <a:spcPts val="1020"/>
              </a:spcBef>
            </a:pPr>
            <a:r>
              <a:rPr sz="1600" b="1" dirty="0">
                <a:latin typeface="Arial"/>
                <a:cs typeface="Arial"/>
              </a:rPr>
              <a:t>I</a:t>
            </a:r>
            <a:r>
              <a:rPr sz="1600" b="1" spc="-4" dirty="0">
                <a:latin typeface="Arial"/>
                <a:cs typeface="Arial"/>
              </a:rPr>
              <a:t>n</a:t>
            </a:r>
            <a:r>
              <a:rPr sz="1600" b="1" spc="-34" dirty="0">
                <a:latin typeface="Arial"/>
                <a:cs typeface="Arial"/>
              </a:rPr>
              <a:t>v</a:t>
            </a:r>
            <a:r>
              <a:rPr sz="1600" b="1" dirty="0">
                <a:latin typeface="Arial"/>
                <a:cs typeface="Arial"/>
              </a:rPr>
              <a:t>o</a:t>
            </a:r>
            <a:r>
              <a:rPr sz="1600" b="1" spc="-4" dirty="0">
                <a:latin typeface="Arial"/>
                <a:cs typeface="Arial"/>
              </a:rPr>
              <a:t>i</a:t>
            </a:r>
            <a:r>
              <a:rPr sz="1600" b="1" dirty="0">
                <a:latin typeface="Arial"/>
                <a:cs typeface="Arial"/>
              </a:rPr>
              <a:t>ce</a:t>
            </a:r>
            <a:endParaRPr sz="1600">
              <a:latin typeface="Arial"/>
              <a:cs typeface="Arial"/>
            </a:endParaRPr>
          </a:p>
        </p:txBody>
      </p:sp>
      <p:sp>
        <p:nvSpPr>
          <p:cNvPr id="6" name="object 6"/>
          <p:cNvSpPr txBox="1"/>
          <p:nvPr/>
        </p:nvSpPr>
        <p:spPr>
          <a:xfrm>
            <a:off x="2475094" y="3553940"/>
            <a:ext cx="1028355" cy="632770"/>
          </a:xfrm>
          <a:prstGeom prst="rect">
            <a:avLst/>
          </a:prstGeom>
        </p:spPr>
        <p:txBody>
          <a:bodyPr wrap="square" lIns="0" tIns="0" rIns="0" bIns="0" rtlCol="0">
            <a:noAutofit/>
          </a:bodyPr>
          <a:lstStyle/>
          <a:p>
            <a:pPr>
              <a:lnSpc>
                <a:spcPts val="1000"/>
              </a:lnSpc>
            </a:pPr>
            <a:endParaRPr sz="1000"/>
          </a:p>
          <a:p>
            <a:pPr marL="144357">
              <a:lnSpc>
                <a:spcPct val="95825"/>
              </a:lnSpc>
              <a:spcBef>
                <a:spcPts val="1005"/>
              </a:spcBef>
            </a:pPr>
            <a:r>
              <a:rPr sz="1600" b="1" dirty="0">
                <a:latin typeface="Arial"/>
                <a:cs typeface="Arial"/>
              </a:rPr>
              <a:t>Deli</a:t>
            </a:r>
            <a:r>
              <a:rPr sz="1600" b="1" spc="-34" dirty="0">
                <a:latin typeface="Arial"/>
                <a:cs typeface="Arial"/>
              </a:rPr>
              <a:t>v</a:t>
            </a:r>
            <a:r>
              <a:rPr sz="1600" b="1" dirty="0">
                <a:latin typeface="Arial"/>
                <a:cs typeface="Arial"/>
              </a:rPr>
              <a:t>e</a:t>
            </a:r>
            <a:r>
              <a:rPr sz="1600" b="1" spc="14" dirty="0">
                <a:latin typeface="Arial"/>
                <a:cs typeface="Arial"/>
              </a:rPr>
              <a:t>r</a:t>
            </a:r>
            <a:r>
              <a:rPr sz="1600" b="1" dirty="0">
                <a:latin typeface="Arial"/>
                <a:cs typeface="Arial"/>
              </a:rPr>
              <a:t>y</a:t>
            </a:r>
            <a:endParaRPr sz="1600">
              <a:latin typeface="Arial"/>
              <a:cs typeface="Arial"/>
            </a:endParaRPr>
          </a:p>
        </p:txBody>
      </p:sp>
      <p:sp>
        <p:nvSpPr>
          <p:cNvPr id="5" name="object 5"/>
          <p:cNvSpPr txBox="1"/>
          <p:nvPr/>
        </p:nvSpPr>
        <p:spPr>
          <a:xfrm>
            <a:off x="7044747" y="2596709"/>
            <a:ext cx="1099541" cy="634300"/>
          </a:xfrm>
          <a:prstGeom prst="rect">
            <a:avLst/>
          </a:prstGeom>
        </p:spPr>
        <p:txBody>
          <a:bodyPr wrap="square" lIns="0" tIns="0" rIns="0" bIns="0" rtlCol="0">
            <a:noAutofit/>
          </a:bodyPr>
          <a:lstStyle/>
          <a:p>
            <a:pPr>
              <a:lnSpc>
                <a:spcPts val="1400"/>
              </a:lnSpc>
              <a:spcBef>
                <a:spcPts val="50"/>
              </a:spcBef>
            </a:pPr>
            <a:endParaRPr sz="1400"/>
          </a:p>
          <a:p>
            <a:pPr marL="37281">
              <a:lnSpc>
                <a:spcPct val="95825"/>
              </a:lnSpc>
            </a:pPr>
            <a:r>
              <a:rPr sz="1400" b="1" spc="-4" dirty="0">
                <a:latin typeface="Arial"/>
                <a:cs typeface="Arial"/>
              </a:rPr>
              <a:t>D</a:t>
            </a:r>
            <a:r>
              <a:rPr sz="1400" b="1" dirty="0">
                <a:latin typeface="Arial"/>
                <a:cs typeface="Arial"/>
              </a:rPr>
              <a:t>e</a:t>
            </a:r>
            <a:r>
              <a:rPr sz="1400" b="1" spc="-4" dirty="0">
                <a:latin typeface="Arial"/>
                <a:cs typeface="Arial"/>
              </a:rPr>
              <a:t>b</a:t>
            </a:r>
            <a:r>
              <a:rPr sz="1400" b="1" spc="4" dirty="0">
                <a:latin typeface="Arial"/>
                <a:cs typeface="Arial"/>
              </a:rPr>
              <a:t>i</a:t>
            </a:r>
            <a:r>
              <a:rPr sz="1400" b="1" dirty="0">
                <a:latin typeface="Arial"/>
                <a:cs typeface="Arial"/>
              </a:rPr>
              <a:t>t</a:t>
            </a:r>
            <a:r>
              <a:rPr sz="1400" b="1" spc="-25" dirty="0">
                <a:latin typeface="Arial"/>
                <a:cs typeface="Arial"/>
              </a:rPr>
              <a:t> </a:t>
            </a:r>
            <a:r>
              <a:rPr sz="1400" b="1" spc="14" dirty="0">
                <a:latin typeface="Arial"/>
                <a:cs typeface="Arial"/>
              </a:rPr>
              <a:t>M</a:t>
            </a:r>
            <a:r>
              <a:rPr sz="1400" b="1" dirty="0">
                <a:latin typeface="Arial"/>
                <a:cs typeface="Arial"/>
              </a:rPr>
              <a:t>emo</a:t>
            </a:r>
            <a:endParaRPr sz="1400">
              <a:latin typeface="Arial"/>
              <a:cs typeface="Arial"/>
            </a:endParaRPr>
          </a:p>
        </p:txBody>
      </p:sp>
      <p:sp>
        <p:nvSpPr>
          <p:cNvPr id="4" name="object 4"/>
          <p:cNvSpPr txBox="1"/>
          <p:nvPr/>
        </p:nvSpPr>
        <p:spPr>
          <a:xfrm>
            <a:off x="5486327" y="2596709"/>
            <a:ext cx="1139861" cy="634300"/>
          </a:xfrm>
          <a:prstGeom prst="rect">
            <a:avLst/>
          </a:prstGeom>
        </p:spPr>
        <p:txBody>
          <a:bodyPr wrap="square" lIns="0" tIns="0" rIns="0" bIns="0" rtlCol="0">
            <a:noAutofit/>
          </a:bodyPr>
          <a:lstStyle/>
          <a:p>
            <a:pPr>
              <a:lnSpc>
                <a:spcPts val="650"/>
              </a:lnSpc>
              <a:spcBef>
                <a:spcPts val="26"/>
              </a:spcBef>
            </a:pPr>
            <a:endParaRPr sz="650"/>
          </a:p>
          <a:p>
            <a:pPr marR="47776" algn="ctr">
              <a:lnSpc>
                <a:spcPct val="95825"/>
              </a:lnSpc>
              <a:spcBef>
                <a:spcPts val="1000"/>
              </a:spcBef>
            </a:pPr>
            <a:r>
              <a:rPr sz="1400" b="1" spc="-4" dirty="0">
                <a:latin typeface="Arial"/>
                <a:cs typeface="Arial"/>
              </a:rPr>
              <a:t>C</a:t>
            </a:r>
            <a:r>
              <a:rPr sz="1400" b="1" spc="4" dirty="0">
                <a:latin typeface="Arial"/>
                <a:cs typeface="Arial"/>
              </a:rPr>
              <a:t>r</a:t>
            </a:r>
            <a:r>
              <a:rPr sz="1400" b="1" dirty="0">
                <a:latin typeface="Arial"/>
                <a:cs typeface="Arial"/>
              </a:rPr>
              <a:t>e</a:t>
            </a:r>
            <a:r>
              <a:rPr sz="1400" b="1" spc="-4" dirty="0">
                <a:latin typeface="Arial"/>
                <a:cs typeface="Arial"/>
              </a:rPr>
              <a:t>d</a:t>
            </a:r>
            <a:r>
              <a:rPr sz="1400" b="1" spc="4" dirty="0">
                <a:latin typeface="Arial"/>
                <a:cs typeface="Arial"/>
              </a:rPr>
              <a:t>i</a:t>
            </a:r>
            <a:r>
              <a:rPr sz="1400" b="1" dirty="0">
                <a:latin typeface="Arial"/>
                <a:cs typeface="Arial"/>
              </a:rPr>
              <a:t>t</a:t>
            </a:r>
            <a:r>
              <a:rPr sz="1400" b="1" spc="-25" dirty="0">
                <a:latin typeface="Arial"/>
                <a:cs typeface="Arial"/>
              </a:rPr>
              <a:t> </a:t>
            </a:r>
            <a:r>
              <a:rPr sz="1400" b="1" spc="14" dirty="0">
                <a:latin typeface="Arial"/>
                <a:cs typeface="Arial"/>
              </a:rPr>
              <a:t>M</a:t>
            </a:r>
            <a:r>
              <a:rPr sz="1400" b="1" dirty="0">
                <a:latin typeface="Arial"/>
                <a:cs typeface="Arial"/>
              </a:rPr>
              <a:t>emo</a:t>
            </a:r>
            <a:endParaRPr sz="1400">
              <a:latin typeface="Arial"/>
              <a:cs typeface="Arial"/>
            </a:endParaRPr>
          </a:p>
          <a:p>
            <a:pPr marL="147736" marR="238872" algn="ctr">
              <a:lnSpc>
                <a:spcPct val="95825"/>
              </a:lnSpc>
              <a:spcBef>
                <a:spcPts val="70"/>
              </a:spcBef>
            </a:pPr>
            <a:r>
              <a:rPr sz="1400" b="1" spc="-4" dirty="0">
                <a:latin typeface="Arial"/>
                <a:cs typeface="Arial"/>
              </a:rPr>
              <a:t>R</a:t>
            </a:r>
            <a:r>
              <a:rPr sz="1400" b="1" dirty="0">
                <a:latin typeface="Arial"/>
                <a:cs typeface="Arial"/>
              </a:rPr>
              <a:t>e</a:t>
            </a:r>
            <a:r>
              <a:rPr sz="1400" b="1" spc="-4" dirty="0">
                <a:latin typeface="Arial"/>
                <a:cs typeface="Arial"/>
              </a:rPr>
              <a:t>qu</a:t>
            </a:r>
            <a:r>
              <a:rPr sz="1400" b="1" dirty="0">
                <a:latin typeface="Arial"/>
                <a:cs typeface="Arial"/>
              </a:rPr>
              <a:t>est</a:t>
            </a:r>
            <a:endParaRPr sz="1400">
              <a:latin typeface="Arial"/>
              <a:cs typeface="Arial"/>
            </a:endParaRPr>
          </a:p>
        </p:txBody>
      </p:sp>
      <p:sp>
        <p:nvSpPr>
          <p:cNvPr id="3" name="object 3"/>
          <p:cNvSpPr txBox="1"/>
          <p:nvPr/>
        </p:nvSpPr>
        <p:spPr>
          <a:xfrm>
            <a:off x="4016429" y="2596709"/>
            <a:ext cx="1139861" cy="634300"/>
          </a:xfrm>
          <a:prstGeom prst="rect">
            <a:avLst/>
          </a:prstGeom>
        </p:spPr>
        <p:txBody>
          <a:bodyPr wrap="square" lIns="0" tIns="0" rIns="0" bIns="0" rtlCol="0">
            <a:noAutofit/>
          </a:bodyPr>
          <a:lstStyle/>
          <a:p>
            <a:pPr>
              <a:lnSpc>
                <a:spcPts val="900"/>
              </a:lnSpc>
              <a:spcBef>
                <a:spcPts val="30"/>
              </a:spcBef>
            </a:pPr>
            <a:endParaRPr sz="900"/>
          </a:p>
          <a:p>
            <a:pPr marL="266900">
              <a:lnSpc>
                <a:spcPct val="95825"/>
              </a:lnSpc>
              <a:spcBef>
                <a:spcPts val="1000"/>
              </a:spcBef>
            </a:pPr>
            <a:r>
              <a:rPr sz="1600" b="1" dirty="0">
                <a:latin typeface="Arial"/>
                <a:cs typeface="Arial"/>
              </a:rPr>
              <a:t>Order</a:t>
            </a:r>
            <a:endParaRPr sz="1600">
              <a:latin typeface="Arial"/>
              <a:cs typeface="Arial"/>
            </a:endParaRPr>
          </a:p>
        </p:txBody>
      </p:sp>
      <p:sp>
        <p:nvSpPr>
          <p:cNvPr id="2" name="object 2"/>
          <p:cNvSpPr txBox="1"/>
          <p:nvPr/>
        </p:nvSpPr>
        <p:spPr>
          <a:xfrm>
            <a:off x="2475094" y="2596709"/>
            <a:ext cx="1028355" cy="634300"/>
          </a:xfrm>
          <a:prstGeom prst="rect">
            <a:avLst/>
          </a:prstGeom>
        </p:spPr>
        <p:txBody>
          <a:bodyPr wrap="square" lIns="0" tIns="0" rIns="0" bIns="0" rtlCol="0">
            <a:noAutofit/>
          </a:bodyPr>
          <a:lstStyle/>
          <a:p>
            <a:pPr>
              <a:lnSpc>
                <a:spcPts val="1000"/>
              </a:lnSpc>
            </a:pPr>
            <a:endParaRPr sz="1000"/>
          </a:p>
          <a:p>
            <a:pPr marL="208060">
              <a:lnSpc>
                <a:spcPct val="95825"/>
              </a:lnSpc>
              <a:spcBef>
                <a:spcPts val="1016"/>
              </a:spcBef>
            </a:pPr>
            <a:r>
              <a:rPr sz="1600" b="1" spc="-4" dirty="0">
                <a:latin typeface="Arial"/>
                <a:cs typeface="Arial"/>
              </a:rPr>
              <a:t>O</a:t>
            </a:r>
            <a:r>
              <a:rPr sz="1600" b="1" dirty="0">
                <a:latin typeface="Arial"/>
                <a:cs typeface="Arial"/>
              </a:rPr>
              <a:t>rder</a:t>
            </a:r>
            <a:endParaRPr sz="1600">
              <a:latin typeface="Arial"/>
              <a:cs typeface="Arial"/>
            </a:endParaRPr>
          </a:p>
        </p:txBody>
      </p:sp>
      <p:sp>
        <p:nvSpPr>
          <p:cNvPr id="38" name="Title 37"/>
          <p:cNvSpPr>
            <a:spLocks noGrp="1"/>
          </p:cNvSpPr>
          <p:nvPr>
            <p:ph type="title"/>
          </p:nvPr>
        </p:nvSpPr>
        <p:spPr/>
        <p:txBody>
          <a:bodyPr>
            <a:normAutofit fontScale="90000"/>
          </a:bodyPr>
          <a:lstStyle/>
          <a:p>
            <a:r>
              <a:rPr lang="en-US" sz="2800" dirty="0">
                <a:latin typeface="Arial"/>
                <a:cs typeface="Arial"/>
              </a:rPr>
              <a:t>Billing Functions</a:t>
            </a:r>
            <a:br>
              <a:rPr lang="en-US" sz="2800" dirty="0">
                <a:latin typeface="Arial"/>
                <a:cs typeface="Arial"/>
              </a:rPr>
            </a:b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10" ma:contentTypeDescription="Create a new document." ma:contentTypeScope="" ma:versionID="c940bf9fffd54edf400feb71bd6e900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b48a0ec00eaea76fa19da93d176f3ccc"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E3FAD8DE-3BB9-446D-9A2C-7BD2C7D7BD72}"/>
</file>

<file path=customXml/itemProps2.xml><?xml version="1.0" encoding="utf-8"?>
<ds:datastoreItem xmlns:ds="http://schemas.openxmlformats.org/officeDocument/2006/customXml" ds:itemID="{D02A93D2-9027-49E4-BC78-0996E1E25BA8}"/>
</file>

<file path=customXml/itemProps3.xml><?xml version="1.0" encoding="utf-8"?>
<ds:datastoreItem xmlns:ds="http://schemas.openxmlformats.org/officeDocument/2006/customXml" ds:itemID="{E673A1E3-447B-4F82-A32F-C2E784526B6A}"/>
</file>

<file path=docProps/app.xml><?xml version="1.0" encoding="utf-8"?>
<Properties xmlns="http://schemas.openxmlformats.org/officeDocument/2006/extended-properties" xmlns:vt="http://schemas.openxmlformats.org/officeDocument/2006/docPropsVTypes">
  <Template/>
  <TotalTime>350</TotalTime>
  <Words>2677</Words>
  <Application>Microsoft Office PowerPoint</Application>
  <PresentationFormat>Widescreen</PresentationFormat>
  <Paragraphs>609</Paragraphs>
  <Slides>50</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8" baseType="lpstr">
      <vt:lpstr>Arial</vt:lpstr>
      <vt:lpstr>Calibri</vt:lpstr>
      <vt:lpstr>Symbol</vt:lpstr>
      <vt:lpstr>Times New Roman</vt:lpstr>
      <vt:lpstr>Verdana</vt:lpstr>
      <vt:lpstr>Wingdings</vt:lpstr>
      <vt:lpstr>Capgemini Master</vt:lpstr>
      <vt:lpstr>think-cell Slide</vt:lpstr>
      <vt:lpstr>PowerPoint Presentation</vt:lpstr>
      <vt:lpstr>Lesson Objectives</vt:lpstr>
      <vt:lpstr>Lesson Objectives </vt:lpstr>
      <vt:lpstr>PowerPoint Presentation</vt:lpstr>
      <vt:lpstr>Billing Process Overview</vt:lpstr>
      <vt:lpstr>Purpose</vt:lpstr>
      <vt:lpstr>Use</vt:lpstr>
      <vt:lpstr>Challenges </vt:lpstr>
      <vt:lpstr>Billing Functions </vt:lpstr>
      <vt:lpstr>Billing Processing </vt:lpstr>
      <vt:lpstr>Interface to Financial Accounting </vt:lpstr>
      <vt:lpstr>Billing Document Structure </vt:lpstr>
      <vt:lpstr>PowerPoint Presentation</vt:lpstr>
      <vt:lpstr>Billing Methods</vt:lpstr>
      <vt:lpstr>Billing Methods - Individual Billing Documents</vt:lpstr>
      <vt:lpstr>Billing Methods – Invoice Splits</vt:lpstr>
      <vt:lpstr>Billing Methods – Collective Billing</vt:lpstr>
      <vt:lpstr>PowerPoint Presentation</vt:lpstr>
      <vt:lpstr>Billing </vt:lpstr>
      <vt:lpstr>Billing Types </vt:lpstr>
      <vt:lpstr>Billing Types </vt:lpstr>
      <vt:lpstr>Billing Types </vt:lpstr>
      <vt:lpstr>Billing Types </vt:lpstr>
      <vt:lpstr>Billing Type-Controls </vt:lpstr>
      <vt:lpstr>Billing – Blocking Reasons </vt:lpstr>
      <vt:lpstr>Billing Document-Create </vt:lpstr>
      <vt:lpstr>Billing Document-Header Views </vt:lpstr>
      <vt:lpstr>Billing Document-Item Views </vt:lpstr>
      <vt:lpstr>Billing-Associated Functions </vt:lpstr>
      <vt:lpstr>Billing-Associated Functions </vt:lpstr>
      <vt:lpstr>Copy Controls </vt:lpstr>
      <vt:lpstr>Copy Controls </vt:lpstr>
      <vt:lpstr>PowerPoint Presentation</vt:lpstr>
      <vt:lpstr>Special Billing Process </vt:lpstr>
      <vt:lpstr>Special Billing Process </vt:lpstr>
      <vt:lpstr>Transaction Codes </vt:lpstr>
      <vt:lpstr>Transaction Codes </vt:lpstr>
      <vt:lpstr>PowerPoint Presentation</vt:lpstr>
      <vt:lpstr>Create Billing Document</vt:lpstr>
      <vt:lpstr>Create Billing Document</vt:lpstr>
      <vt:lpstr>Create Billing Document</vt:lpstr>
      <vt:lpstr>PowerPoint Presentation</vt:lpstr>
      <vt:lpstr>Cancel Billing Document</vt:lpstr>
      <vt:lpstr>Tips and Tricks</vt:lpstr>
      <vt:lpstr>Tips and Tricks</vt:lpstr>
      <vt:lpstr>Tips and Tricks</vt:lpstr>
      <vt:lpstr>Tips and Tricks</vt:lpstr>
      <vt:lpstr>Tips and Tricks</vt:lpstr>
      <vt:lpstr>Additional Info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Mondal, Tanmay</cp:lastModifiedBy>
  <cp:revision>33</cp:revision>
  <dcterms:modified xsi:type="dcterms:W3CDTF">2020-07-27T07: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